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8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9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media/image85.jpg" ContentType="image/jpg"/>
  <Override PartName="/ppt/media/image90.jpg" ContentType="image/jpg"/>
  <Override PartName="/ppt/media/image91.jpg" ContentType="image/jpg"/>
  <Override PartName="/ppt/media/image127.jpg" ContentType="image/jp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6" r:id="rId1"/>
    <p:sldMasterId id="2147483769" r:id="rId2"/>
    <p:sldMasterId id="2147483772" r:id="rId3"/>
    <p:sldMasterId id="2147483794" r:id="rId4"/>
    <p:sldMasterId id="2147483803" r:id="rId5"/>
    <p:sldMasterId id="2147483811" r:id="rId6"/>
    <p:sldMasterId id="2147483780" r:id="rId7"/>
    <p:sldMasterId id="2147483831" r:id="rId8"/>
    <p:sldMasterId id="2147483844" r:id="rId9"/>
    <p:sldMasterId id="2147483860" r:id="rId10"/>
  </p:sldMasterIdLst>
  <p:notesMasterIdLst>
    <p:notesMasterId r:id="rId41"/>
  </p:notesMasterIdLst>
  <p:handoutMasterIdLst>
    <p:handoutMasterId r:id="rId42"/>
  </p:handoutMasterIdLst>
  <p:sldIdLst>
    <p:sldId id="264" r:id="rId11"/>
    <p:sldId id="280" r:id="rId12"/>
    <p:sldId id="981" r:id="rId13"/>
    <p:sldId id="2147380937" r:id="rId14"/>
    <p:sldId id="2147380763" r:id="rId15"/>
    <p:sldId id="984" r:id="rId16"/>
    <p:sldId id="2147380941" r:id="rId17"/>
    <p:sldId id="2147381042" r:id="rId18"/>
    <p:sldId id="4504" r:id="rId19"/>
    <p:sldId id="2147381139" r:id="rId20"/>
    <p:sldId id="2147380722" r:id="rId21"/>
    <p:sldId id="2147380712" r:id="rId22"/>
    <p:sldId id="2147380741" r:id="rId23"/>
    <p:sldId id="2147380768" r:id="rId24"/>
    <p:sldId id="2147381157" r:id="rId25"/>
    <p:sldId id="758" r:id="rId26"/>
    <p:sldId id="309" r:id="rId27"/>
    <p:sldId id="986" r:id="rId28"/>
    <p:sldId id="962" r:id="rId29"/>
    <p:sldId id="4509" r:id="rId30"/>
    <p:sldId id="2147380769" r:id="rId31"/>
    <p:sldId id="2147380761" r:id="rId32"/>
    <p:sldId id="2147380762" r:id="rId33"/>
    <p:sldId id="859" r:id="rId34"/>
    <p:sldId id="888" r:id="rId35"/>
    <p:sldId id="1267" r:id="rId36"/>
    <p:sldId id="261" r:id="rId37"/>
    <p:sldId id="2147381314" r:id="rId38"/>
    <p:sldId id="262" r:id="rId39"/>
    <p:sldId id="548" r:id="rId40"/>
  </p:sldIdLst>
  <p:sldSz cx="9144000" cy="514826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" userDrawn="1">
          <p15:clr>
            <a:srgbClr val="A4A3A4"/>
          </p15:clr>
        </p15:guide>
        <p15:guide id="2" pos="363" userDrawn="1">
          <p15:clr>
            <a:srgbClr val="A4A3A4"/>
          </p15:clr>
        </p15:guide>
        <p15:guide id="3" orient="horz" pos="3028" userDrawn="1">
          <p15:clr>
            <a:srgbClr val="A4A3A4"/>
          </p15:clr>
        </p15:guide>
        <p15:guide id="4" pos="5511" userDrawn="1">
          <p15:clr>
            <a:srgbClr val="A4A3A4"/>
          </p15:clr>
        </p15:guide>
        <p15:guide id="5" orient="horz" pos="272">
          <p15:clr>
            <a:srgbClr val="A4A3A4"/>
          </p15:clr>
        </p15:guide>
        <p15:guide id="6" orient="horz" pos="2971">
          <p15:clr>
            <a:srgbClr val="A4A3A4"/>
          </p15:clr>
        </p15:guide>
        <p15:guide id="7" orient="horz" pos="930">
          <p15:clr>
            <a:srgbClr val="A4A3A4"/>
          </p15:clr>
        </p15:guide>
        <p15:guide id="8" orient="horz" pos="1337">
          <p15:clr>
            <a:srgbClr val="A4A3A4"/>
          </p15:clr>
        </p15:guide>
        <p15:guide id="9" orient="horz" pos="2086">
          <p15:clr>
            <a:srgbClr val="A4A3A4"/>
          </p15:clr>
        </p15:guide>
        <p15:guide id="10" pos="2331">
          <p15:clr>
            <a:srgbClr val="A4A3A4"/>
          </p15:clr>
        </p15:guide>
        <p15:guide id="11" pos="726">
          <p15:clr>
            <a:srgbClr val="A4A3A4"/>
          </p15:clr>
        </p15:guide>
        <p15:guide id="12" pos="875">
          <p15:clr>
            <a:srgbClr val="A4A3A4"/>
          </p15:clr>
        </p15:guide>
        <p15:guide id="13" pos="1260">
          <p15:clr>
            <a:srgbClr val="A4A3A4"/>
          </p15:clr>
        </p15:guide>
        <p15:guide id="14" pos="1410">
          <p15:clr>
            <a:srgbClr val="A4A3A4"/>
          </p15:clr>
        </p15:guide>
        <p15:guide id="15" pos="1796">
          <p15:clr>
            <a:srgbClr val="A4A3A4"/>
          </p15:clr>
        </p15:guide>
        <p15:guide id="16" pos="1944">
          <p15:clr>
            <a:srgbClr val="A4A3A4"/>
          </p15:clr>
        </p15:guide>
        <p15:guide id="17" pos="2481">
          <p15:clr>
            <a:srgbClr val="A4A3A4"/>
          </p15:clr>
        </p15:guide>
        <p15:guide id="18" pos="2869">
          <p15:clr>
            <a:srgbClr val="A4A3A4"/>
          </p15:clr>
        </p15:guide>
        <p15:guide id="19" pos="3029">
          <p15:clr>
            <a:srgbClr val="A4A3A4"/>
          </p15:clr>
        </p15:guide>
        <p15:guide id="20" pos="3402">
          <p15:clr>
            <a:srgbClr val="A4A3A4"/>
          </p15:clr>
        </p15:guide>
        <p15:guide id="21" pos="3552">
          <p15:clr>
            <a:srgbClr val="A4A3A4"/>
          </p15:clr>
        </p15:guide>
        <p15:guide id="22" pos="3938">
          <p15:clr>
            <a:srgbClr val="A4A3A4"/>
          </p15:clr>
        </p15:guide>
        <p15:guide id="23" pos="4086">
          <p15:clr>
            <a:srgbClr val="A4A3A4"/>
          </p15:clr>
        </p15:guide>
        <p15:guide id="24" pos="4473">
          <p15:clr>
            <a:srgbClr val="A4A3A4"/>
          </p15:clr>
        </p15:guide>
        <p15:guide id="25" pos="4621">
          <p15:clr>
            <a:srgbClr val="A4A3A4"/>
          </p15:clr>
        </p15:guide>
        <p15:guide id="26" pos="5008">
          <p15:clr>
            <a:srgbClr val="A4A3A4"/>
          </p15:clr>
        </p15:guide>
        <p15:guide id="27" pos="5157">
          <p15:clr>
            <a:srgbClr val="A4A3A4"/>
          </p15:clr>
        </p15:guide>
        <p15:guide id="28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333333"/>
    <a:srgbClr val="2121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34577" autoAdjust="0"/>
    <p:restoredTop sz="86419" autoAdjust="0"/>
  </p:normalViewPr>
  <p:slideViewPr>
    <p:cSldViewPr snapToGrid="0">
      <p:cViewPr>
        <p:scale>
          <a:sx n="80" d="100"/>
          <a:sy n="80" d="100"/>
        </p:scale>
        <p:origin x="182" y="389"/>
      </p:cViewPr>
      <p:guideLst>
        <p:guide orient="horz" pos="261"/>
        <p:guide pos="363"/>
        <p:guide orient="horz" pos="3028"/>
        <p:guide pos="5511"/>
        <p:guide orient="horz" pos="272"/>
        <p:guide orient="horz" pos="2971"/>
        <p:guide orient="horz" pos="930"/>
        <p:guide orient="horz" pos="1337"/>
        <p:guide orient="horz" pos="2086"/>
        <p:guide pos="2331"/>
        <p:guide pos="726"/>
        <p:guide pos="875"/>
        <p:guide pos="1260"/>
        <p:guide pos="1410"/>
        <p:guide pos="1796"/>
        <p:guide pos="1944"/>
        <p:guide pos="2481"/>
        <p:guide pos="2869"/>
        <p:guide pos="3029"/>
        <p:guide pos="3402"/>
        <p:guide pos="3552"/>
        <p:guide pos="3938"/>
        <p:guide pos="4086"/>
        <p:guide pos="4473"/>
        <p:guide pos="4621"/>
        <p:guide pos="5008"/>
        <p:guide pos="5157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72" d="100"/>
          <a:sy n="172" d="100"/>
        </p:scale>
        <p:origin x="6552" y="208"/>
      </p:cViewPr>
      <p:guideLst>
        <p:guide orient="horz" pos="2880"/>
        <p:guide pos="2160"/>
      </p:guideLst>
    </p:cSldViewPr>
  </p:notesViewPr>
  <p:gridSpacing cx="1080136" cy="1080136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ableStyles" Target="tableStyles.xml"/><Relationship Id="rId20" Type="http://schemas.openxmlformats.org/officeDocument/2006/relationships/slide" Target="slides/slide10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E:\&#1056;&#1077;&#1075;&#1080;&#1086;&#1085;&#1099;\4%20&#1054;&#1073;&#1088;&#1072;&#1079;&#1094;&#1099;%20&#1051;&#1055;%20&#1074;%20&#1088;&#1077;&#1075;&#1080;&#1086;&#1085;&#1072;&#1093;\2025-12-31%20&#1054;&#1073;&#1088;&#1072;&#1079;&#1094;&#1099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Образцы по направлениям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Сводная таблица'!$D$2</c:f>
              <c:strCache>
                <c:ptCount val="1"/>
                <c:pt idx="0">
                  <c:v>Федеральный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Сводная таблица'!$B$3:$B$52</c:f>
              <c:strCache>
                <c:ptCount val="50"/>
                <c:pt idx="0">
                  <c:v>Растениеводство</c:v>
                </c:pt>
                <c:pt idx="1">
                  <c:v>Животноводство</c:v>
                </c:pt>
                <c:pt idx="2">
                  <c:v>Лесоводство</c:v>
                </c:pt>
                <c:pt idx="3">
                  <c:v>Ветеринария</c:v>
                </c:pt>
                <c:pt idx="4">
                  <c:v>Добыча</c:v>
                </c:pt>
                <c:pt idx="5">
                  <c:v>Производство</c:v>
                </c:pt>
                <c:pt idx="6">
                  <c:v>Энергетика</c:v>
                </c:pt>
                <c:pt idx="7">
                  <c:v>Отходы</c:v>
                </c:pt>
                <c:pt idx="8">
                  <c:v>Ремонт и монтаж</c:v>
                </c:pt>
                <c:pt idx="9">
                  <c:v>ВУЗы</c:v>
                </c:pt>
                <c:pt idx="10">
                  <c:v>Колледжи</c:v>
                </c:pt>
                <c:pt idx="11">
                  <c:v>Школы</c:v>
                </c:pt>
                <c:pt idx="12">
                  <c:v>Детсады</c:v>
                </c:pt>
                <c:pt idx="13">
                  <c:v>Дополнительное образование</c:v>
                </c:pt>
                <c:pt idx="14">
                  <c:v>Переподготовка</c:v>
                </c:pt>
                <c:pt idx="15">
                  <c:v>СЗН</c:v>
                </c:pt>
                <c:pt idx="16">
                  <c:v>МФЦ</c:v>
                </c:pt>
                <c:pt idx="17">
                  <c:v>Думы</c:v>
                </c:pt>
                <c:pt idx="18">
                  <c:v>ФОИВ</c:v>
                </c:pt>
                <c:pt idx="19">
                  <c:v>Госуправление (регион)</c:v>
                </c:pt>
                <c:pt idx="20">
                  <c:v>Мунуправление</c:v>
                </c:pt>
                <c:pt idx="21">
                  <c:v>Услуги для бизнеса</c:v>
                </c:pt>
                <c:pt idx="22">
                  <c:v>Поликлиники взрослые</c:v>
                </c:pt>
                <c:pt idx="23">
                  <c:v>Поликлиники детские</c:v>
                </c:pt>
                <c:pt idx="24">
                  <c:v>Стационары</c:v>
                </c:pt>
                <c:pt idx="25">
                  <c:v>Специализированная медпомощь</c:v>
                </c:pt>
                <c:pt idx="26">
                  <c:v>Соцзащита</c:v>
                </c:pt>
                <c:pt idx="27">
                  <c:v>Транспорт</c:v>
                </c:pt>
                <c:pt idx="28">
                  <c:v>Транспорт сухопутный</c:v>
                </c:pt>
                <c:pt idx="29">
                  <c:v>Складское хозяйство</c:v>
                </c:pt>
                <c:pt idx="30">
                  <c:v>Телекоммуникации</c:v>
                </c:pt>
                <c:pt idx="31">
                  <c:v>ИТ</c:v>
                </c:pt>
                <c:pt idx="32">
                  <c:v>Почта и курьеры</c:v>
                </c:pt>
                <c:pt idx="33">
                  <c:v>Культура (учреждения)</c:v>
                </c:pt>
                <c:pt idx="34">
                  <c:v>Культура (объекты)</c:v>
                </c:pt>
                <c:pt idx="35">
                  <c:v>Спорт и отдых</c:v>
                </c:pt>
                <c:pt idx="36">
                  <c:v>Финуслуги</c:v>
                </c:pt>
                <c:pt idx="37">
                  <c:v>Право</c:v>
                </c:pt>
                <c:pt idx="38">
                  <c:v>Индустрия гостеприимства</c:v>
                </c:pt>
                <c:pt idx="39">
                  <c:v>Издательства</c:v>
                </c:pt>
                <c:pt idx="40">
                  <c:v>Инженерно-технические услуги</c:v>
                </c:pt>
                <c:pt idx="41">
                  <c:v>Строительство зданий</c:v>
                </c:pt>
                <c:pt idx="42">
                  <c:v>Строительство сооружений</c:v>
                </c:pt>
                <c:pt idx="43">
                  <c:v>Строительство дорог</c:v>
                </c:pt>
                <c:pt idx="44">
                  <c:v>Торговля</c:v>
                </c:pt>
                <c:pt idx="45">
                  <c:v>Кадастр и реестр</c:v>
                </c:pt>
                <c:pt idx="46">
                  <c:v>Надзорная деятельность</c:v>
                </c:pt>
                <c:pt idx="47">
                  <c:v>ЖКХ</c:v>
                </c:pt>
                <c:pt idx="48">
                  <c:v>НКО</c:v>
                </c:pt>
                <c:pt idx="49">
                  <c:v>Прочее</c:v>
                </c:pt>
              </c:strCache>
            </c:strRef>
          </c:cat>
          <c:val>
            <c:numRef>
              <c:f>'Сводная таблица'!$D$3:$D$52</c:f>
              <c:numCache>
                <c:formatCode>0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4</c:v>
                </c:pt>
                <c:pt idx="10" formatCode="General">
                  <c:v>15</c:v>
                </c:pt>
                <c:pt idx="11">
                  <c:v>8</c:v>
                </c:pt>
                <c:pt idx="12" formatCode="General">
                  <c:v>8</c:v>
                </c:pt>
                <c:pt idx="13" formatCode="General">
                  <c:v>4</c:v>
                </c:pt>
                <c:pt idx="14">
                  <c:v>1</c:v>
                </c:pt>
                <c:pt idx="15" formatCode="General">
                  <c:v>3</c:v>
                </c:pt>
                <c:pt idx="16" formatCode="General">
                  <c:v>8</c:v>
                </c:pt>
                <c:pt idx="17">
                  <c:v>0</c:v>
                </c:pt>
                <c:pt idx="18">
                  <c:v>0</c:v>
                </c:pt>
                <c:pt idx="19">
                  <c:v>18</c:v>
                </c:pt>
                <c:pt idx="20">
                  <c:v>8</c:v>
                </c:pt>
                <c:pt idx="21">
                  <c:v>1</c:v>
                </c:pt>
                <c:pt idx="22">
                  <c:v>11</c:v>
                </c:pt>
                <c:pt idx="23" formatCode="General">
                  <c:v>6</c:v>
                </c:pt>
                <c:pt idx="24" formatCode="General">
                  <c:v>10</c:v>
                </c:pt>
                <c:pt idx="25" formatCode="General">
                  <c:v>1</c:v>
                </c:pt>
                <c:pt idx="26" formatCode="General">
                  <c:v>5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  <c:pt idx="31">
                  <c:v>1</c:v>
                </c:pt>
                <c:pt idx="32">
                  <c:v>0</c:v>
                </c:pt>
                <c:pt idx="33">
                  <c:v>0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3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11-40F6-A1F1-EFDAFE9353EF}"/>
            </c:ext>
          </c:extLst>
        </c:ser>
        <c:ser>
          <c:idx val="1"/>
          <c:order val="1"/>
          <c:tx>
            <c:strRef>
              <c:f>'Сводная таблица'!$E$2</c:f>
              <c:strCache>
                <c:ptCount val="1"/>
                <c:pt idx="0">
                  <c:v>Региональный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Сводная таблица'!$B$3:$B$52</c:f>
              <c:strCache>
                <c:ptCount val="50"/>
                <c:pt idx="0">
                  <c:v>Растениеводство</c:v>
                </c:pt>
                <c:pt idx="1">
                  <c:v>Животноводство</c:v>
                </c:pt>
                <c:pt idx="2">
                  <c:v>Лесоводство</c:v>
                </c:pt>
                <c:pt idx="3">
                  <c:v>Ветеринария</c:v>
                </c:pt>
                <c:pt idx="4">
                  <c:v>Добыча</c:v>
                </c:pt>
                <c:pt idx="5">
                  <c:v>Производство</c:v>
                </c:pt>
                <c:pt idx="6">
                  <c:v>Энергетика</c:v>
                </c:pt>
                <c:pt idx="7">
                  <c:v>Отходы</c:v>
                </c:pt>
                <c:pt idx="8">
                  <c:v>Ремонт и монтаж</c:v>
                </c:pt>
                <c:pt idx="9">
                  <c:v>ВУЗы</c:v>
                </c:pt>
                <c:pt idx="10">
                  <c:v>Колледжи</c:v>
                </c:pt>
                <c:pt idx="11">
                  <c:v>Школы</c:v>
                </c:pt>
                <c:pt idx="12">
                  <c:v>Детсады</c:v>
                </c:pt>
                <c:pt idx="13">
                  <c:v>Дополнительное образование</c:v>
                </c:pt>
                <c:pt idx="14">
                  <c:v>Переподготовка</c:v>
                </c:pt>
                <c:pt idx="15">
                  <c:v>СЗН</c:v>
                </c:pt>
                <c:pt idx="16">
                  <c:v>МФЦ</c:v>
                </c:pt>
                <c:pt idx="17">
                  <c:v>Думы</c:v>
                </c:pt>
                <c:pt idx="18">
                  <c:v>ФОИВ</c:v>
                </c:pt>
                <c:pt idx="19">
                  <c:v>Госуправление (регион)</c:v>
                </c:pt>
                <c:pt idx="20">
                  <c:v>Мунуправление</c:v>
                </c:pt>
                <c:pt idx="21">
                  <c:v>Услуги для бизнеса</c:v>
                </c:pt>
                <c:pt idx="22">
                  <c:v>Поликлиники взрослые</c:v>
                </c:pt>
                <c:pt idx="23">
                  <c:v>Поликлиники детские</c:v>
                </c:pt>
                <c:pt idx="24">
                  <c:v>Стационары</c:v>
                </c:pt>
                <c:pt idx="25">
                  <c:v>Специализированная медпомощь</c:v>
                </c:pt>
                <c:pt idx="26">
                  <c:v>Соцзащита</c:v>
                </c:pt>
                <c:pt idx="27">
                  <c:v>Транспорт</c:v>
                </c:pt>
                <c:pt idx="28">
                  <c:v>Транспорт сухопутный</c:v>
                </c:pt>
                <c:pt idx="29">
                  <c:v>Складское хозяйство</c:v>
                </c:pt>
                <c:pt idx="30">
                  <c:v>Телекоммуникации</c:v>
                </c:pt>
                <c:pt idx="31">
                  <c:v>ИТ</c:v>
                </c:pt>
                <c:pt idx="32">
                  <c:v>Почта и курьеры</c:v>
                </c:pt>
                <c:pt idx="33">
                  <c:v>Культура (учреждения)</c:v>
                </c:pt>
                <c:pt idx="34">
                  <c:v>Культура (объекты)</c:v>
                </c:pt>
                <c:pt idx="35">
                  <c:v>Спорт и отдых</c:v>
                </c:pt>
                <c:pt idx="36">
                  <c:v>Финуслуги</c:v>
                </c:pt>
                <c:pt idx="37">
                  <c:v>Право</c:v>
                </c:pt>
                <c:pt idx="38">
                  <c:v>Индустрия гостеприимства</c:v>
                </c:pt>
                <c:pt idx="39">
                  <c:v>Издательства</c:v>
                </c:pt>
                <c:pt idx="40">
                  <c:v>Инженерно-технические услуги</c:v>
                </c:pt>
                <c:pt idx="41">
                  <c:v>Строительство зданий</c:v>
                </c:pt>
                <c:pt idx="42">
                  <c:v>Строительство сооружений</c:v>
                </c:pt>
                <c:pt idx="43">
                  <c:v>Строительство дорог</c:v>
                </c:pt>
                <c:pt idx="44">
                  <c:v>Торговля</c:v>
                </c:pt>
                <c:pt idx="45">
                  <c:v>Кадастр и реестр</c:v>
                </c:pt>
                <c:pt idx="46">
                  <c:v>Надзорная деятельность</c:v>
                </c:pt>
                <c:pt idx="47">
                  <c:v>ЖКХ</c:v>
                </c:pt>
                <c:pt idx="48">
                  <c:v>НКО</c:v>
                </c:pt>
                <c:pt idx="49">
                  <c:v>Прочее</c:v>
                </c:pt>
              </c:strCache>
            </c:strRef>
          </c:cat>
          <c:val>
            <c:numRef>
              <c:f>'Сводная таблица'!$E$3:$E$52</c:f>
              <c:numCache>
                <c:formatCode>0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</c:v>
                </c:pt>
                <c:pt idx="10" formatCode="General">
                  <c:v>4</c:v>
                </c:pt>
                <c:pt idx="11">
                  <c:v>20</c:v>
                </c:pt>
                <c:pt idx="12" formatCode="General">
                  <c:v>21</c:v>
                </c:pt>
                <c:pt idx="13" formatCode="General">
                  <c:v>6</c:v>
                </c:pt>
                <c:pt idx="14">
                  <c:v>1</c:v>
                </c:pt>
                <c:pt idx="15">
                  <c:v>0</c:v>
                </c:pt>
                <c:pt idx="16" formatCode="General">
                  <c:v>3</c:v>
                </c:pt>
                <c:pt idx="17">
                  <c:v>0</c:v>
                </c:pt>
                <c:pt idx="18">
                  <c:v>0</c:v>
                </c:pt>
                <c:pt idx="19">
                  <c:v>20</c:v>
                </c:pt>
                <c:pt idx="20">
                  <c:v>17</c:v>
                </c:pt>
                <c:pt idx="21">
                  <c:v>4</c:v>
                </c:pt>
                <c:pt idx="22" formatCode="General">
                  <c:v>13</c:v>
                </c:pt>
                <c:pt idx="23" formatCode="General">
                  <c:v>4</c:v>
                </c:pt>
                <c:pt idx="24" formatCode="General">
                  <c:v>11</c:v>
                </c:pt>
                <c:pt idx="25" formatCode="General">
                  <c:v>4</c:v>
                </c:pt>
                <c:pt idx="26" formatCode="General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6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11-40F6-A1F1-EFDAFE9353EF}"/>
            </c:ext>
          </c:extLst>
        </c:ser>
        <c:ser>
          <c:idx val="2"/>
          <c:order val="2"/>
          <c:tx>
            <c:strRef>
              <c:f>'Сводная таблица'!$F$2</c:f>
              <c:strCache>
                <c:ptCount val="1"/>
                <c:pt idx="0">
                  <c:v>Местный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'Сводная таблица'!$B$3:$B$52</c:f>
              <c:strCache>
                <c:ptCount val="50"/>
                <c:pt idx="0">
                  <c:v>Растениеводство</c:v>
                </c:pt>
                <c:pt idx="1">
                  <c:v>Животноводство</c:v>
                </c:pt>
                <c:pt idx="2">
                  <c:v>Лесоводство</c:v>
                </c:pt>
                <c:pt idx="3">
                  <c:v>Ветеринария</c:v>
                </c:pt>
                <c:pt idx="4">
                  <c:v>Добыча</c:v>
                </c:pt>
                <c:pt idx="5">
                  <c:v>Производство</c:v>
                </c:pt>
                <c:pt idx="6">
                  <c:v>Энергетика</c:v>
                </c:pt>
                <c:pt idx="7">
                  <c:v>Отходы</c:v>
                </c:pt>
                <c:pt idx="8">
                  <c:v>Ремонт и монтаж</c:v>
                </c:pt>
                <c:pt idx="9">
                  <c:v>ВУЗы</c:v>
                </c:pt>
                <c:pt idx="10">
                  <c:v>Колледжи</c:v>
                </c:pt>
                <c:pt idx="11">
                  <c:v>Школы</c:v>
                </c:pt>
                <c:pt idx="12">
                  <c:v>Детсады</c:v>
                </c:pt>
                <c:pt idx="13">
                  <c:v>Дополнительное образование</c:v>
                </c:pt>
                <c:pt idx="14">
                  <c:v>Переподготовка</c:v>
                </c:pt>
                <c:pt idx="15">
                  <c:v>СЗН</c:v>
                </c:pt>
                <c:pt idx="16">
                  <c:v>МФЦ</c:v>
                </c:pt>
                <c:pt idx="17">
                  <c:v>Думы</c:v>
                </c:pt>
                <c:pt idx="18">
                  <c:v>ФОИВ</c:v>
                </c:pt>
                <c:pt idx="19">
                  <c:v>Госуправление (регион)</c:v>
                </c:pt>
                <c:pt idx="20">
                  <c:v>Мунуправление</c:v>
                </c:pt>
                <c:pt idx="21">
                  <c:v>Услуги для бизнеса</c:v>
                </c:pt>
                <c:pt idx="22">
                  <c:v>Поликлиники взрослые</c:v>
                </c:pt>
                <c:pt idx="23">
                  <c:v>Поликлиники детские</c:v>
                </c:pt>
                <c:pt idx="24">
                  <c:v>Стационары</c:v>
                </c:pt>
                <c:pt idx="25">
                  <c:v>Специализированная медпомощь</c:v>
                </c:pt>
                <c:pt idx="26">
                  <c:v>Соцзащита</c:v>
                </c:pt>
                <c:pt idx="27">
                  <c:v>Транспорт</c:v>
                </c:pt>
                <c:pt idx="28">
                  <c:v>Транспорт сухопутный</c:v>
                </c:pt>
                <c:pt idx="29">
                  <c:v>Складское хозяйство</c:v>
                </c:pt>
                <c:pt idx="30">
                  <c:v>Телекоммуникации</c:v>
                </c:pt>
                <c:pt idx="31">
                  <c:v>ИТ</c:v>
                </c:pt>
                <c:pt idx="32">
                  <c:v>Почта и курьеры</c:v>
                </c:pt>
                <c:pt idx="33">
                  <c:v>Культура (учреждения)</c:v>
                </c:pt>
                <c:pt idx="34">
                  <c:v>Культура (объекты)</c:v>
                </c:pt>
                <c:pt idx="35">
                  <c:v>Спорт и отдых</c:v>
                </c:pt>
                <c:pt idx="36">
                  <c:v>Финуслуги</c:v>
                </c:pt>
                <c:pt idx="37">
                  <c:v>Право</c:v>
                </c:pt>
                <c:pt idx="38">
                  <c:v>Индустрия гостеприимства</c:v>
                </c:pt>
                <c:pt idx="39">
                  <c:v>Издательства</c:v>
                </c:pt>
                <c:pt idx="40">
                  <c:v>Инженерно-технические услуги</c:v>
                </c:pt>
                <c:pt idx="41">
                  <c:v>Строительство зданий</c:v>
                </c:pt>
                <c:pt idx="42">
                  <c:v>Строительство сооружений</c:v>
                </c:pt>
                <c:pt idx="43">
                  <c:v>Строительство дорог</c:v>
                </c:pt>
                <c:pt idx="44">
                  <c:v>Торговля</c:v>
                </c:pt>
                <c:pt idx="45">
                  <c:v>Кадастр и реестр</c:v>
                </c:pt>
                <c:pt idx="46">
                  <c:v>Надзорная деятельность</c:v>
                </c:pt>
                <c:pt idx="47">
                  <c:v>ЖКХ</c:v>
                </c:pt>
                <c:pt idx="48">
                  <c:v>НКО</c:v>
                </c:pt>
                <c:pt idx="49">
                  <c:v>Прочее</c:v>
                </c:pt>
              </c:strCache>
            </c:strRef>
          </c:cat>
          <c:val>
            <c:numRef>
              <c:f>'Сводная таблица'!$F$3:$F$52</c:f>
              <c:numCache>
                <c:formatCode>0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 formatCode="General">
                  <c:v>3</c:v>
                </c:pt>
                <c:pt idx="11">
                  <c:v>23</c:v>
                </c:pt>
                <c:pt idx="12">
                  <c:v>15</c:v>
                </c:pt>
                <c:pt idx="13" formatCode="General">
                  <c:v>5</c:v>
                </c:pt>
                <c:pt idx="14">
                  <c:v>2</c:v>
                </c:pt>
                <c:pt idx="15">
                  <c:v>0</c:v>
                </c:pt>
                <c:pt idx="16" formatCode="General">
                  <c:v>0</c:v>
                </c:pt>
                <c:pt idx="17" formatCode="General">
                  <c:v>0</c:v>
                </c:pt>
                <c:pt idx="18" formatCode="General">
                  <c:v>0</c:v>
                </c:pt>
                <c:pt idx="19" formatCode="General">
                  <c:v>19</c:v>
                </c:pt>
                <c:pt idx="20">
                  <c:v>29</c:v>
                </c:pt>
                <c:pt idx="21">
                  <c:v>1</c:v>
                </c:pt>
                <c:pt idx="22" formatCode="General">
                  <c:v>11</c:v>
                </c:pt>
                <c:pt idx="23" formatCode="General">
                  <c:v>5</c:v>
                </c:pt>
                <c:pt idx="24" formatCode="General">
                  <c:v>7</c:v>
                </c:pt>
                <c:pt idx="25" formatCode="General">
                  <c:v>4</c:v>
                </c:pt>
                <c:pt idx="26" formatCode="General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1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11-40F6-A1F1-EFDAFE9353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23348544"/>
        <c:axId val="423351872"/>
      </c:barChart>
      <c:catAx>
        <c:axId val="423348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3351872"/>
        <c:crosses val="autoZero"/>
        <c:auto val="1"/>
        <c:lblAlgn val="ctr"/>
        <c:lblOffset val="100"/>
        <c:noMultiLvlLbl val="0"/>
      </c:catAx>
      <c:valAx>
        <c:axId val="423351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3348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497245242303896"/>
          <c:y val="0.30941329983324739"/>
          <c:w val="0.14195036844884187"/>
          <c:h val="0.187262863509582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image" Target="../media/image55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image" Target="../media/image5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43CF99-79FD-44C4-AEE6-C0BDCAA6ACCA}" type="doc">
      <dgm:prSet loTypeId="urn:microsoft.com/office/officeart/2008/layout/PictureStrips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0C96B7C0-DDA2-4044-B4D1-70821791DBE3}">
      <dgm:prSet phldrT="[Текст]" custT="1"/>
      <dgm:spPr>
        <a:xfrm>
          <a:off x="349459" y="273810"/>
          <a:ext cx="2356683" cy="736463"/>
        </a:xfrm>
        <a:prstGeom prst="rect">
          <a:avLst/>
        </a:prstGeom>
        <a:solidFill>
          <a:srgbClr val="A5A5A5">
            <a:alpha val="40000"/>
            <a:tint val="4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A5A5A5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marL="0" indent="0">
            <a:buNone/>
          </a:pPr>
          <a:r>
            <a:rPr lang="ru-RU" sz="1400" b="1" i="1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rPr>
            <a:t>1. Обучение</a:t>
          </a:r>
        </a:p>
      </dgm:t>
    </dgm:pt>
    <dgm:pt modelId="{CC686355-FD9A-41FD-A649-56698E258278}" type="parTrans" cxnId="{838EFFF1-66F2-4DA4-9F0E-CA52E8F0588B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D8243738-AA60-424C-B817-E60C98292F54}" type="sibTrans" cxnId="{838EFFF1-66F2-4DA4-9F0E-CA52E8F0588B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F1CAAC55-8356-41BE-BFBC-AA61C23ED18B}">
      <dgm:prSet phldrT="[Текст]" custT="1"/>
      <dgm:spPr>
        <a:xfrm>
          <a:off x="349459" y="1200936"/>
          <a:ext cx="2356683" cy="736463"/>
        </a:xfrm>
        <a:prstGeom prst="rect">
          <a:avLst/>
        </a:prstGeom>
        <a:solidFill>
          <a:srgbClr val="A5A5A5">
            <a:alpha val="40000"/>
            <a:tint val="4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A5A5A5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marL="0" indent="0" algn="l">
            <a:buNone/>
          </a:pPr>
          <a:r>
            <a:rPr lang="ru-RU" sz="1400" b="1" i="1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rPr>
            <a:t>2.Методологическая</a:t>
          </a:r>
        </a:p>
        <a:p>
          <a:pPr marL="0" indent="0" algn="l">
            <a:buNone/>
          </a:pPr>
          <a:r>
            <a:rPr lang="ru-RU" sz="1400" b="1" i="1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rPr>
            <a:t> и консультационная поддержка</a:t>
          </a:r>
        </a:p>
      </dgm:t>
    </dgm:pt>
    <dgm:pt modelId="{9099F31D-C05C-4A24-9AFC-71B87CA1F420}" type="parTrans" cxnId="{1B32B6EB-CD0B-4A6E-9D01-8DDDE7701A91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5C3BE985-64CF-4BB6-8065-829968CEB70C}" type="sibTrans" cxnId="{1B32B6EB-CD0B-4A6E-9D01-8DDDE7701A91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90AA6AA1-5355-42CD-8321-5C169690BEAB}">
      <dgm:prSet phldrT="[Текст]" custT="1"/>
      <dgm:spPr>
        <a:xfrm>
          <a:off x="349459" y="2128062"/>
          <a:ext cx="2356683" cy="736463"/>
        </a:xfrm>
        <a:prstGeom prst="rect">
          <a:avLst/>
        </a:prstGeom>
        <a:solidFill>
          <a:srgbClr val="A5A5A5">
            <a:alpha val="40000"/>
            <a:tint val="4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A5A5A5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sz="1400" b="1" i="1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rPr>
            <a:t>3. Сопровождение проектов и создание образцов</a:t>
          </a:r>
        </a:p>
      </dgm:t>
    </dgm:pt>
    <dgm:pt modelId="{787778CD-C921-4BD7-8D12-229261FEF862}" type="parTrans" cxnId="{F96B9420-0175-40B3-94BA-1168C907A9B7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9332FBB4-069E-40D9-AABC-302F92514420}" type="sibTrans" cxnId="{F96B9420-0175-40B3-94BA-1168C907A9B7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404E7946-7464-41E7-8568-DA683AF692A1}" type="pres">
      <dgm:prSet presAssocID="{1943CF99-79FD-44C4-AEE6-C0BDCAA6ACCA}" presName="Name0" presStyleCnt="0">
        <dgm:presLayoutVars>
          <dgm:dir/>
          <dgm:resizeHandles val="exact"/>
        </dgm:presLayoutVars>
      </dgm:prSet>
      <dgm:spPr/>
    </dgm:pt>
    <dgm:pt modelId="{6F5B0D73-7DA7-4CAB-B059-E08337234AAC}" type="pres">
      <dgm:prSet presAssocID="{0C96B7C0-DDA2-4044-B4D1-70821791DBE3}" presName="composite" presStyleCnt="0"/>
      <dgm:spPr/>
    </dgm:pt>
    <dgm:pt modelId="{69925F10-0FFD-4132-9AFD-535A708FF2BA}" type="pres">
      <dgm:prSet presAssocID="{0C96B7C0-DDA2-4044-B4D1-70821791DBE3}" presName="rect1" presStyleLbl="trAlignAcc1" presStyleIdx="0" presStyleCnt="3" custScaleX="76361" custLinFactNeighborX="394" custLinFactNeighborY="-1130">
        <dgm:presLayoutVars>
          <dgm:bulletEnabled val="1"/>
        </dgm:presLayoutVars>
      </dgm:prSet>
      <dgm:spPr/>
    </dgm:pt>
    <dgm:pt modelId="{34D6228E-4EA9-446E-8303-4456B546F73E}" type="pres">
      <dgm:prSet presAssocID="{0C96B7C0-DDA2-4044-B4D1-70821791DBE3}" presName="rect2" presStyleLbl="fgImgPlace1" presStyleIdx="0" presStyleCnt="3"/>
      <dgm:spPr>
        <a:xfrm>
          <a:off x="251264" y="167432"/>
          <a:ext cx="515524" cy="773286"/>
        </a:xfrm>
        <a:prstGeom prst="rect">
          <a:avLst/>
        </a:prstGeom>
        <a:blipFill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9000" r="-39000"/>
          </a:stretch>
        </a:blip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C5D3D646-B9A4-4870-8516-3A231CB53E6C}" type="pres">
      <dgm:prSet presAssocID="{D8243738-AA60-424C-B817-E60C98292F54}" presName="sibTrans" presStyleCnt="0"/>
      <dgm:spPr/>
    </dgm:pt>
    <dgm:pt modelId="{75F297E3-2B03-4723-9D90-63D26727F613}" type="pres">
      <dgm:prSet presAssocID="{F1CAAC55-8356-41BE-BFBC-AA61C23ED18B}" presName="composite" presStyleCnt="0"/>
      <dgm:spPr/>
    </dgm:pt>
    <dgm:pt modelId="{259908D5-DD54-474B-A422-7C695BF728E0}" type="pres">
      <dgm:prSet presAssocID="{F1CAAC55-8356-41BE-BFBC-AA61C23ED18B}" presName="rect1" presStyleLbl="trAlignAcc1" presStyleIdx="1" presStyleCnt="3" custScaleX="84779" custScaleY="106318">
        <dgm:presLayoutVars>
          <dgm:bulletEnabled val="1"/>
        </dgm:presLayoutVars>
      </dgm:prSet>
      <dgm:spPr/>
    </dgm:pt>
    <dgm:pt modelId="{4E4081B1-C089-4EF9-B1E9-8E9634D13FB0}" type="pres">
      <dgm:prSet presAssocID="{F1CAAC55-8356-41BE-BFBC-AA61C23ED18B}" presName="rect2" presStyleLbl="fgImgPlace1" presStyleIdx="1" presStyleCnt="3"/>
      <dgm:spPr>
        <a:xfrm>
          <a:off x="251264" y="1094558"/>
          <a:ext cx="515524" cy="773286"/>
        </a:xfrm>
        <a:prstGeom prst="rect">
          <a:avLst/>
        </a:prstGeom>
        <a:blipFill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16000" r="-16000"/>
          </a:stretch>
        </a:blip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7F572851-5CDD-4393-BAB4-DC908460DC99}" type="pres">
      <dgm:prSet presAssocID="{5C3BE985-64CF-4BB6-8065-829968CEB70C}" presName="sibTrans" presStyleCnt="0"/>
      <dgm:spPr/>
    </dgm:pt>
    <dgm:pt modelId="{57BE8CDC-5E49-4973-9AF4-8DA72C237FFB}" type="pres">
      <dgm:prSet presAssocID="{90AA6AA1-5355-42CD-8321-5C169690BEAB}" presName="composite" presStyleCnt="0"/>
      <dgm:spPr/>
    </dgm:pt>
    <dgm:pt modelId="{DCD7F719-5A5A-4C6F-83FC-7EB3F755F6E9}" type="pres">
      <dgm:prSet presAssocID="{90AA6AA1-5355-42CD-8321-5C169690BEAB}" presName="rect1" presStyleLbl="trAlignAcc1" presStyleIdx="2" presStyleCnt="3" custScaleX="89663">
        <dgm:presLayoutVars>
          <dgm:bulletEnabled val="1"/>
        </dgm:presLayoutVars>
      </dgm:prSet>
      <dgm:spPr/>
    </dgm:pt>
    <dgm:pt modelId="{A4C5EABF-E932-4A7E-A913-1E675A661170}" type="pres">
      <dgm:prSet presAssocID="{90AA6AA1-5355-42CD-8321-5C169690BEAB}" presName="rect2" presStyleLbl="fgImgPlace1" presStyleIdx="2" presStyleCnt="3"/>
      <dgm:spPr>
        <a:xfrm>
          <a:off x="251264" y="2021684"/>
          <a:ext cx="515524" cy="773286"/>
        </a:xfrm>
        <a:prstGeom prst="rect">
          <a:avLst/>
        </a:prstGeom>
        <a:blipFill rotWithShape="1"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72000" r="-72000"/>
          </a:stretch>
        </a:blip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</dgm:ptLst>
  <dgm:cxnLst>
    <dgm:cxn modelId="{F96B9420-0175-40B3-94BA-1168C907A9B7}" srcId="{1943CF99-79FD-44C4-AEE6-C0BDCAA6ACCA}" destId="{90AA6AA1-5355-42CD-8321-5C169690BEAB}" srcOrd="2" destOrd="0" parTransId="{787778CD-C921-4BD7-8D12-229261FEF862}" sibTransId="{9332FBB4-069E-40D9-AABC-302F92514420}"/>
    <dgm:cxn modelId="{5A7AF263-164F-4BB7-828F-5418E67FB4C7}" type="presOf" srcId="{90AA6AA1-5355-42CD-8321-5C169690BEAB}" destId="{DCD7F719-5A5A-4C6F-83FC-7EB3F755F6E9}" srcOrd="0" destOrd="0" presId="urn:microsoft.com/office/officeart/2008/layout/PictureStrips"/>
    <dgm:cxn modelId="{BA0B5059-019E-4F6B-BEAD-09EB5CBC7F6B}" type="presOf" srcId="{F1CAAC55-8356-41BE-BFBC-AA61C23ED18B}" destId="{259908D5-DD54-474B-A422-7C695BF728E0}" srcOrd="0" destOrd="0" presId="urn:microsoft.com/office/officeart/2008/layout/PictureStrips"/>
    <dgm:cxn modelId="{4901AE83-EBC6-4EFA-B04A-F9CD5BE809CC}" type="presOf" srcId="{0C96B7C0-DDA2-4044-B4D1-70821791DBE3}" destId="{69925F10-0FFD-4132-9AFD-535A708FF2BA}" srcOrd="0" destOrd="0" presId="urn:microsoft.com/office/officeart/2008/layout/PictureStrips"/>
    <dgm:cxn modelId="{61352AC8-EDF3-4B07-A705-3B93B6F1DAFB}" type="presOf" srcId="{1943CF99-79FD-44C4-AEE6-C0BDCAA6ACCA}" destId="{404E7946-7464-41E7-8568-DA683AF692A1}" srcOrd="0" destOrd="0" presId="urn:microsoft.com/office/officeart/2008/layout/PictureStrips"/>
    <dgm:cxn modelId="{1B32B6EB-CD0B-4A6E-9D01-8DDDE7701A91}" srcId="{1943CF99-79FD-44C4-AEE6-C0BDCAA6ACCA}" destId="{F1CAAC55-8356-41BE-BFBC-AA61C23ED18B}" srcOrd="1" destOrd="0" parTransId="{9099F31D-C05C-4A24-9AFC-71B87CA1F420}" sibTransId="{5C3BE985-64CF-4BB6-8065-829968CEB70C}"/>
    <dgm:cxn modelId="{838EFFF1-66F2-4DA4-9F0E-CA52E8F0588B}" srcId="{1943CF99-79FD-44C4-AEE6-C0BDCAA6ACCA}" destId="{0C96B7C0-DDA2-4044-B4D1-70821791DBE3}" srcOrd="0" destOrd="0" parTransId="{CC686355-FD9A-41FD-A649-56698E258278}" sibTransId="{D8243738-AA60-424C-B817-E60C98292F54}"/>
    <dgm:cxn modelId="{D902EE49-D53B-4966-9408-097DE388D284}" type="presParOf" srcId="{404E7946-7464-41E7-8568-DA683AF692A1}" destId="{6F5B0D73-7DA7-4CAB-B059-E08337234AAC}" srcOrd="0" destOrd="0" presId="urn:microsoft.com/office/officeart/2008/layout/PictureStrips"/>
    <dgm:cxn modelId="{F8A98FAF-C4F3-43D1-81F1-130FF8DEFEEA}" type="presParOf" srcId="{6F5B0D73-7DA7-4CAB-B059-E08337234AAC}" destId="{69925F10-0FFD-4132-9AFD-535A708FF2BA}" srcOrd="0" destOrd="0" presId="urn:microsoft.com/office/officeart/2008/layout/PictureStrips"/>
    <dgm:cxn modelId="{B81D2B12-25E6-4AF5-96E3-A80BB6F9FCB0}" type="presParOf" srcId="{6F5B0D73-7DA7-4CAB-B059-E08337234AAC}" destId="{34D6228E-4EA9-446E-8303-4456B546F73E}" srcOrd="1" destOrd="0" presId="urn:microsoft.com/office/officeart/2008/layout/PictureStrips"/>
    <dgm:cxn modelId="{0D1D32E9-CC9C-4216-9CFA-33A4CFD26F9D}" type="presParOf" srcId="{404E7946-7464-41E7-8568-DA683AF692A1}" destId="{C5D3D646-B9A4-4870-8516-3A231CB53E6C}" srcOrd="1" destOrd="0" presId="urn:microsoft.com/office/officeart/2008/layout/PictureStrips"/>
    <dgm:cxn modelId="{C160F2BA-9163-4A34-9973-E4BF706D89A6}" type="presParOf" srcId="{404E7946-7464-41E7-8568-DA683AF692A1}" destId="{75F297E3-2B03-4723-9D90-63D26727F613}" srcOrd="2" destOrd="0" presId="urn:microsoft.com/office/officeart/2008/layout/PictureStrips"/>
    <dgm:cxn modelId="{343E1C99-6747-465C-84B4-F7778E60C1CD}" type="presParOf" srcId="{75F297E3-2B03-4723-9D90-63D26727F613}" destId="{259908D5-DD54-474B-A422-7C695BF728E0}" srcOrd="0" destOrd="0" presId="urn:microsoft.com/office/officeart/2008/layout/PictureStrips"/>
    <dgm:cxn modelId="{D0958896-F882-40B5-8D00-B365651883DD}" type="presParOf" srcId="{75F297E3-2B03-4723-9D90-63D26727F613}" destId="{4E4081B1-C089-4EF9-B1E9-8E9634D13FB0}" srcOrd="1" destOrd="0" presId="urn:microsoft.com/office/officeart/2008/layout/PictureStrips"/>
    <dgm:cxn modelId="{C376BA1B-0F10-4538-B984-9F0D28FF5E54}" type="presParOf" srcId="{404E7946-7464-41E7-8568-DA683AF692A1}" destId="{7F572851-5CDD-4393-BAB4-DC908460DC99}" srcOrd="3" destOrd="0" presId="urn:microsoft.com/office/officeart/2008/layout/PictureStrips"/>
    <dgm:cxn modelId="{540F3CE0-E785-4F3F-AF88-D71C2DB147FD}" type="presParOf" srcId="{404E7946-7464-41E7-8568-DA683AF692A1}" destId="{57BE8CDC-5E49-4973-9AF4-8DA72C237FFB}" srcOrd="4" destOrd="0" presId="urn:microsoft.com/office/officeart/2008/layout/PictureStrips"/>
    <dgm:cxn modelId="{2FBCB557-A106-42C7-9C87-CA91478AC2BE}" type="presParOf" srcId="{57BE8CDC-5E49-4973-9AF4-8DA72C237FFB}" destId="{DCD7F719-5A5A-4C6F-83FC-7EB3F755F6E9}" srcOrd="0" destOrd="0" presId="urn:microsoft.com/office/officeart/2008/layout/PictureStrips"/>
    <dgm:cxn modelId="{84CFD94C-4118-4A70-9E5A-AA68BEF8265D}" type="presParOf" srcId="{57BE8CDC-5E49-4973-9AF4-8DA72C237FFB}" destId="{A4C5EABF-E932-4A7E-A913-1E675A661170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925F10-0FFD-4132-9AFD-535A708FF2BA}">
      <dsp:nvSpPr>
        <dsp:cNvPr id="0" name=""/>
        <dsp:cNvSpPr/>
      </dsp:nvSpPr>
      <dsp:spPr>
        <a:xfrm>
          <a:off x="780064" y="263478"/>
          <a:ext cx="1779555" cy="728265"/>
        </a:xfrm>
        <a:prstGeom prst="rect">
          <a:avLst/>
        </a:prstGeom>
        <a:solidFill>
          <a:srgbClr val="A5A5A5">
            <a:alpha val="40000"/>
            <a:tint val="4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A5A5A5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3279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i="1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rPr>
            <a:t>1. Обучение</a:t>
          </a:r>
        </a:p>
      </dsp:txBody>
      <dsp:txXfrm>
        <a:off x="780064" y="263478"/>
        <a:ext cx="1779555" cy="728265"/>
      </dsp:txXfrm>
    </dsp:sp>
    <dsp:sp modelId="{34D6228E-4EA9-446E-8303-4456B546F73E}">
      <dsp:nvSpPr>
        <dsp:cNvPr id="0" name=""/>
        <dsp:cNvSpPr/>
      </dsp:nvSpPr>
      <dsp:spPr>
        <a:xfrm>
          <a:off x="398332" y="166513"/>
          <a:ext cx="509786" cy="764679"/>
        </a:xfrm>
        <a:prstGeom prst="rect">
          <a:avLst/>
        </a:prstGeom>
        <a:blipFill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9000" r="-39000"/>
          </a:stretch>
        </a:blip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9908D5-DD54-474B-A422-7C695BF728E0}">
      <dsp:nvSpPr>
        <dsp:cNvPr id="0" name=""/>
        <dsp:cNvSpPr/>
      </dsp:nvSpPr>
      <dsp:spPr>
        <a:xfrm>
          <a:off x="623749" y="1165507"/>
          <a:ext cx="1975732" cy="774277"/>
        </a:xfrm>
        <a:prstGeom prst="rect">
          <a:avLst/>
        </a:prstGeom>
        <a:solidFill>
          <a:srgbClr val="A5A5A5">
            <a:alpha val="40000"/>
            <a:tint val="4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A5A5A5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3279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i="1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rPr>
            <a:t>2.Методологическая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i="1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rPr>
            <a:t> и консультационная поддержка</a:t>
          </a:r>
        </a:p>
      </dsp:txBody>
      <dsp:txXfrm>
        <a:off x="623749" y="1165507"/>
        <a:ext cx="1975732" cy="774277"/>
      </dsp:txXfrm>
    </dsp:sp>
    <dsp:sp modelId="{4E4081B1-C089-4EF9-B1E9-8E9634D13FB0}">
      <dsp:nvSpPr>
        <dsp:cNvPr id="0" name=""/>
        <dsp:cNvSpPr/>
      </dsp:nvSpPr>
      <dsp:spPr>
        <a:xfrm>
          <a:off x="349288" y="1083319"/>
          <a:ext cx="509786" cy="764679"/>
        </a:xfrm>
        <a:prstGeom prst="rect">
          <a:avLst/>
        </a:prstGeom>
        <a:blipFill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16000" r="-16000"/>
          </a:stretch>
        </a:blip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D7F719-5A5A-4C6F-83FC-7EB3F755F6E9}">
      <dsp:nvSpPr>
        <dsp:cNvPr id="0" name=""/>
        <dsp:cNvSpPr/>
      </dsp:nvSpPr>
      <dsp:spPr>
        <a:xfrm>
          <a:off x="538385" y="2128325"/>
          <a:ext cx="2089551" cy="728265"/>
        </a:xfrm>
        <a:prstGeom prst="rect">
          <a:avLst/>
        </a:prstGeom>
        <a:solidFill>
          <a:srgbClr val="A5A5A5">
            <a:alpha val="40000"/>
            <a:tint val="4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A5A5A5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3279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i="1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rPr>
            <a:t>3. Сопровождение проектов и создание образцов</a:t>
          </a:r>
        </a:p>
      </dsp:txBody>
      <dsp:txXfrm>
        <a:off x="538385" y="2128325"/>
        <a:ext cx="2089551" cy="728265"/>
      </dsp:txXfrm>
    </dsp:sp>
    <dsp:sp modelId="{A4C5EABF-E932-4A7E-A913-1E675A661170}">
      <dsp:nvSpPr>
        <dsp:cNvPr id="0" name=""/>
        <dsp:cNvSpPr/>
      </dsp:nvSpPr>
      <dsp:spPr>
        <a:xfrm>
          <a:off x="320833" y="2023131"/>
          <a:ext cx="509786" cy="764679"/>
        </a:xfrm>
        <a:prstGeom prst="rect">
          <a:avLst/>
        </a:prstGeom>
        <a:blipFill rotWithShape="1"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72000" r="-72000"/>
          </a:stretch>
        </a:blip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86DCCD-FB14-4FA8-B1C2-D065E82645DF}" type="datetimeFigureOut">
              <a:rPr lang="ru-RU" smtClean="0"/>
              <a:pPr/>
              <a:t>16.01.202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D96E1-DF61-4A53-9932-3DFD8899BB9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0548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84D8A-822D-488E-8D1C-8C90CBE022BE}" type="datetimeFigureOut">
              <a:rPr lang="ru-RU" smtClean="0"/>
              <a:pPr/>
              <a:t>16.01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4175" y="685800"/>
            <a:ext cx="60896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70B7F-3432-4DBE-B821-B38A127FB2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2022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7256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0F70B7F-3432-4DBE-B821-B38A127FB2D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3507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3032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314B-175D-784B-BFCC-D930A89E6A47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90866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0F70B7F-3432-4DBE-B821-B38A127FB2DF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96692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0F70B7F-3432-4DBE-B821-B38A127FB2DF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7854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>
                <a:latin typeface="Arial" pitchFamily="34" charset="0"/>
                <a:cs typeface="Arial" pitchFamily="34" charset="0"/>
              </a:rPr>
              <a:t>/</a:t>
            </a:r>
            <a:r>
              <a:rPr lang="ru-RU" dirty="0">
                <a:latin typeface="Arial" pitchFamily="34" charset="0"/>
                <a:cs typeface="Arial" pitchFamily="34" charset="0"/>
              </a:rPr>
              <a:t> название площадки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87055625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8857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CCB8D24-AAE6-8F2B-E309-1F4C8E390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B42F9B-3CF1-5148-B876-91C4A66B9E19}" type="datetimeFigureOut">
              <a:rPr lang="ru-RU" smtClean="0"/>
              <a:t>16.01.2026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21A7F93-13AC-F0DD-9D33-0B992A312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E1C884F-A6DF-1E7A-F2DA-17A316061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0FA982-565F-314F-ADB2-6E8155EEAB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03110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з фоновых ик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E57365D-751E-E906-6DD3-EFE3347BBD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230" t="14198" r="18354" b="50437"/>
          <a:stretch/>
        </p:blipFill>
        <p:spPr>
          <a:xfrm>
            <a:off x="-3573" y="0"/>
            <a:ext cx="9147572" cy="514826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5A58AF6-5983-CD0A-4DCB-9A7EB387F4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1000"/>
          </a:blip>
          <a:srcRect l="2039" t="19066" r="5047" b="12668"/>
          <a:stretch/>
        </p:blipFill>
        <p:spPr>
          <a:xfrm>
            <a:off x="3064926" y="0"/>
            <a:ext cx="6079075" cy="5148263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0DC9C6B-E70B-1B03-8C4B-393842DB121A}"/>
              </a:ext>
            </a:extLst>
          </p:cNvPr>
          <p:cNvSpPr/>
          <p:nvPr userDrawn="1"/>
        </p:nvSpPr>
        <p:spPr>
          <a:xfrm>
            <a:off x="1" y="1"/>
            <a:ext cx="9143999" cy="5148262"/>
          </a:xfrm>
          <a:prstGeom prst="rect">
            <a:avLst/>
          </a:prstGeom>
          <a:gradFill>
            <a:gsLst>
              <a:gs pos="65000">
                <a:srgbClr val="FFFFFF">
                  <a:alpha val="69057"/>
                </a:srgbClr>
              </a:gs>
              <a:gs pos="15000">
                <a:schemeClr val="bg1">
                  <a:alpha val="97000"/>
                </a:schemeClr>
              </a:gs>
              <a:gs pos="100000">
                <a:schemeClr val="bg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97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56BB5551-3FE0-1708-0F6D-D21B5BBC4A22}"/>
              </a:ext>
            </a:extLst>
          </p:cNvPr>
          <p:cNvSpPr txBox="1">
            <a:spLocks/>
          </p:cNvSpPr>
          <p:nvPr userDrawn="1"/>
        </p:nvSpPr>
        <p:spPr>
          <a:xfrm>
            <a:off x="7272232" y="4685874"/>
            <a:ext cx="1671638" cy="274097"/>
          </a:xfrm>
          <a:prstGeom prst="rect">
            <a:avLst/>
          </a:prstGeom>
        </p:spPr>
        <p:txBody>
          <a:bodyPr vert="horz" lIns="55721" tIns="27861" rIns="55721" bIns="27861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98686F3-5CEE-AD4D-A44F-5D8312DE5C23}" type="slidenum">
              <a:rPr lang="ru-RU" sz="1500" b="1" smtClean="0">
                <a:solidFill>
                  <a:srgbClr val="1C3D8A">
                    <a:alpha val="34034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950" b="1" dirty="0">
              <a:solidFill>
                <a:srgbClr val="1C3D8A">
                  <a:alpha val="34034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3AE1EBF-1E25-994F-F7A6-C8C5B871E93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76632" y="188292"/>
            <a:ext cx="623858" cy="52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6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6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0988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7" y="1476375"/>
            <a:ext cx="3940175" cy="25078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en-US" sz="7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2458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39049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948746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8788378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53733900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0999716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9994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037263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6001625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7600003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4652454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553187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3483096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08568465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4109631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6382257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3551470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355364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598369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F6E45677-430B-4678-8423-A5E8DF41A8EA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696823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138D8DA9-12D6-4AB3-8FA6-6D0B22AD38B1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26060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0A62CC93-5F64-4B1A-88B3-79BF7AB956A3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77055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4027DE4E-6A23-4EAC-BAE8-DB617B7AE22F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367462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934784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74500E44-0271-4C61-A393-6984E1E26E45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036875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9E715A57-C3A8-4864-8FAA-B83877150232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511832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9868E68D-7C3A-4E26-BFCC-894622BFC40B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727640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C92B130A-56C9-4453-82B0-957D5B977660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34833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201372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68644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525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68644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9" y="4579415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64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F24603-9A1B-F342-92E0-89DE32840F75}" type="slidenum">
              <a:rPr kumimoji="0" lang="en-US" sz="525" b="0" i="0" u="none" strike="noStrike" kern="1200" cap="none" spc="0" normalizeH="0" baseline="0" noProof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pPr marL="0" marR="0" lvl="0" indent="0" algn="r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525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727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90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90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40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5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51332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618581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3325269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14028852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36533880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56634008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84783809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14684827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60090040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6154685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02295521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10867811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40706191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68644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525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68644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9" y="4579415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525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525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727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90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90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40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25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57660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8130852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17819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476375"/>
            <a:ext cx="4014788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8" y="1476375"/>
            <a:ext cx="3940175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3482975"/>
            <a:ext cx="4014788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4808538" y="3479346"/>
            <a:ext cx="3940174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645409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50" y="1476375"/>
            <a:ext cx="4014788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808539" y="1476375"/>
            <a:ext cx="3940174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4760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515179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7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431800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1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904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73514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4" r:id="rId2"/>
    <p:sldLayoutId id="214748382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2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08" r:id="rId2"/>
    <p:sldLayoutId id="2147483828" r:id="rId3"/>
    <p:sldLayoutId id="2147483859" r:id="rId4"/>
    <p:sldLayoutId id="2147483874" r:id="rId5"/>
    <p:sldLayoutId id="2147483878" r:id="rId6"/>
    <p:sldLayoutId id="2147483879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25" r:id="rId2"/>
    <p:sldLayoutId id="214748382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3320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6436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3686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slideLayout" Target="../slideLayouts/slideLayout10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notesSlide" Target="../notesSlides/notesSlide3.xml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1.jpg"/><Relationship Id="rId4" Type="http://schemas.openxmlformats.org/officeDocument/2006/relationships/image" Target="../media/image30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3" Type="http://schemas.openxmlformats.org/officeDocument/2006/relationships/image" Target="../media/image33.jp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jpeg"/><Relationship Id="rId9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JPG"/><Relationship Id="rId5" Type="http://schemas.openxmlformats.org/officeDocument/2006/relationships/image" Target="../media/image42.jpg"/><Relationship Id="rId4" Type="http://schemas.openxmlformats.org/officeDocument/2006/relationships/image" Target="../media/image41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53.emf"/><Relationship Id="rId4" Type="http://schemas.openxmlformats.org/officeDocument/2006/relationships/image" Target="../media/image52.jp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7.jpg"/><Relationship Id="rId4" Type="http://schemas.openxmlformats.org/officeDocument/2006/relationships/image" Target="../media/image16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jpeg"/><Relationship Id="rId7" Type="http://schemas.openxmlformats.org/officeDocument/2006/relationships/image" Target="../media/image64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3.jpe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7.png"/><Relationship Id="rId18" Type="http://schemas.openxmlformats.org/officeDocument/2006/relationships/image" Target="../media/image82.png"/><Relationship Id="rId26" Type="http://schemas.openxmlformats.org/officeDocument/2006/relationships/image" Target="../media/image90.jpg"/><Relationship Id="rId39" Type="http://schemas.openxmlformats.org/officeDocument/2006/relationships/image" Target="../media/image103.png"/><Relationship Id="rId21" Type="http://schemas.openxmlformats.org/officeDocument/2006/relationships/image" Target="../media/image85.jpg"/><Relationship Id="rId34" Type="http://schemas.openxmlformats.org/officeDocument/2006/relationships/image" Target="../media/image98.png"/><Relationship Id="rId42" Type="http://schemas.openxmlformats.org/officeDocument/2006/relationships/image" Target="../media/image106.png"/><Relationship Id="rId47" Type="http://schemas.openxmlformats.org/officeDocument/2006/relationships/image" Target="../media/image111.png"/><Relationship Id="rId50" Type="http://schemas.openxmlformats.org/officeDocument/2006/relationships/image" Target="../media/image114.png"/><Relationship Id="rId55" Type="http://schemas.openxmlformats.org/officeDocument/2006/relationships/image" Target="../media/image119.png"/><Relationship Id="rId7" Type="http://schemas.openxmlformats.org/officeDocument/2006/relationships/image" Target="../media/image71.png"/><Relationship Id="rId2" Type="http://schemas.openxmlformats.org/officeDocument/2006/relationships/image" Target="../media/image66.png"/><Relationship Id="rId16" Type="http://schemas.openxmlformats.org/officeDocument/2006/relationships/image" Target="../media/image80.png"/><Relationship Id="rId29" Type="http://schemas.openxmlformats.org/officeDocument/2006/relationships/image" Target="../media/image93.png"/><Relationship Id="rId11" Type="http://schemas.openxmlformats.org/officeDocument/2006/relationships/image" Target="../media/image75.png"/><Relationship Id="rId24" Type="http://schemas.openxmlformats.org/officeDocument/2006/relationships/image" Target="../media/image88.png"/><Relationship Id="rId32" Type="http://schemas.openxmlformats.org/officeDocument/2006/relationships/image" Target="../media/image96.png"/><Relationship Id="rId37" Type="http://schemas.openxmlformats.org/officeDocument/2006/relationships/image" Target="../media/image101.png"/><Relationship Id="rId40" Type="http://schemas.openxmlformats.org/officeDocument/2006/relationships/image" Target="../media/image104.png"/><Relationship Id="rId45" Type="http://schemas.openxmlformats.org/officeDocument/2006/relationships/image" Target="../media/image109.png"/><Relationship Id="rId53" Type="http://schemas.openxmlformats.org/officeDocument/2006/relationships/image" Target="../media/image117.png"/><Relationship Id="rId58" Type="http://schemas.openxmlformats.org/officeDocument/2006/relationships/image" Target="../media/image122.png"/><Relationship Id="rId5" Type="http://schemas.openxmlformats.org/officeDocument/2006/relationships/image" Target="../media/image69.png"/><Relationship Id="rId19" Type="http://schemas.openxmlformats.org/officeDocument/2006/relationships/image" Target="../media/image83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Relationship Id="rId14" Type="http://schemas.openxmlformats.org/officeDocument/2006/relationships/image" Target="../media/image78.png"/><Relationship Id="rId22" Type="http://schemas.openxmlformats.org/officeDocument/2006/relationships/image" Target="../media/image86.png"/><Relationship Id="rId27" Type="http://schemas.openxmlformats.org/officeDocument/2006/relationships/image" Target="../media/image91.jpg"/><Relationship Id="rId30" Type="http://schemas.openxmlformats.org/officeDocument/2006/relationships/image" Target="../media/image94.png"/><Relationship Id="rId35" Type="http://schemas.openxmlformats.org/officeDocument/2006/relationships/image" Target="../media/image99.png"/><Relationship Id="rId43" Type="http://schemas.openxmlformats.org/officeDocument/2006/relationships/image" Target="../media/image107.png"/><Relationship Id="rId48" Type="http://schemas.openxmlformats.org/officeDocument/2006/relationships/image" Target="../media/image112.png"/><Relationship Id="rId56" Type="http://schemas.openxmlformats.org/officeDocument/2006/relationships/image" Target="../media/image120.png"/><Relationship Id="rId8" Type="http://schemas.openxmlformats.org/officeDocument/2006/relationships/image" Target="../media/image72.png"/><Relationship Id="rId51" Type="http://schemas.openxmlformats.org/officeDocument/2006/relationships/image" Target="../media/image115.png"/><Relationship Id="rId3" Type="http://schemas.openxmlformats.org/officeDocument/2006/relationships/image" Target="../media/image67.png"/><Relationship Id="rId12" Type="http://schemas.openxmlformats.org/officeDocument/2006/relationships/image" Target="../media/image76.png"/><Relationship Id="rId17" Type="http://schemas.openxmlformats.org/officeDocument/2006/relationships/image" Target="../media/image81.png"/><Relationship Id="rId25" Type="http://schemas.openxmlformats.org/officeDocument/2006/relationships/image" Target="../media/image89.png"/><Relationship Id="rId33" Type="http://schemas.openxmlformats.org/officeDocument/2006/relationships/image" Target="../media/image97.png"/><Relationship Id="rId38" Type="http://schemas.openxmlformats.org/officeDocument/2006/relationships/image" Target="../media/image102.png"/><Relationship Id="rId46" Type="http://schemas.openxmlformats.org/officeDocument/2006/relationships/image" Target="../media/image110.png"/><Relationship Id="rId59" Type="http://schemas.openxmlformats.org/officeDocument/2006/relationships/image" Target="../media/image123.png"/><Relationship Id="rId20" Type="http://schemas.openxmlformats.org/officeDocument/2006/relationships/image" Target="../media/image84.png"/><Relationship Id="rId41" Type="http://schemas.openxmlformats.org/officeDocument/2006/relationships/image" Target="../media/image105.png"/><Relationship Id="rId54" Type="http://schemas.openxmlformats.org/officeDocument/2006/relationships/image" Target="../media/image11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0.png"/><Relationship Id="rId15" Type="http://schemas.openxmlformats.org/officeDocument/2006/relationships/image" Target="../media/image79.png"/><Relationship Id="rId23" Type="http://schemas.openxmlformats.org/officeDocument/2006/relationships/image" Target="../media/image87.png"/><Relationship Id="rId28" Type="http://schemas.openxmlformats.org/officeDocument/2006/relationships/image" Target="../media/image92.png"/><Relationship Id="rId36" Type="http://schemas.openxmlformats.org/officeDocument/2006/relationships/image" Target="../media/image100.png"/><Relationship Id="rId49" Type="http://schemas.openxmlformats.org/officeDocument/2006/relationships/image" Target="../media/image113.png"/><Relationship Id="rId57" Type="http://schemas.openxmlformats.org/officeDocument/2006/relationships/image" Target="../media/image121.png"/><Relationship Id="rId10" Type="http://schemas.openxmlformats.org/officeDocument/2006/relationships/image" Target="../media/image74.png"/><Relationship Id="rId31" Type="http://schemas.openxmlformats.org/officeDocument/2006/relationships/image" Target="../media/image95.png"/><Relationship Id="rId44" Type="http://schemas.openxmlformats.org/officeDocument/2006/relationships/image" Target="../media/image108.png"/><Relationship Id="rId52" Type="http://schemas.openxmlformats.org/officeDocument/2006/relationships/image" Target="../media/image116.png"/><Relationship Id="rId60" Type="http://schemas.openxmlformats.org/officeDocument/2006/relationships/image" Target="../media/image12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image" Target="../media/image125.jpe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13" Type="http://schemas.openxmlformats.org/officeDocument/2006/relationships/image" Target="../media/image138.png"/><Relationship Id="rId18" Type="http://schemas.openxmlformats.org/officeDocument/2006/relationships/image" Target="../media/image143.png"/><Relationship Id="rId3" Type="http://schemas.openxmlformats.org/officeDocument/2006/relationships/image" Target="../media/image128.png"/><Relationship Id="rId7" Type="http://schemas.openxmlformats.org/officeDocument/2006/relationships/image" Target="../media/image132.png"/><Relationship Id="rId12" Type="http://schemas.openxmlformats.org/officeDocument/2006/relationships/image" Target="../media/image137.png"/><Relationship Id="rId17" Type="http://schemas.openxmlformats.org/officeDocument/2006/relationships/image" Target="../media/image142.png"/><Relationship Id="rId2" Type="http://schemas.openxmlformats.org/officeDocument/2006/relationships/image" Target="../media/image127.jpg"/><Relationship Id="rId16" Type="http://schemas.openxmlformats.org/officeDocument/2006/relationships/image" Target="../media/image14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1.png"/><Relationship Id="rId11" Type="http://schemas.openxmlformats.org/officeDocument/2006/relationships/image" Target="../media/image136.png"/><Relationship Id="rId5" Type="http://schemas.openxmlformats.org/officeDocument/2006/relationships/image" Target="../media/image130.png"/><Relationship Id="rId15" Type="http://schemas.openxmlformats.org/officeDocument/2006/relationships/image" Target="../media/image140.png"/><Relationship Id="rId10" Type="http://schemas.openxmlformats.org/officeDocument/2006/relationships/image" Target="../media/image135.png"/><Relationship Id="rId19" Type="http://schemas.openxmlformats.org/officeDocument/2006/relationships/image" Target="../media/image144.png"/><Relationship Id="rId4" Type="http://schemas.openxmlformats.org/officeDocument/2006/relationships/image" Target="../media/image129.png"/><Relationship Id="rId9" Type="http://schemas.openxmlformats.org/officeDocument/2006/relationships/image" Target="../media/image134.png"/><Relationship Id="rId14" Type="http://schemas.openxmlformats.org/officeDocument/2006/relationships/image" Target="../media/image13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if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3.jpg"/><Relationship Id="rId4" Type="http://schemas.openxmlformats.org/officeDocument/2006/relationships/image" Target="../media/image2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464092" y="1359835"/>
            <a:ext cx="6858252" cy="1728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30000"/>
              </a:lnSpc>
            </a:pPr>
            <a:r>
              <a:rPr lang="ru-RU" sz="2800" b="1" dirty="0">
                <a:solidFill>
                  <a:schemeClr val="tx2"/>
                </a:solidFill>
              </a:rPr>
              <a:t>М</a:t>
            </a:r>
            <a:r>
              <a:rPr lang="en-US" sz="2800" b="1" dirty="0">
                <a:solidFill>
                  <a:schemeClr val="tx2"/>
                </a:solidFill>
              </a:rPr>
              <a:t>0</a:t>
            </a:r>
            <a:r>
              <a:rPr lang="ru-RU" sz="2800" b="1" dirty="0">
                <a:solidFill>
                  <a:schemeClr val="tx2"/>
                </a:solidFill>
              </a:rPr>
              <a:t>: Концепция </a:t>
            </a:r>
          </a:p>
          <a:p>
            <a:pPr eaLnBrk="1" hangingPunct="1">
              <a:lnSpc>
                <a:spcPct val="130000"/>
              </a:lnSpc>
            </a:pPr>
            <a:r>
              <a:rPr lang="ru-RU" sz="2800" b="1" dirty="0">
                <a:solidFill>
                  <a:schemeClr val="tx2"/>
                </a:solidFill>
              </a:rPr>
              <a:t>Производственной системы Росатома</a:t>
            </a:r>
            <a:endParaRPr lang="ru-RU" altLang="ru-RU" sz="1600" dirty="0">
              <a:solidFill>
                <a:schemeClr val="tx2"/>
              </a:solidFill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7EB56BA8-40F9-4862-96E6-483461D9D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091" y="3807093"/>
            <a:ext cx="3955509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30000"/>
              </a:lnSpc>
            </a:pPr>
            <a:r>
              <a:rPr lang="ru-RU" b="1" i="1" dirty="0">
                <a:solidFill>
                  <a:schemeClr val="tx2"/>
                </a:solidFill>
              </a:rPr>
              <a:t>Актуально на 31 декабря 2025</a:t>
            </a:r>
            <a:endParaRPr lang="ru-RU" altLang="ru-RU" sz="1100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510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8">
            <a:extLst>
              <a:ext uri="{FF2B5EF4-FFF2-40B4-BE49-F238E27FC236}">
                <a16:creationId xmlns:a16="http://schemas.microsoft.com/office/drawing/2014/main" id="{2AB951A1-30F9-584E-BCF8-ED8DFB507933}"/>
              </a:ext>
            </a:extLst>
          </p:cNvPr>
          <p:cNvSpPr txBox="1">
            <a:spLocks/>
          </p:cNvSpPr>
          <p:nvPr/>
        </p:nvSpPr>
        <p:spPr bwMode="auto">
          <a:xfrm>
            <a:off x="546272" y="103625"/>
            <a:ext cx="5718849" cy="618736"/>
          </a:xfrm>
          <a:prstGeom prst="rect">
            <a:avLst/>
          </a:prstGeom>
          <a:solidFill>
            <a:schemeClr val="bg1"/>
          </a:solidFill>
        </p:spPr>
        <p:txBody>
          <a:bodyPr vert="horz" lIns="68516" tIns="34259" rIns="68516" bIns="34259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4533" eaLnBrk="0" fontAlgn="base" hangingPunct="0">
              <a:spcAft>
                <a:spcPct val="0"/>
              </a:spcAft>
              <a:buClr>
                <a:schemeClr val="dk1"/>
              </a:buClr>
              <a:buSzPts val="7200"/>
              <a:tabLst>
                <a:tab pos="4229599" algn="l"/>
              </a:tabLst>
              <a:defRPr/>
            </a:pPr>
            <a:r>
              <a:rPr lang="ru-RU" sz="1799" b="1" dirty="0">
                <a:solidFill>
                  <a:schemeClr val="tx1">
                    <a:lumMod val="50000"/>
                  </a:schemeClr>
                </a:solidFill>
                <a:latin typeface="Arial"/>
                <a:cs typeface="Times New Roman"/>
              </a:rPr>
              <a:t>Клуб бережливых губернаторов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445E700-5FD5-7840-8CA4-E5627B1E6E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0" y="2045032"/>
            <a:ext cx="5929696" cy="310085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90E4D28-E7DD-9B46-8063-57C61A4A0389}"/>
              </a:ext>
            </a:extLst>
          </p:cNvPr>
          <p:cNvSpPr/>
          <p:nvPr/>
        </p:nvSpPr>
        <p:spPr>
          <a:xfrm>
            <a:off x="6155792" y="2155519"/>
            <a:ext cx="2764726" cy="28610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99" b="1" dirty="0">
                <a:latin typeface="Times New Roman" pitchFamily="18" charset="0"/>
                <a:cs typeface="Times New Roman" pitchFamily="18" charset="0"/>
              </a:rPr>
              <a:t>2025 год – </a:t>
            </a:r>
            <a:br>
              <a:rPr lang="ru-RU" sz="1799" b="1" dirty="0">
                <a:latin typeface="Times New Roman" pitchFamily="18" charset="0"/>
                <a:cs typeface="Times New Roman" pitchFamily="18" charset="0"/>
              </a:rPr>
            </a:br>
            <a:r>
              <a:rPr lang="ru-RU" sz="1799" b="1" dirty="0">
                <a:latin typeface="Times New Roman" pitchFamily="18" charset="0"/>
                <a:cs typeface="Times New Roman" pitchFamily="18" charset="0"/>
              </a:rPr>
              <a:t>Сахалинская область</a:t>
            </a:r>
          </a:p>
          <a:p>
            <a:r>
              <a:rPr lang="ru-RU" sz="1799" dirty="0">
                <a:latin typeface="Times New Roman" pitchFamily="18" charset="0"/>
                <a:cs typeface="Times New Roman" pitchFamily="18" charset="0"/>
              </a:rPr>
              <a:t>Воронежская область,</a:t>
            </a:r>
          </a:p>
          <a:p>
            <a:r>
              <a:rPr lang="ru-RU" sz="1799" dirty="0">
                <a:latin typeface="Times New Roman" pitchFamily="18" charset="0"/>
                <a:cs typeface="Times New Roman" pitchFamily="18" charset="0"/>
              </a:rPr>
              <a:t>2024 год – Калининградская область,</a:t>
            </a:r>
          </a:p>
          <a:p>
            <a:r>
              <a:rPr lang="ru-RU" sz="1799" dirty="0">
                <a:latin typeface="Times New Roman" pitchFamily="18" charset="0"/>
                <a:cs typeface="Times New Roman" pitchFamily="18" charset="0"/>
              </a:rPr>
              <a:t>ранее:</a:t>
            </a:r>
          </a:p>
          <a:p>
            <a:r>
              <a:rPr lang="ru-RU" sz="1799" dirty="0">
                <a:latin typeface="Times New Roman" pitchFamily="18" charset="0"/>
                <a:cs typeface="Times New Roman" pitchFamily="18" charset="0"/>
              </a:rPr>
              <a:t>Санкт-Петербург,</a:t>
            </a:r>
          </a:p>
          <a:p>
            <a:r>
              <a:rPr lang="ru-RU" sz="1799" dirty="0">
                <a:latin typeface="Times New Roman" pitchFamily="18" charset="0"/>
                <a:cs typeface="Times New Roman" pitchFamily="18" charset="0"/>
              </a:rPr>
              <a:t>Республика Чувашия,</a:t>
            </a:r>
          </a:p>
          <a:p>
            <a:r>
              <a:rPr lang="ru-RU" sz="1799" dirty="0">
                <a:latin typeface="Times New Roman" pitchFamily="18" charset="0"/>
                <a:cs typeface="Times New Roman" pitchFamily="18" charset="0"/>
              </a:rPr>
              <a:t>Сахалинская область,</a:t>
            </a:r>
          </a:p>
          <a:p>
            <a:r>
              <a:rPr lang="ru-RU" sz="1799" dirty="0">
                <a:latin typeface="Times New Roman" pitchFamily="18" charset="0"/>
                <a:cs typeface="Times New Roman" pitchFamily="18" charset="0"/>
              </a:rPr>
              <a:t>Нижегородская область.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B7ABB4A-DE2E-2F4C-840E-26C8DD008D60}"/>
              </a:ext>
            </a:extLst>
          </p:cNvPr>
          <p:cNvSpPr/>
          <p:nvPr/>
        </p:nvSpPr>
        <p:spPr>
          <a:xfrm>
            <a:off x="546272" y="687135"/>
            <a:ext cx="837424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Клуб бережливых губернаторов создан в 2019 году. </a:t>
            </a:r>
            <a:br>
              <a:rPr lang="ru-RU" dirty="0">
                <a:latin typeface="Times New Roman" pitchFamily="18" charset="0"/>
                <a:cs typeface="Times New Roman" pitchFamily="18" charset="0"/>
              </a:rPr>
            </a:br>
            <a:r>
              <a:rPr lang="ru-RU" dirty="0">
                <a:latin typeface="Times New Roman" pitchFamily="18" charset="0"/>
                <a:cs typeface="Times New Roman" pitchFamily="18" charset="0"/>
              </a:rPr>
              <a:t>Цель – объединение усилий, создание образцов, выявление лучших проектов, разработка совместных законодательных инициатив в сфере государственного и муниципального управления. </a:t>
            </a:r>
          </a:p>
        </p:txBody>
      </p:sp>
    </p:spTree>
    <p:extLst>
      <p:ext uri="{BB962C8B-B14F-4D97-AF65-F5344CB8AC3E}">
        <p14:creationId xmlns:p14="http://schemas.microsoft.com/office/powerpoint/2010/main" val="20567140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96034" y="216326"/>
            <a:ext cx="6799897" cy="329894"/>
          </a:xfrm>
        </p:spPr>
        <p:txBody>
          <a:bodyPr/>
          <a:lstStyle/>
          <a:p>
            <a:r>
              <a:rPr lang="ru-RU" sz="1650" dirty="0">
                <a:solidFill>
                  <a:schemeClr val="tx1"/>
                </a:solidFill>
              </a:rPr>
              <a:t>Развитие всероссийского Центра Компетенций по бережливым технологиям в сфере государственного и муниципального управления в Мастерской Эффективности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033" y="985125"/>
            <a:ext cx="7917903" cy="372594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3887" y="4711069"/>
            <a:ext cx="4202720" cy="27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912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96034" y="216326"/>
            <a:ext cx="6799897" cy="329894"/>
          </a:xfrm>
        </p:spPr>
        <p:txBody>
          <a:bodyPr/>
          <a:lstStyle/>
          <a:p>
            <a:r>
              <a:rPr lang="ru-RU" sz="1650" dirty="0">
                <a:solidFill>
                  <a:schemeClr val="tx1"/>
                </a:solidFill>
              </a:rPr>
              <a:t>Развитие всероссийского Центра Компетенций по бережливым технологиям в сфере государственного и муниципального управления в Мастерской Эффективности</a:t>
            </a:r>
            <a:r>
              <a:rPr lang="en-US" sz="1650" dirty="0">
                <a:solidFill>
                  <a:schemeClr val="tx1"/>
                </a:solidFill>
              </a:rPr>
              <a:t> </a:t>
            </a:r>
            <a:endParaRPr lang="ru-RU" sz="165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E048C6-D01B-961E-556D-4E1855FBFEE5}"/>
              </a:ext>
            </a:extLst>
          </p:cNvPr>
          <p:cNvSpPr txBox="1"/>
          <p:nvPr/>
        </p:nvSpPr>
        <p:spPr>
          <a:xfrm>
            <a:off x="75522" y="1209646"/>
            <a:ext cx="288956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Проведение практико-ориентированного </a:t>
            </a:r>
            <a:r>
              <a:rPr lang="ru-RU" sz="1200" b="1" dirty="0">
                <a:solidFill>
                  <a:srgbClr val="000000"/>
                </a:solidFill>
              </a:rPr>
              <a:t>обучения </a:t>
            </a:r>
            <a:r>
              <a:rPr lang="ru-RU" sz="1200" dirty="0">
                <a:solidFill>
                  <a:srgbClr val="000000"/>
                </a:solidFill>
              </a:rPr>
              <a:t>персонала МЭ</a:t>
            </a:r>
            <a:r>
              <a:rPr lang="ru-RU" sz="12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8782FC-4B32-F42E-0A30-AA7612F80742}"/>
              </a:ext>
            </a:extLst>
          </p:cNvPr>
          <p:cNvSpPr txBox="1"/>
          <p:nvPr/>
        </p:nvSpPr>
        <p:spPr>
          <a:xfrm>
            <a:off x="203542" y="1959410"/>
            <a:ext cx="257051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Подготовка программ </a:t>
            </a:r>
            <a:r>
              <a:rPr lang="ru-RU" sz="1200" b="1" dirty="0">
                <a:solidFill>
                  <a:srgbClr val="000000"/>
                </a:solidFill>
                <a:latin typeface="Arial"/>
                <a:cs typeface="Arial"/>
              </a:rPr>
              <a:t>стажировок</a:t>
            </a: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 для представителей регионов в МЭ (1 месяц, 3 месяца, 6 месяцев, год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17D3C3-9D8D-2E20-86BF-D2436F444383}"/>
              </a:ext>
            </a:extLst>
          </p:cNvPr>
          <p:cNvSpPr txBox="1"/>
          <p:nvPr/>
        </p:nvSpPr>
        <p:spPr>
          <a:xfrm>
            <a:off x="160906" y="2973924"/>
            <a:ext cx="270263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Работа </a:t>
            </a:r>
            <a:r>
              <a:rPr lang="ru-RU" sz="1200" b="1" dirty="0">
                <a:solidFill>
                  <a:srgbClr val="000000"/>
                </a:solidFill>
                <a:latin typeface="Arial"/>
                <a:cs typeface="Arial"/>
              </a:rPr>
              <a:t>Методологического Совета </a:t>
            </a: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по различным направлениям: фабрики процессов, фабрики изменений и т.д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810FD9-36CF-E4CC-25F9-6560D15ACDAA}"/>
              </a:ext>
            </a:extLst>
          </p:cNvPr>
          <p:cNvSpPr txBox="1"/>
          <p:nvPr/>
        </p:nvSpPr>
        <p:spPr>
          <a:xfrm>
            <a:off x="203542" y="3961339"/>
            <a:ext cx="26131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Отработка первой волны </a:t>
            </a:r>
            <a:r>
              <a:rPr lang="ru-RU" sz="1200" b="1" dirty="0">
                <a:solidFill>
                  <a:srgbClr val="000000"/>
                </a:solidFill>
                <a:latin typeface="Arial"/>
                <a:cs typeface="Arial"/>
              </a:rPr>
              <a:t>региональных отраслевых стандарто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F7C82D1-23FA-57BE-CC9F-71D9E082FACF}"/>
              </a:ext>
            </a:extLst>
          </p:cNvPr>
          <p:cNvSpPr txBox="1"/>
          <p:nvPr/>
        </p:nvSpPr>
        <p:spPr>
          <a:xfrm>
            <a:off x="6912979" y="3808440"/>
            <a:ext cx="20274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Разработка </a:t>
            </a:r>
            <a:r>
              <a:rPr lang="ru-RU" sz="1200" b="1" dirty="0">
                <a:solidFill>
                  <a:srgbClr val="000000"/>
                </a:solidFill>
                <a:latin typeface="Arial"/>
                <a:cs typeface="Arial"/>
              </a:rPr>
              <a:t>цифровых решений для обучения </a:t>
            </a: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в игровом формате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F60AF1-41FD-DBEA-9D35-732355B94EEE}"/>
              </a:ext>
            </a:extLst>
          </p:cNvPr>
          <p:cNvSpPr txBox="1"/>
          <p:nvPr/>
        </p:nvSpPr>
        <p:spPr>
          <a:xfrm>
            <a:off x="3119339" y="4120064"/>
            <a:ext cx="320796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Разработка и издание </a:t>
            </a:r>
            <a:r>
              <a:rPr lang="ru-RU" sz="1200" b="1" dirty="0">
                <a:solidFill>
                  <a:srgbClr val="000000"/>
                </a:solidFill>
                <a:latin typeface="Arial"/>
                <a:cs typeface="Arial"/>
              </a:rPr>
              <a:t>учебно-методических пособий</a:t>
            </a: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: </a:t>
            </a:r>
            <a:r>
              <a:rPr lang="ru-RU" sz="1200" dirty="0">
                <a:solidFill>
                  <a:prstClr val="black"/>
                </a:solidFill>
                <a:latin typeface="Arial"/>
                <a:cs typeface="Arial"/>
              </a:rPr>
              <a:t>«Книга о Хаяси», Перекидной календарь и тд</a:t>
            </a:r>
            <a:endParaRPr lang="ru-RU" sz="12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652DFC5-4DFF-66E3-E203-E46B5BA7446D}"/>
              </a:ext>
            </a:extLst>
          </p:cNvPr>
          <p:cNvSpPr txBox="1"/>
          <p:nvPr/>
        </p:nvSpPr>
        <p:spPr>
          <a:xfrm>
            <a:off x="6715747" y="2552568"/>
            <a:ext cx="227709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Формирование первых </a:t>
            </a:r>
            <a:b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</a:b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4 направлений </a:t>
            </a:r>
            <a:r>
              <a:rPr lang="ru-RU" sz="1200" b="1" dirty="0">
                <a:solidFill>
                  <a:srgbClr val="000000"/>
                </a:solidFill>
                <a:latin typeface="Arial"/>
                <a:cs typeface="Arial"/>
              </a:rPr>
              <a:t>"Фабрики фабрик"</a:t>
            </a: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 : фабрики "Производство", "Госуслуги", "Проекты", "Офис"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84807BF-35ED-F6D5-9AA6-67FB3DF29C31}"/>
              </a:ext>
            </a:extLst>
          </p:cNvPr>
          <p:cNvSpPr txBox="1"/>
          <p:nvPr/>
        </p:nvSpPr>
        <p:spPr>
          <a:xfrm>
            <a:off x="6715747" y="1285271"/>
            <a:ext cx="227709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Подготовка сценариев больших активностей с бережливым уклоном (Форсаж-2) для </a:t>
            </a:r>
            <a:r>
              <a:rPr lang="ru-RU" sz="1200" b="1" dirty="0">
                <a:solidFill>
                  <a:srgbClr val="000000"/>
                </a:solidFill>
                <a:latin typeface="Arial"/>
                <a:cs typeface="Arial"/>
              </a:rPr>
              <a:t>работы с Росмолодежью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537E9A7-1E75-41E5-CC12-E12E58675F4D}"/>
              </a:ext>
            </a:extLst>
          </p:cNvPr>
          <p:cNvSpPr txBox="1"/>
          <p:nvPr/>
        </p:nvSpPr>
        <p:spPr>
          <a:xfrm>
            <a:off x="3119338" y="1127049"/>
            <a:ext cx="32225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342900">
              <a:defRPr/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Разработка подхода к прозрачному </a:t>
            </a:r>
            <a:r>
              <a:rPr lang="ru-RU" sz="1200" b="1" dirty="0">
                <a:solidFill>
                  <a:srgbClr val="000000"/>
                </a:solidFill>
                <a:latin typeface="Arial"/>
                <a:cs typeface="Arial"/>
              </a:rPr>
              <a:t>рейтингованию регионов </a:t>
            </a: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по развитию бережливого управления</a:t>
            </a:r>
            <a:endParaRPr lang="en-US" sz="135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099FF2-C399-2A17-126F-EC5622DAC9B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511"/>
          <a:stretch/>
        </p:blipFill>
        <p:spPr>
          <a:xfrm>
            <a:off x="3119338" y="1931357"/>
            <a:ext cx="3222560" cy="2029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0913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14341" y="310156"/>
            <a:ext cx="6645506" cy="329589"/>
          </a:xfrm>
        </p:spPr>
        <p:txBody>
          <a:bodyPr/>
          <a:lstStyle/>
          <a:p>
            <a:r>
              <a:rPr lang="ru-RU" sz="1574" dirty="0">
                <a:solidFill>
                  <a:schemeClr val="tx1"/>
                </a:solidFill>
              </a:rPr>
              <a:t>Эффективный регион 2025. Переход от «бережливого самоуправления» к системному развитию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64A0B3CA-75F6-404A-ABD8-2EB4CA6E3C0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28001" y="3282802"/>
            <a:ext cx="1126018" cy="7708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6555329C-4AD2-4785-A17D-EDA647F276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36866" y="3958581"/>
            <a:ext cx="1461196" cy="11470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42" name="Прямоугольный треугольник 41">
            <a:extLst>
              <a:ext uri="{FF2B5EF4-FFF2-40B4-BE49-F238E27FC236}">
                <a16:creationId xmlns:a16="http://schemas.microsoft.com/office/drawing/2014/main" id="{0F31E541-6C68-4FE4-8F1E-69696AF6B9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7369150" y="841300"/>
            <a:ext cx="641258" cy="3699843"/>
          </a:xfrm>
          <a:prstGeom prst="rtTriangle">
            <a:avLst/>
          </a:prstGeom>
          <a:solidFill>
            <a:srgbClr val="002960"/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43" name="Прямоугольный треугольник 42">
            <a:extLst>
              <a:ext uri="{FF2B5EF4-FFF2-40B4-BE49-F238E27FC236}">
                <a16:creationId xmlns:a16="http://schemas.microsoft.com/office/drawing/2014/main" id="{141B3113-3AB1-42A9-8D1E-153676CB00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7458506" y="829641"/>
            <a:ext cx="551901" cy="3274919"/>
          </a:xfrm>
          <a:prstGeom prst="rtTriangle">
            <a:avLst/>
          </a:prstGeom>
          <a:solidFill>
            <a:srgbClr val="FFFFFF">
              <a:lumMod val="75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44" name="Прямоугольный треугольник 43">
            <a:extLst>
              <a:ext uri="{FF2B5EF4-FFF2-40B4-BE49-F238E27FC236}">
                <a16:creationId xmlns:a16="http://schemas.microsoft.com/office/drawing/2014/main" id="{C5A9C193-E18E-4E28-BEBA-DE89897EA29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flipH="1">
            <a:off x="7586777" y="825882"/>
            <a:ext cx="423630" cy="2467778"/>
          </a:xfrm>
          <a:prstGeom prst="rtTriangle">
            <a:avLst/>
          </a:prstGeom>
          <a:solidFill>
            <a:srgbClr val="3375B7">
              <a:lumMod val="60000"/>
              <a:lumOff val="40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45" name="Прямоугольный треугольник 44">
            <a:extLst>
              <a:ext uri="{FF2B5EF4-FFF2-40B4-BE49-F238E27FC236}">
                <a16:creationId xmlns:a16="http://schemas.microsoft.com/office/drawing/2014/main" id="{70E8AEAB-2201-4443-8294-B5087331D5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flipH="1">
            <a:off x="7694589" y="825881"/>
            <a:ext cx="315820" cy="1862342"/>
          </a:xfrm>
          <a:prstGeom prst="rtTriangle">
            <a:avLst/>
          </a:prstGeom>
          <a:solidFill>
            <a:srgbClr val="002960">
              <a:lumMod val="25000"/>
              <a:lumOff val="75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46" name="Прямоугольный треугольник 45">
            <a:extLst>
              <a:ext uri="{FF2B5EF4-FFF2-40B4-BE49-F238E27FC236}">
                <a16:creationId xmlns:a16="http://schemas.microsoft.com/office/drawing/2014/main" id="{999BBD51-7B7E-49CC-A98F-6D464F1E08A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flipH="1">
            <a:off x="7797719" y="865266"/>
            <a:ext cx="212685" cy="1226735"/>
          </a:xfrm>
          <a:prstGeom prst="rtTriangle">
            <a:avLst/>
          </a:prstGeom>
          <a:solidFill>
            <a:srgbClr val="002960">
              <a:lumMod val="10000"/>
              <a:lumOff val="90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F93DC09-2A53-4F9A-B833-467135A5F0A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066487" y="2821481"/>
            <a:ext cx="747373" cy="234757"/>
          </a:xfrm>
          <a:prstGeom prst="rect">
            <a:avLst/>
          </a:prstGeom>
          <a:noFill/>
        </p:spPr>
        <p:txBody>
          <a:bodyPr wrap="square" lIns="65162" tIns="32582" rIns="65162" bIns="32582" rtlCol="0">
            <a:spAutoFit/>
          </a:bodyPr>
          <a:lstStyle>
            <a:defPPr>
              <a:defRPr lang="ru-RU"/>
            </a:defPPr>
            <a:lvl1pPr algn="ctr">
              <a:defRPr sz="4000" b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defRPr>
            </a:lvl1pPr>
          </a:lstStyle>
          <a:p>
            <a:pPr algn="l" defTabSz="955586" fontAlgn="base">
              <a:spcBef>
                <a:spcPct val="0"/>
              </a:spcBef>
              <a:spcAft>
                <a:spcPct val="0"/>
              </a:spcAft>
            </a:pPr>
            <a:r>
              <a:rPr lang="ru-RU" sz="1098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Кандидат</a:t>
            </a:r>
            <a:endParaRPr lang="ru-RU" sz="1098" dirty="0">
              <a:ln>
                <a:noFill/>
              </a:ln>
              <a:solidFill>
                <a:srgbClr val="000000"/>
              </a:solidFill>
              <a:effectLst/>
              <a:cs typeface="Arial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E519D5D-7B5B-40DE-9CDA-EB9F84D9446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066486" y="2202908"/>
            <a:ext cx="576241" cy="234757"/>
          </a:xfrm>
          <a:prstGeom prst="rect">
            <a:avLst/>
          </a:prstGeom>
          <a:noFill/>
        </p:spPr>
        <p:txBody>
          <a:bodyPr wrap="square" lIns="65162" tIns="32582" rIns="65162" bIns="32582" rtlCol="0">
            <a:spAutoFit/>
          </a:bodyPr>
          <a:lstStyle>
            <a:defPPr>
              <a:defRPr lang="ru-RU"/>
            </a:defPPr>
            <a:lvl1pPr algn="ctr">
              <a:defRPr sz="4000" b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defRPr>
            </a:lvl1pPr>
          </a:lstStyle>
          <a:p>
            <a:pPr algn="l" defTabSz="955586" fontAlgn="base">
              <a:spcBef>
                <a:spcPct val="0"/>
              </a:spcBef>
              <a:spcAft>
                <a:spcPct val="0"/>
              </a:spcAft>
            </a:pPr>
            <a:r>
              <a:rPr lang="ru-RU" sz="1098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Лидер</a:t>
            </a:r>
            <a:endParaRPr lang="ru-RU" sz="1098" dirty="0">
              <a:ln>
                <a:noFill/>
              </a:ln>
              <a:solidFill>
                <a:srgbClr val="000000"/>
              </a:solidFill>
              <a:effectLst/>
              <a:cs typeface="Arial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420EA56-EB1B-44FC-A9CD-9A5E037595F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076834" y="4119746"/>
            <a:ext cx="788528" cy="234757"/>
          </a:xfrm>
          <a:prstGeom prst="rect">
            <a:avLst/>
          </a:prstGeom>
          <a:noFill/>
        </p:spPr>
        <p:txBody>
          <a:bodyPr wrap="square" lIns="65162" tIns="32582" rIns="65162" bIns="32582" rtlCol="0">
            <a:spAutoFit/>
          </a:bodyPr>
          <a:lstStyle>
            <a:defPPr>
              <a:defRPr lang="ru-RU"/>
            </a:defPPr>
            <a:lvl1pPr algn="ctr">
              <a:defRPr sz="4000" b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defRPr>
            </a:lvl1pPr>
          </a:lstStyle>
          <a:p>
            <a:pPr algn="l" defTabSz="955586" fontAlgn="base">
              <a:spcBef>
                <a:spcPct val="0"/>
              </a:spcBef>
              <a:spcAft>
                <a:spcPct val="0"/>
              </a:spcAft>
            </a:pPr>
            <a:r>
              <a:rPr lang="ru-RU" sz="1098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Минимум</a:t>
            </a:r>
            <a:r>
              <a:rPr lang="en-US" sz="1098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 </a:t>
            </a:r>
            <a:endParaRPr lang="ru-RU" sz="1098" dirty="0">
              <a:ln>
                <a:noFill/>
              </a:ln>
              <a:solidFill>
                <a:srgbClr val="000000"/>
              </a:solidFill>
              <a:effectLst/>
              <a:cs typeface="Arial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AA593CB-D269-4612-8EE5-3305EA53CD4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066486" y="3523133"/>
            <a:ext cx="788528" cy="234757"/>
          </a:xfrm>
          <a:prstGeom prst="rect">
            <a:avLst/>
          </a:prstGeom>
          <a:noFill/>
        </p:spPr>
        <p:txBody>
          <a:bodyPr wrap="square" lIns="65162" tIns="32582" rIns="65162" bIns="32582" rtlCol="0">
            <a:spAutoFit/>
          </a:bodyPr>
          <a:lstStyle>
            <a:defPPr>
              <a:defRPr lang="ru-RU"/>
            </a:defPPr>
            <a:lvl1pPr algn="ctr">
              <a:defRPr sz="4000" b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defRPr>
            </a:lvl1pPr>
          </a:lstStyle>
          <a:p>
            <a:pPr algn="l" defTabSz="955586" fontAlgn="base">
              <a:spcBef>
                <a:spcPct val="0"/>
              </a:spcBef>
              <a:spcAft>
                <a:spcPct val="0"/>
              </a:spcAft>
            </a:pPr>
            <a:r>
              <a:rPr lang="ru-RU" sz="1098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Резерв</a:t>
            </a:r>
            <a:endParaRPr lang="ru-RU" sz="1098" dirty="0">
              <a:ln>
                <a:noFill/>
              </a:ln>
              <a:solidFill>
                <a:srgbClr val="000000"/>
              </a:solidFill>
              <a:effectLst/>
              <a:cs typeface="Arial"/>
            </a:endParaRPr>
          </a:p>
        </p:txBody>
      </p:sp>
      <p:sp>
        <p:nvSpPr>
          <p:cNvPr id="75" name="Прямоугольный треугольник 74">
            <a:extLst>
              <a:ext uri="{FF2B5EF4-FFF2-40B4-BE49-F238E27FC236}">
                <a16:creationId xmlns:a16="http://schemas.microsoft.com/office/drawing/2014/main" id="{EF411F89-7A5E-41CC-9164-4F414BC60B9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flipH="1">
            <a:off x="7226134" y="895484"/>
            <a:ext cx="641258" cy="3699843"/>
          </a:xfrm>
          <a:prstGeom prst="rtTriangle">
            <a:avLst/>
          </a:prstGeom>
          <a:solidFill>
            <a:srgbClr val="002960"/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77" name="Прямоугольный треугольник 76">
            <a:extLst>
              <a:ext uri="{FF2B5EF4-FFF2-40B4-BE49-F238E27FC236}">
                <a16:creationId xmlns:a16="http://schemas.microsoft.com/office/drawing/2014/main" id="{3C795355-F4A7-45D4-B969-6667329C8AE9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 flipH="1">
            <a:off x="7315490" y="883826"/>
            <a:ext cx="551901" cy="3274919"/>
          </a:xfrm>
          <a:prstGeom prst="rtTriangle">
            <a:avLst/>
          </a:prstGeom>
          <a:solidFill>
            <a:srgbClr val="FFFFFF">
              <a:lumMod val="75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82" name="Прямоугольный треугольник 81">
            <a:extLst>
              <a:ext uri="{FF2B5EF4-FFF2-40B4-BE49-F238E27FC236}">
                <a16:creationId xmlns:a16="http://schemas.microsoft.com/office/drawing/2014/main" id="{C89F56A4-4421-44EB-B224-60D0F5A4FEB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flipH="1">
            <a:off x="7443762" y="880065"/>
            <a:ext cx="423630" cy="2467778"/>
          </a:xfrm>
          <a:prstGeom prst="rtTriangle">
            <a:avLst/>
          </a:prstGeom>
          <a:solidFill>
            <a:srgbClr val="3375B7">
              <a:lumMod val="60000"/>
              <a:lumOff val="40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89" name="Прямоугольный треугольник 88">
            <a:extLst>
              <a:ext uri="{FF2B5EF4-FFF2-40B4-BE49-F238E27FC236}">
                <a16:creationId xmlns:a16="http://schemas.microsoft.com/office/drawing/2014/main" id="{80C76872-FEC4-4ECA-B7E1-C3819243E9D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flipH="1">
            <a:off x="7551573" y="880065"/>
            <a:ext cx="315820" cy="1862342"/>
          </a:xfrm>
          <a:prstGeom prst="rtTriangle">
            <a:avLst/>
          </a:prstGeom>
          <a:solidFill>
            <a:srgbClr val="002960">
              <a:lumMod val="25000"/>
              <a:lumOff val="75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90" name="Прямоугольный треугольник 89">
            <a:extLst>
              <a:ext uri="{FF2B5EF4-FFF2-40B4-BE49-F238E27FC236}">
                <a16:creationId xmlns:a16="http://schemas.microsoft.com/office/drawing/2014/main" id="{4AEF6A8E-6DFE-4030-B637-D70580C1E89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flipH="1">
            <a:off x="7654704" y="919450"/>
            <a:ext cx="212685" cy="1226735"/>
          </a:xfrm>
          <a:prstGeom prst="rtTriangle">
            <a:avLst/>
          </a:prstGeom>
          <a:solidFill>
            <a:srgbClr val="002960">
              <a:lumMod val="10000"/>
              <a:lumOff val="90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91" name="Прямоугольный треугольник 90">
            <a:extLst>
              <a:ext uri="{FF2B5EF4-FFF2-40B4-BE49-F238E27FC236}">
                <a16:creationId xmlns:a16="http://schemas.microsoft.com/office/drawing/2014/main" id="{DCDB6C3C-9456-4DEA-AA11-E849A1E25132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 flipH="1">
            <a:off x="7096903" y="958689"/>
            <a:ext cx="641258" cy="3699843"/>
          </a:xfrm>
          <a:prstGeom prst="rtTriangle">
            <a:avLst/>
          </a:prstGeom>
          <a:solidFill>
            <a:srgbClr val="002960"/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98" name="Прямоугольный треугольник 97">
            <a:extLst>
              <a:ext uri="{FF2B5EF4-FFF2-40B4-BE49-F238E27FC236}">
                <a16:creationId xmlns:a16="http://schemas.microsoft.com/office/drawing/2014/main" id="{79D5DC96-1EDC-4DD6-868F-3B0EDC4AFB7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 flipH="1">
            <a:off x="7186259" y="947031"/>
            <a:ext cx="551901" cy="3274919"/>
          </a:xfrm>
          <a:prstGeom prst="rtTriangle">
            <a:avLst/>
          </a:prstGeom>
          <a:solidFill>
            <a:srgbClr val="FFFFFF">
              <a:lumMod val="75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99" name="Прямоугольный треугольник 98">
            <a:extLst>
              <a:ext uri="{FF2B5EF4-FFF2-40B4-BE49-F238E27FC236}">
                <a16:creationId xmlns:a16="http://schemas.microsoft.com/office/drawing/2014/main" id="{1988C9BC-F1DD-4333-946A-881A32F5BD3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 flipH="1">
            <a:off x="7314530" y="943270"/>
            <a:ext cx="423630" cy="2467778"/>
          </a:xfrm>
          <a:prstGeom prst="rtTriangle">
            <a:avLst/>
          </a:prstGeom>
          <a:solidFill>
            <a:srgbClr val="3375B7">
              <a:lumMod val="60000"/>
              <a:lumOff val="40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100" name="Прямоугольный треугольник 99">
            <a:extLst>
              <a:ext uri="{FF2B5EF4-FFF2-40B4-BE49-F238E27FC236}">
                <a16:creationId xmlns:a16="http://schemas.microsoft.com/office/drawing/2014/main" id="{172913F7-E5E1-4094-ABF5-6DC60BABBC3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 flipH="1">
            <a:off x="7422342" y="943269"/>
            <a:ext cx="315820" cy="1862342"/>
          </a:xfrm>
          <a:prstGeom prst="rtTriangle">
            <a:avLst/>
          </a:prstGeom>
          <a:solidFill>
            <a:srgbClr val="002960">
              <a:lumMod val="25000"/>
              <a:lumOff val="75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101" name="Прямоугольный треугольник 100">
            <a:extLst>
              <a:ext uri="{FF2B5EF4-FFF2-40B4-BE49-F238E27FC236}">
                <a16:creationId xmlns:a16="http://schemas.microsoft.com/office/drawing/2014/main" id="{300D7602-B2C3-468A-912C-BD626F03133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 flipH="1">
            <a:off x="7525472" y="982655"/>
            <a:ext cx="212685" cy="1226735"/>
          </a:xfrm>
          <a:prstGeom prst="rtTriangle">
            <a:avLst/>
          </a:prstGeom>
          <a:solidFill>
            <a:srgbClr val="002960">
              <a:lumMod val="10000"/>
              <a:lumOff val="90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103" name="Прямая соединительная линия 102">
            <a:extLst>
              <a:ext uri="{FF2B5EF4-FFF2-40B4-BE49-F238E27FC236}">
                <a16:creationId xmlns:a16="http://schemas.microsoft.com/office/drawing/2014/main" id="{E6817B28-7555-4D21-8B2C-3A97F128DEC9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>
          <a:xfrm>
            <a:off x="8056564" y="3329637"/>
            <a:ext cx="820418" cy="0"/>
          </a:xfrm>
          <a:prstGeom prst="line">
            <a:avLst/>
          </a:prstGeom>
          <a:noFill/>
          <a:ln w="28575" cap="flat" cmpd="sng" algn="ctr">
            <a:solidFill>
              <a:schemeClr val="accent1">
                <a:lumMod val="60000"/>
                <a:lumOff val="40000"/>
              </a:schemeClr>
            </a:solidFill>
            <a:prstDash val="sysDash"/>
          </a:ln>
          <a:effectLst/>
        </p:spPr>
      </p:cxnSp>
      <p:cxnSp>
        <p:nvCxnSpPr>
          <p:cNvPr id="104" name="Прямая соединительная линия 103">
            <a:extLst>
              <a:ext uri="{FF2B5EF4-FFF2-40B4-BE49-F238E27FC236}">
                <a16:creationId xmlns:a16="http://schemas.microsoft.com/office/drawing/2014/main" id="{6CE73EE5-1C4E-4DBA-B78D-873C25100FD2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8034581" y="4140547"/>
            <a:ext cx="837478" cy="1203"/>
          </a:xfrm>
          <a:prstGeom prst="line">
            <a:avLst/>
          </a:prstGeom>
          <a:noFill/>
          <a:ln w="28575" cap="flat" cmpd="sng" algn="ctr">
            <a:solidFill>
              <a:srgbClr val="C00000"/>
            </a:solidFill>
            <a:prstDash val="sysDash"/>
          </a:ln>
          <a:effectLst/>
        </p:spPr>
      </p:cxnSp>
      <p:cxnSp>
        <p:nvCxnSpPr>
          <p:cNvPr id="105" name="Прямая соединительная линия 104">
            <a:extLst>
              <a:ext uri="{FF2B5EF4-FFF2-40B4-BE49-F238E27FC236}">
                <a16:creationId xmlns:a16="http://schemas.microsoft.com/office/drawing/2014/main" id="{4421E0AA-1F48-446E-BDC5-044C358BF2CD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>
          <a:xfrm>
            <a:off x="8025151" y="2143622"/>
            <a:ext cx="851831" cy="8921"/>
          </a:xfrm>
          <a:prstGeom prst="line">
            <a:avLst/>
          </a:prstGeom>
          <a:noFill/>
          <a:ln w="28575" cap="flat" cmpd="sng" algn="ctr">
            <a:solidFill>
              <a:schemeClr val="accent1">
                <a:lumMod val="60000"/>
                <a:lumOff val="40000"/>
              </a:schemeClr>
            </a:solidFill>
            <a:prstDash val="sysDash"/>
          </a:ln>
          <a:effectLst/>
        </p:spPr>
      </p:cxnSp>
      <p:cxnSp>
        <p:nvCxnSpPr>
          <p:cNvPr id="106" name="Прямая соединительная линия 105">
            <a:extLst>
              <a:ext uri="{FF2B5EF4-FFF2-40B4-BE49-F238E27FC236}">
                <a16:creationId xmlns:a16="http://schemas.microsoft.com/office/drawing/2014/main" id="{C1B5EDE8-3A32-4A7B-BB70-61BB258BF1DD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>
          <a:xfrm>
            <a:off x="8032105" y="2729808"/>
            <a:ext cx="851831" cy="8921"/>
          </a:xfrm>
          <a:prstGeom prst="line">
            <a:avLst/>
          </a:prstGeom>
          <a:noFill/>
          <a:ln w="28575" cap="flat" cmpd="sng" algn="ctr">
            <a:solidFill>
              <a:schemeClr val="accent1">
                <a:lumMod val="60000"/>
                <a:lumOff val="40000"/>
              </a:schemeClr>
            </a:solidFill>
            <a:prstDash val="sysDash"/>
          </a:ln>
          <a:effectLst/>
        </p:spPr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4FAD3B34-355A-4144-BF7B-B9CFFB81E2D7}"/>
              </a:ext>
            </a:extLst>
          </p:cNvPr>
          <p:cNvSpPr txBox="1"/>
          <p:nvPr/>
        </p:nvSpPr>
        <p:spPr>
          <a:xfrm>
            <a:off x="55846" y="754043"/>
            <a:ext cx="2478032" cy="645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3900"/>
            <a:r>
              <a:rPr lang="ru-RU" sz="1198" b="1" kern="0" dirty="0">
                <a:solidFill>
                  <a:srgbClr val="1F4E79"/>
                </a:solidFill>
                <a:latin typeface="Arial"/>
                <a:cs typeface="Arial"/>
              </a:rPr>
              <a:t>«БЕРЕЖЛИВОЕ</a:t>
            </a:r>
            <a:br>
              <a:rPr lang="ru-RU" sz="1198" b="1" kern="0" dirty="0">
                <a:solidFill>
                  <a:srgbClr val="1F4E79"/>
                </a:solidFill>
                <a:latin typeface="Arial"/>
                <a:cs typeface="Arial"/>
              </a:rPr>
            </a:br>
            <a:r>
              <a:rPr lang="ru-RU" sz="1198" b="1" kern="0" dirty="0">
                <a:solidFill>
                  <a:srgbClr val="1F4E79"/>
                </a:solidFill>
                <a:latin typeface="Arial"/>
                <a:cs typeface="Arial"/>
              </a:rPr>
              <a:t>САМОУПРАВЛЕНИЕ»</a:t>
            </a:r>
          </a:p>
          <a:p>
            <a:pPr algn="ctr" defTabSz="683900"/>
            <a:r>
              <a:rPr lang="ru-RU" sz="1198" kern="0" dirty="0">
                <a:solidFill>
                  <a:srgbClr val="1F4E79"/>
                </a:solidFill>
                <a:latin typeface="Arial"/>
                <a:cs typeface="Arial"/>
              </a:rPr>
              <a:t>2021-2024</a:t>
            </a:r>
            <a:r>
              <a:rPr lang="ru-RU" sz="1198" b="1" kern="0" dirty="0">
                <a:solidFill>
                  <a:srgbClr val="1F4E79"/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F5B1D4F-A493-4284-9F96-3F280703CACC}"/>
              </a:ext>
            </a:extLst>
          </p:cNvPr>
          <p:cNvSpPr txBox="1"/>
          <p:nvPr/>
        </p:nvSpPr>
        <p:spPr>
          <a:xfrm>
            <a:off x="77886" y="1371017"/>
            <a:ext cx="2440995" cy="20433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1865">
              <a:defRPr/>
            </a:pPr>
            <a:r>
              <a:rPr lang="ru-RU" sz="1198" dirty="0">
                <a:solidFill>
                  <a:prstClr val="black"/>
                </a:solidFill>
                <a:latin typeface="Arial"/>
              </a:rPr>
              <a:t>Переходящее лидерство региона (от 6 до 12 мес.) </a:t>
            </a:r>
            <a:br>
              <a:rPr lang="ru-RU" sz="1198" dirty="0">
                <a:solidFill>
                  <a:prstClr val="black"/>
                </a:solidFill>
                <a:latin typeface="Arial"/>
              </a:rPr>
            </a:br>
            <a:r>
              <a:rPr lang="ru-RU" sz="1198" dirty="0">
                <a:solidFill>
                  <a:prstClr val="black"/>
                </a:solidFill>
                <a:latin typeface="Arial"/>
              </a:rPr>
              <a:t>в </a:t>
            </a:r>
            <a:r>
              <a:rPr lang="ru-RU" sz="1198" b="1" dirty="0"/>
              <a:t>Координационном комитете при Клубе бережливых губернаторов </a:t>
            </a:r>
          </a:p>
          <a:p>
            <a:pPr defTabSz="911865">
              <a:defRPr/>
            </a:pPr>
            <a:br>
              <a:rPr lang="ru-RU" sz="699" b="1" dirty="0"/>
            </a:br>
            <a:r>
              <a:rPr lang="ru-RU" sz="1198" dirty="0">
                <a:solidFill>
                  <a:prstClr val="black"/>
                </a:solidFill>
                <a:latin typeface="Arial"/>
              </a:rPr>
              <a:t>2021 – Нижний Новгород </a:t>
            </a:r>
            <a:r>
              <a:rPr lang="en-US" sz="1198" dirty="0">
                <a:solidFill>
                  <a:prstClr val="black"/>
                </a:solidFill>
                <a:latin typeface="Arial"/>
              </a:rPr>
              <a:t> </a:t>
            </a:r>
            <a:br>
              <a:rPr lang="ru-RU" sz="1198" dirty="0">
                <a:solidFill>
                  <a:prstClr val="black"/>
                </a:solidFill>
                <a:latin typeface="Arial"/>
              </a:rPr>
            </a:br>
            <a:r>
              <a:rPr lang="ru-RU" sz="1198" dirty="0">
                <a:solidFill>
                  <a:prstClr val="black"/>
                </a:solidFill>
                <a:latin typeface="Arial"/>
              </a:rPr>
              <a:t>2022 – Чувашия, Сахалин </a:t>
            </a:r>
            <a:br>
              <a:rPr lang="ru-RU" sz="1198" dirty="0">
                <a:solidFill>
                  <a:prstClr val="black"/>
                </a:solidFill>
              </a:rPr>
            </a:br>
            <a:r>
              <a:rPr lang="ru-RU" sz="1198" dirty="0">
                <a:solidFill>
                  <a:prstClr val="black"/>
                </a:solidFill>
              </a:rPr>
              <a:t>2023 – Санкт-Петербург </a:t>
            </a:r>
          </a:p>
          <a:p>
            <a:pPr defTabSz="911865">
              <a:defRPr/>
            </a:pPr>
            <a:r>
              <a:rPr lang="ru-RU" sz="1198" b="1" dirty="0"/>
              <a:t>2024 – Калининград</a:t>
            </a:r>
          </a:p>
          <a:p>
            <a:pPr defTabSz="911865">
              <a:defRPr/>
            </a:pPr>
            <a:r>
              <a:rPr lang="ru-RU" sz="1198" b="1" i="1" dirty="0">
                <a:latin typeface="Arial"/>
              </a:rPr>
              <a:t>2025 – Воронеж, Сахалин</a:t>
            </a:r>
          </a:p>
        </p:txBody>
      </p:sp>
      <p:cxnSp>
        <p:nvCxnSpPr>
          <p:cNvPr id="110" name="Прямая соединительная линия 109">
            <a:extLst>
              <a:ext uri="{FF2B5EF4-FFF2-40B4-BE49-F238E27FC236}">
                <a16:creationId xmlns:a16="http://schemas.microsoft.com/office/drawing/2014/main" id="{D0F91461-7E39-4A41-B0AF-1258F3F94965}"/>
              </a:ext>
            </a:extLst>
          </p:cNvPr>
          <p:cNvCxnSpPr>
            <a:cxnSpLocks/>
          </p:cNvCxnSpPr>
          <p:nvPr/>
        </p:nvCxnSpPr>
        <p:spPr>
          <a:xfrm>
            <a:off x="2520737" y="816945"/>
            <a:ext cx="0" cy="382793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0DF5F708-3BB7-49E8-A53B-85C2DF575757}"/>
              </a:ext>
            </a:extLst>
          </p:cNvPr>
          <p:cNvCxnSpPr>
            <a:cxnSpLocks/>
            <a:endCxn id="100" idx="5"/>
          </p:cNvCxnSpPr>
          <p:nvPr/>
        </p:nvCxnSpPr>
        <p:spPr>
          <a:xfrm>
            <a:off x="7169990" y="1777641"/>
            <a:ext cx="410262" cy="968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22A7401D-9AC6-42D5-A3B3-29A0CE6F41F9}"/>
              </a:ext>
            </a:extLst>
          </p:cNvPr>
          <p:cNvSpPr txBox="1"/>
          <p:nvPr/>
        </p:nvSpPr>
        <p:spPr>
          <a:xfrm>
            <a:off x="4217476" y="794806"/>
            <a:ext cx="4334504" cy="5997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3900"/>
            <a:r>
              <a:rPr lang="ru-RU" sz="1099" b="1" kern="0" dirty="0">
                <a:solidFill>
                  <a:srgbClr val="1F4E79"/>
                </a:solidFill>
              </a:rPr>
              <a:t>ЦЕЛЕВАЯ МОДЕЛЬ СИСТЕМНОГО РАЗВИТИЯ ЭФФЕКТИВНОГО РЕГИОНА</a:t>
            </a:r>
            <a:r>
              <a:rPr lang="en-US" sz="1099" b="1" kern="0" dirty="0">
                <a:solidFill>
                  <a:srgbClr val="1F4E79"/>
                </a:solidFill>
              </a:rPr>
              <a:t> </a:t>
            </a:r>
            <a:br>
              <a:rPr lang="en-US" sz="1099" b="1" kern="0" dirty="0">
                <a:solidFill>
                  <a:srgbClr val="1F4E79"/>
                </a:solidFill>
              </a:rPr>
            </a:br>
            <a:r>
              <a:rPr lang="ru-RU" sz="1099" kern="0" dirty="0">
                <a:solidFill>
                  <a:srgbClr val="1F4E79"/>
                </a:solidFill>
                <a:latin typeface="Arial"/>
                <a:cs typeface="Arial"/>
              </a:rPr>
              <a:t>С </a:t>
            </a:r>
            <a:r>
              <a:rPr lang="en-US" sz="1099" kern="0" dirty="0">
                <a:solidFill>
                  <a:srgbClr val="1F4E79"/>
                </a:solidFill>
                <a:latin typeface="Arial"/>
                <a:cs typeface="Arial"/>
              </a:rPr>
              <a:t>2025 </a:t>
            </a:r>
            <a:r>
              <a:rPr lang="ru-RU" sz="1099" kern="0" dirty="0">
                <a:solidFill>
                  <a:srgbClr val="1F4E79"/>
                </a:solidFill>
                <a:latin typeface="Arial"/>
                <a:cs typeface="Arial"/>
              </a:rPr>
              <a:t>ГОДА</a:t>
            </a:r>
            <a:r>
              <a:rPr lang="en-US" sz="1099" kern="0" dirty="0">
                <a:solidFill>
                  <a:srgbClr val="1F4E79"/>
                </a:solidFill>
                <a:latin typeface="Arial"/>
                <a:cs typeface="Arial"/>
              </a:rPr>
              <a:t> </a:t>
            </a:r>
            <a:endParaRPr lang="ru-RU" sz="1099" kern="0" dirty="0">
              <a:solidFill>
                <a:srgbClr val="1F4E79"/>
              </a:solidFill>
              <a:latin typeface="Arial"/>
              <a:cs typeface="Arial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2C038101-B649-48EB-873C-E00AFC4AE0D2}"/>
              </a:ext>
            </a:extLst>
          </p:cNvPr>
          <p:cNvSpPr txBox="1"/>
          <p:nvPr/>
        </p:nvSpPr>
        <p:spPr>
          <a:xfrm>
            <a:off x="4356877" y="2261983"/>
            <a:ext cx="2715854" cy="2514150"/>
          </a:xfrm>
          <a:prstGeom prst="rect">
            <a:avLst/>
          </a:prstGeom>
          <a:noFill/>
          <a:ln w="38100">
            <a:solidFill>
              <a:srgbClr val="68B0E0"/>
            </a:solidFill>
          </a:ln>
        </p:spPr>
        <p:txBody>
          <a:bodyPr wrap="square">
            <a:spAutoFit/>
          </a:bodyPr>
          <a:lstStyle/>
          <a:p>
            <a:pPr algn="ctr" defTabSz="683900"/>
            <a:r>
              <a:rPr lang="ru-RU" sz="1049" b="1" kern="0" dirty="0">
                <a:solidFill>
                  <a:srgbClr val="1F4E79"/>
                </a:solidFill>
              </a:rPr>
              <a:t>Мастерская эффективности Сенеж </a:t>
            </a:r>
            <a:br>
              <a:rPr lang="ru-RU" sz="1049" b="1" kern="0" dirty="0">
                <a:solidFill>
                  <a:srgbClr val="1F4E79"/>
                </a:solidFill>
              </a:rPr>
            </a:br>
            <a:r>
              <a:rPr lang="ru-RU" sz="1049" b="1" kern="0" dirty="0">
                <a:solidFill>
                  <a:srgbClr val="1F4E79"/>
                </a:solidFill>
              </a:rPr>
              <a:t>+ ГК Росатом:</a:t>
            </a:r>
          </a:p>
          <a:p>
            <a:pPr marL="228389" indent="-228389" defTabSz="683900">
              <a:buFont typeface="+mj-lt"/>
              <a:buAutoNum type="arabicPeriod"/>
            </a:pPr>
            <a:r>
              <a:rPr lang="ru-RU" sz="1049" kern="0" dirty="0">
                <a:solidFill>
                  <a:srgbClr val="1F4E79"/>
                </a:solidFill>
                <a:latin typeface="Arial"/>
                <a:cs typeface="Arial"/>
              </a:rPr>
              <a:t>Центр экспертизы и оценки регионов</a:t>
            </a:r>
          </a:p>
          <a:p>
            <a:pPr marL="228389" indent="-228389" defTabSz="683900">
              <a:buFont typeface="+mj-lt"/>
              <a:buAutoNum type="arabicPeriod"/>
            </a:pPr>
            <a:r>
              <a:rPr lang="ru-RU" sz="1049" kern="0" dirty="0">
                <a:solidFill>
                  <a:srgbClr val="1F4E79"/>
                </a:solidFill>
                <a:latin typeface="Arial"/>
                <a:cs typeface="Arial"/>
              </a:rPr>
              <a:t>Центр межрегиональной стандартизации с выходом на стандарты ФОИВ – первая волна </a:t>
            </a:r>
            <a:br>
              <a:rPr lang="ru-RU" sz="1049" kern="0" dirty="0">
                <a:solidFill>
                  <a:srgbClr val="1F4E79"/>
                </a:solidFill>
                <a:latin typeface="Arial"/>
                <a:cs typeface="Arial"/>
              </a:rPr>
            </a:br>
            <a:r>
              <a:rPr lang="ru-RU" sz="1049" kern="0" dirty="0">
                <a:solidFill>
                  <a:srgbClr val="1F4E79"/>
                </a:solidFill>
                <a:latin typeface="Arial"/>
                <a:cs typeface="Arial"/>
              </a:rPr>
              <a:t>рег. стандартов на опыте Сахалинской, Калининградской, Нижегородской обл. </a:t>
            </a:r>
            <a:r>
              <a:rPr lang="ru-RU" sz="1049" b="1" kern="0" dirty="0">
                <a:latin typeface="Arial"/>
                <a:cs typeface="Arial"/>
              </a:rPr>
              <a:t>18 проектов</a:t>
            </a:r>
          </a:p>
          <a:p>
            <a:pPr marL="228389" indent="-228389" defTabSz="683900">
              <a:buFont typeface="+mj-lt"/>
              <a:buAutoNum type="arabicPeriod"/>
            </a:pPr>
            <a:r>
              <a:rPr lang="ru-RU" sz="1049" dirty="0">
                <a:solidFill>
                  <a:schemeClr val="accent1">
                    <a:lumMod val="50000"/>
                  </a:schemeClr>
                </a:solidFill>
                <a:latin typeface="Arial"/>
              </a:rPr>
              <a:t>Последние обращения губернаторов  – трехсторонние соглашения </a:t>
            </a:r>
            <a:r>
              <a:rPr lang="ru-RU" sz="1049" b="1" dirty="0">
                <a:latin typeface="Arial"/>
              </a:rPr>
              <a:t>(НС ГК «Росатом»)</a:t>
            </a:r>
            <a:endParaRPr lang="ru-RU" sz="1049" b="1" kern="0" dirty="0">
              <a:latin typeface="Arial"/>
              <a:cs typeface="Arial"/>
            </a:endParaRPr>
          </a:p>
          <a:p>
            <a:pPr marL="228389" indent="-228389" defTabSz="683900">
              <a:buFont typeface="+mj-lt"/>
              <a:buAutoNum type="arabicPeriod"/>
            </a:pPr>
            <a:r>
              <a:rPr lang="ru-RU" sz="1049" kern="0" dirty="0">
                <a:solidFill>
                  <a:srgbClr val="1F4E79"/>
                </a:solidFill>
                <a:latin typeface="Arial"/>
                <a:cs typeface="Arial"/>
              </a:rPr>
              <a:t>Школы губернаторов и мэров с упором на бережливые методы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19664C8B-DBFF-47E3-9E4F-03CE2A6F4EF4}"/>
              </a:ext>
            </a:extLst>
          </p:cNvPr>
          <p:cNvSpPr txBox="1"/>
          <p:nvPr/>
        </p:nvSpPr>
        <p:spPr>
          <a:xfrm>
            <a:off x="4749009" y="1354247"/>
            <a:ext cx="2505964" cy="829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3900"/>
            <a:r>
              <a:rPr lang="ru-RU" sz="1198" b="1" dirty="0">
                <a:solidFill>
                  <a:prstClr val="black"/>
                </a:solidFill>
                <a:latin typeface="Arial"/>
              </a:rPr>
              <a:t>Методика оценки и рейтингования уровня развития бережливости </a:t>
            </a:r>
            <a:r>
              <a:rPr lang="ru-RU" sz="1198" dirty="0">
                <a:solidFill>
                  <a:prstClr val="black"/>
                </a:solidFill>
                <a:latin typeface="Arial"/>
              </a:rPr>
              <a:t>региона</a:t>
            </a:r>
          </a:p>
        </p:txBody>
      </p:sp>
      <p:sp>
        <p:nvSpPr>
          <p:cNvPr id="14" name="Прямоугольный треугольник 6">
            <a:extLst>
              <a:ext uri="{FF2B5EF4-FFF2-40B4-BE49-F238E27FC236}">
                <a16:creationId xmlns:a16="http://schemas.microsoft.com/office/drawing/2014/main" id="{0F31E541-6C68-4FE4-8F1E-69696AF6B960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3359035" y="886454"/>
            <a:ext cx="865375" cy="3699843"/>
          </a:xfrm>
          <a:prstGeom prst="rtTriangle">
            <a:avLst/>
          </a:prstGeom>
          <a:solidFill>
            <a:srgbClr val="002960"/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15" name="Прямоугольный треугольник 7">
            <a:extLst>
              <a:ext uri="{FF2B5EF4-FFF2-40B4-BE49-F238E27FC236}">
                <a16:creationId xmlns:a16="http://schemas.microsoft.com/office/drawing/2014/main" id="{141B3113-3AB1-42A9-8D1E-153676CB00FA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3359038" y="888998"/>
            <a:ext cx="747373" cy="3274919"/>
          </a:xfrm>
          <a:prstGeom prst="rtTriangle">
            <a:avLst/>
          </a:prstGeom>
          <a:solidFill>
            <a:srgbClr val="FFFFFF">
              <a:lumMod val="75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16" name="Прямоугольный треугольник 8">
            <a:extLst>
              <a:ext uri="{FF2B5EF4-FFF2-40B4-BE49-F238E27FC236}">
                <a16:creationId xmlns:a16="http://schemas.microsoft.com/office/drawing/2014/main" id="{C5A9C193-E18E-4E28-BEBA-DE89897EA294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3359050" y="885238"/>
            <a:ext cx="538205" cy="2467778"/>
          </a:xfrm>
          <a:prstGeom prst="rtTriangle">
            <a:avLst/>
          </a:prstGeom>
          <a:solidFill>
            <a:srgbClr val="3375B7">
              <a:lumMod val="60000"/>
              <a:lumOff val="40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17" name="Прямоугольный треугольник 9">
            <a:extLst>
              <a:ext uri="{FF2B5EF4-FFF2-40B4-BE49-F238E27FC236}">
                <a16:creationId xmlns:a16="http://schemas.microsoft.com/office/drawing/2014/main" id="{70E8AEAB-2201-4443-8294-B5087331D5ED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3359035" y="885237"/>
            <a:ext cx="405740" cy="1862342"/>
          </a:xfrm>
          <a:prstGeom prst="rtTriangle">
            <a:avLst/>
          </a:prstGeom>
          <a:solidFill>
            <a:srgbClr val="002960">
              <a:lumMod val="25000"/>
              <a:lumOff val="75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18" name="Прямоугольный треугольник 10">
            <a:extLst>
              <a:ext uri="{FF2B5EF4-FFF2-40B4-BE49-F238E27FC236}">
                <a16:creationId xmlns:a16="http://schemas.microsoft.com/office/drawing/2014/main" id="{999BBD51-7B7E-49CC-A98F-6D464F1E08A2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3372189" y="900698"/>
            <a:ext cx="242685" cy="1250111"/>
          </a:xfrm>
          <a:prstGeom prst="rtTriangle">
            <a:avLst/>
          </a:prstGeom>
          <a:solidFill>
            <a:srgbClr val="002960">
              <a:lumMod val="10000"/>
              <a:lumOff val="90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19" name="Прямоугольник 26">
            <a:extLst>
              <a:ext uri="{FF2B5EF4-FFF2-40B4-BE49-F238E27FC236}">
                <a16:creationId xmlns:a16="http://schemas.microsoft.com/office/drawing/2014/main" id="{3ABB0FEC-5B56-4D7B-97B3-5C2283FA5832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3339233" y="2105523"/>
            <a:ext cx="612627" cy="7708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92455F-0F83-47AD-B189-A9D5CABC6628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2687019" y="2896753"/>
            <a:ext cx="747373" cy="403713"/>
          </a:xfrm>
          <a:prstGeom prst="rect">
            <a:avLst/>
          </a:prstGeom>
          <a:noFill/>
        </p:spPr>
        <p:txBody>
          <a:bodyPr wrap="square" lIns="65162" tIns="32582" rIns="65162" bIns="32582" rtlCol="0">
            <a:spAutoFit/>
          </a:bodyPr>
          <a:lstStyle>
            <a:defPPr>
              <a:defRPr lang="ru-RU"/>
            </a:defPPr>
            <a:lvl1pPr algn="ctr">
              <a:defRPr sz="4000" b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defRPr>
            </a:lvl1pPr>
          </a:lstStyle>
          <a:p>
            <a:pPr algn="l" defTabSz="955586" fontAlgn="base">
              <a:spcBef>
                <a:spcPct val="0"/>
              </a:spcBef>
              <a:spcAft>
                <a:spcPct val="0"/>
              </a:spcAft>
            </a:pPr>
            <a:r>
              <a:rPr lang="ru-RU" sz="1098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Кандидат ПСР</a:t>
            </a:r>
            <a:r>
              <a:rPr lang="en-US" sz="1098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 </a:t>
            </a:r>
            <a:endParaRPr lang="ru-RU" sz="1098" dirty="0">
              <a:ln>
                <a:noFill/>
              </a:ln>
              <a:solidFill>
                <a:srgbClr val="000000"/>
              </a:solidFill>
              <a:effectLst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65A4394-956B-4536-BC3F-0F6103D41AE7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2687019" y="2278180"/>
            <a:ext cx="576241" cy="403713"/>
          </a:xfrm>
          <a:prstGeom prst="rect">
            <a:avLst/>
          </a:prstGeom>
          <a:noFill/>
        </p:spPr>
        <p:txBody>
          <a:bodyPr wrap="square" lIns="65162" tIns="32582" rIns="65162" bIns="32582" rtlCol="0">
            <a:spAutoFit/>
          </a:bodyPr>
          <a:lstStyle>
            <a:defPPr>
              <a:defRPr lang="ru-RU"/>
            </a:defPPr>
            <a:lvl1pPr algn="ctr">
              <a:defRPr sz="4000" b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defRPr>
            </a:lvl1pPr>
          </a:lstStyle>
          <a:p>
            <a:pPr algn="l" defTabSz="955586" fontAlgn="base">
              <a:spcBef>
                <a:spcPct val="0"/>
              </a:spcBef>
              <a:spcAft>
                <a:spcPct val="0"/>
              </a:spcAft>
            </a:pPr>
            <a:r>
              <a:rPr lang="ru-RU" sz="1098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Лидер ПСР </a:t>
            </a:r>
            <a:endParaRPr lang="ru-RU" sz="1098" dirty="0">
              <a:ln>
                <a:noFill/>
              </a:ln>
              <a:solidFill>
                <a:srgbClr val="000000"/>
              </a:solidFill>
              <a:effectLst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C5FFE45-2EB5-4587-B065-E4B4D7550D00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2697367" y="4195018"/>
            <a:ext cx="788528" cy="403713"/>
          </a:xfrm>
          <a:prstGeom prst="rect">
            <a:avLst/>
          </a:prstGeom>
          <a:noFill/>
        </p:spPr>
        <p:txBody>
          <a:bodyPr wrap="square" lIns="65162" tIns="32582" rIns="65162" bIns="32582" rtlCol="0">
            <a:spAutoFit/>
          </a:bodyPr>
          <a:lstStyle>
            <a:defPPr>
              <a:defRPr lang="ru-RU"/>
            </a:defPPr>
            <a:lvl1pPr algn="ctr">
              <a:defRPr sz="4000" b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defRPr>
            </a:lvl1pPr>
          </a:lstStyle>
          <a:p>
            <a:pPr algn="l" defTabSz="955586" fontAlgn="base">
              <a:spcBef>
                <a:spcPct val="0"/>
              </a:spcBef>
              <a:spcAft>
                <a:spcPct val="0"/>
              </a:spcAft>
            </a:pPr>
            <a:r>
              <a:rPr lang="ru-RU" sz="1098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ПСР минимум</a:t>
            </a:r>
            <a:r>
              <a:rPr lang="en-US" sz="1098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 </a:t>
            </a:r>
            <a:endParaRPr lang="ru-RU" sz="1098" dirty="0">
              <a:ln>
                <a:noFill/>
              </a:ln>
              <a:solidFill>
                <a:srgbClr val="000000"/>
              </a:solidFill>
              <a:effectLst/>
              <a:cs typeface="Arial"/>
            </a:endParaRPr>
          </a:p>
        </p:txBody>
      </p:sp>
      <p:sp>
        <p:nvSpPr>
          <p:cNvPr id="29" name="Прямоугольник 75">
            <a:extLst>
              <a:ext uri="{FF2B5EF4-FFF2-40B4-BE49-F238E27FC236}">
                <a16:creationId xmlns:a16="http://schemas.microsoft.com/office/drawing/2014/main" id="{64A0B3CA-75F6-404A-ABD8-2EB4CA6E3C0F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3211395" y="2717328"/>
            <a:ext cx="1126018" cy="7708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65162" tIns="32582" rIns="65162" bIns="32582" rtlCol="0" anchor="ctr"/>
          <a:lstStyle/>
          <a:p>
            <a:pPr algn="ctr" defTabSz="9555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98" kern="0" dirty="0" err="1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30" name="Прямая соединительная линия 24">
            <a:extLst>
              <a:ext uri="{FF2B5EF4-FFF2-40B4-BE49-F238E27FC236}">
                <a16:creationId xmlns:a16="http://schemas.microsoft.com/office/drawing/2014/main" id="{AD49D609-456B-4488-9BA9-6FE96B855B55}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>
          <a:xfrm>
            <a:off x="3391167" y="3365278"/>
            <a:ext cx="820418" cy="0"/>
          </a:xfrm>
          <a:prstGeom prst="line">
            <a:avLst/>
          </a:prstGeom>
          <a:noFill/>
          <a:ln w="28575" cap="flat" cmpd="sng" algn="ctr">
            <a:solidFill>
              <a:schemeClr val="accent1">
                <a:lumMod val="60000"/>
                <a:lumOff val="40000"/>
              </a:schemeClr>
            </a:solidFill>
            <a:prstDash val="sysDash"/>
          </a:ln>
          <a:effectLst/>
        </p:spPr>
      </p:cxnSp>
      <p:cxnSp>
        <p:nvCxnSpPr>
          <p:cNvPr id="32" name="Прямая соединительная линия 25">
            <a:extLst>
              <a:ext uri="{FF2B5EF4-FFF2-40B4-BE49-F238E27FC236}">
                <a16:creationId xmlns:a16="http://schemas.microsoft.com/office/drawing/2014/main" id="{720E3584-D3A0-47E4-A209-5ADA989ADEC7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>
          <a:xfrm>
            <a:off x="3376706" y="4201478"/>
            <a:ext cx="837478" cy="1203"/>
          </a:xfrm>
          <a:prstGeom prst="line">
            <a:avLst/>
          </a:prstGeom>
          <a:noFill/>
          <a:ln w="28575" cap="flat" cmpd="sng" algn="ctr">
            <a:solidFill>
              <a:srgbClr val="C00000"/>
            </a:solidFill>
            <a:prstDash val="sysDash"/>
          </a:ln>
          <a:effectLst/>
        </p:spPr>
      </p:cxnSp>
      <p:cxnSp>
        <p:nvCxnSpPr>
          <p:cNvPr id="33" name="Прямая соединительная линия 27">
            <a:extLst>
              <a:ext uri="{FF2B5EF4-FFF2-40B4-BE49-F238E27FC236}">
                <a16:creationId xmlns:a16="http://schemas.microsoft.com/office/drawing/2014/main" id="{DDC19CE2-7D1F-4803-B05F-0B339911DF58}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>
          <a:xfrm>
            <a:off x="3359754" y="2143231"/>
            <a:ext cx="851831" cy="8921"/>
          </a:xfrm>
          <a:prstGeom prst="line">
            <a:avLst/>
          </a:prstGeom>
          <a:noFill/>
          <a:ln w="28575" cap="flat" cmpd="sng" algn="ctr">
            <a:solidFill>
              <a:schemeClr val="accent1">
                <a:lumMod val="60000"/>
                <a:lumOff val="40000"/>
              </a:schemeClr>
            </a:solidFill>
            <a:prstDash val="sysDash"/>
          </a:ln>
          <a:effectLst/>
        </p:spPr>
      </p:cxnSp>
      <p:cxnSp>
        <p:nvCxnSpPr>
          <p:cNvPr id="35" name="Прямая соединительная линия 12">
            <a:extLst>
              <a:ext uri="{FF2B5EF4-FFF2-40B4-BE49-F238E27FC236}">
                <a16:creationId xmlns:a16="http://schemas.microsoft.com/office/drawing/2014/main" id="{949939F1-9525-4440-87E0-E96388F06202}"/>
              </a:ext>
            </a:extLst>
          </p:cNvPr>
          <p:cNvCxnSpPr>
            <a:cxnSpLocks/>
          </p:cNvCxnSpPr>
          <p:nvPr/>
        </p:nvCxnSpPr>
        <p:spPr>
          <a:xfrm>
            <a:off x="4278522" y="841902"/>
            <a:ext cx="0" cy="382793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8D50F06C-4BC3-6E24-DD5F-52F6F7C0AD23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2687019" y="1542099"/>
            <a:ext cx="1057807" cy="550164"/>
          </a:xfrm>
          <a:prstGeom prst="rect">
            <a:avLst/>
          </a:prstGeom>
          <a:noFill/>
        </p:spPr>
        <p:txBody>
          <a:bodyPr wrap="square" lIns="65162" tIns="32582" rIns="65162" bIns="32582" rtlCol="0">
            <a:spAutoFit/>
          </a:bodyPr>
          <a:lstStyle>
            <a:defPPr>
              <a:defRPr lang="ru-RU"/>
            </a:defPPr>
            <a:lvl1pPr algn="ctr">
              <a:defRPr sz="4000" b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defRPr>
            </a:lvl1pPr>
          </a:lstStyle>
          <a:p>
            <a:pPr algn="l" defTabSz="955586" fontAlgn="base">
              <a:spcBef>
                <a:spcPct val="0"/>
              </a:spcBef>
              <a:spcAft>
                <a:spcPct val="0"/>
              </a:spcAft>
            </a:pPr>
            <a:r>
              <a:rPr lang="ru-RU" sz="1049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Бережливое цифровое предприятие</a:t>
            </a:r>
            <a:endParaRPr lang="ru-RU" sz="1049" dirty="0">
              <a:ln>
                <a:noFill/>
              </a:ln>
              <a:solidFill>
                <a:srgbClr val="000000"/>
              </a:solidFill>
              <a:effectLst/>
              <a:cs typeface="Arial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582A65E-FDEF-4ADF-9731-864E9DDAC290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2687019" y="3598406"/>
            <a:ext cx="788528" cy="403713"/>
          </a:xfrm>
          <a:prstGeom prst="rect">
            <a:avLst/>
          </a:prstGeom>
          <a:noFill/>
        </p:spPr>
        <p:txBody>
          <a:bodyPr wrap="square" lIns="65162" tIns="32582" rIns="65162" bIns="32582" rtlCol="0">
            <a:spAutoFit/>
          </a:bodyPr>
          <a:lstStyle>
            <a:defPPr>
              <a:defRPr lang="ru-RU"/>
            </a:defPPr>
            <a:lvl1pPr algn="ctr">
              <a:defRPr sz="4000" b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defRPr>
            </a:lvl1pPr>
          </a:lstStyle>
          <a:p>
            <a:pPr algn="l" defTabSz="955586" fontAlgn="base">
              <a:spcBef>
                <a:spcPct val="0"/>
              </a:spcBef>
              <a:spcAft>
                <a:spcPct val="0"/>
              </a:spcAft>
            </a:pPr>
            <a:r>
              <a:rPr lang="ru-RU" sz="1098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Резерв ПСР</a:t>
            </a:r>
            <a:r>
              <a:rPr lang="en-US" sz="1098" b="0" dirty="0">
                <a:ln>
                  <a:noFill/>
                </a:ln>
                <a:solidFill>
                  <a:srgbClr val="000000"/>
                </a:solidFill>
                <a:effectLst/>
                <a:cs typeface="Arial"/>
              </a:rPr>
              <a:t> </a:t>
            </a:r>
            <a:endParaRPr lang="ru-RU" sz="1098" dirty="0">
              <a:ln>
                <a:noFill/>
              </a:ln>
              <a:solidFill>
                <a:srgbClr val="000000"/>
              </a:solidFill>
              <a:effectLst/>
              <a:cs typeface="Arial"/>
            </a:endParaRPr>
          </a:p>
        </p:txBody>
      </p:sp>
      <p:cxnSp>
        <p:nvCxnSpPr>
          <p:cNvPr id="47" name="Прямая соединительная линия 64">
            <a:extLst>
              <a:ext uri="{FF2B5EF4-FFF2-40B4-BE49-F238E27FC236}">
                <a16:creationId xmlns:a16="http://schemas.microsoft.com/office/drawing/2014/main" id="{508D17BE-C773-44C2-B3EF-328C6DBD3E62}"/>
              </a:ext>
            </a:extLst>
          </p:cNvPr>
          <p:cNvCxnSpPr>
            <a:cxnSpLocks/>
          </p:cNvCxnSpPr>
          <p:nvPr>
            <p:custDataLst>
              <p:tags r:id="rId41"/>
            </p:custDataLst>
          </p:nvPr>
        </p:nvCxnSpPr>
        <p:spPr>
          <a:xfrm>
            <a:off x="3366708" y="2764990"/>
            <a:ext cx="851831" cy="8921"/>
          </a:xfrm>
          <a:prstGeom prst="line">
            <a:avLst/>
          </a:prstGeom>
          <a:noFill/>
          <a:ln w="28575" cap="flat" cmpd="sng" algn="ctr">
            <a:solidFill>
              <a:schemeClr val="accent1">
                <a:lumMod val="60000"/>
                <a:lumOff val="40000"/>
              </a:schemeClr>
            </a:solidFill>
            <a:prstDash val="sysDash"/>
          </a:ln>
          <a:effectLst/>
        </p:spPr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87A34532-0117-7858-F696-3067F462C4FC}"/>
              </a:ext>
            </a:extLst>
          </p:cNvPr>
          <p:cNvSpPr txBox="1"/>
          <p:nvPr/>
        </p:nvSpPr>
        <p:spPr>
          <a:xfrm>
            <a:off x="141622" y="3385872"/>
            <a:ext cx="2100239" cy="1545423"/>
          </a:xfrm>
          <a:prstGeom prst="rect">
            <a:avLst/>
          </a:prstGeom>
          <a:noFill/>
          <a:ln w="38100">
            <a:solidFill>
              <a:srgbClr val="68B0E0"/>
            </a:solidFill>
          </a:ln>
        </p:spPr>
        <p:txBody>
          <a:bodyPr wrap="square">
            <a:spAutoFit/>
          </a:bodyPr>
          <a:lstStyle/>
          <a:p>
            <a:pPr algn="ctr" defTabSz="683900"/>
            <a:r>
              <a:rPr lang="ru-RU" sz="1049" b="1" kern="0" dirty="0">
                <a:solidFill>
                  <a:srgbClr val="1F4E79"/>
                </a:solidFill>
              </a:rPr>
              <a:t>ГК Росатом:</a:t>
            </a:r>
          </a:p>
          <a:p>
            <a:pPr marL="228389" indent="-228389" defTabSz="683900">
              <a:buFont typeface="+mj-lt"/>
              <a:buAutoNum type="arabicPeriod"/>
            </a:pPr>
            <a:r>
              <a:rPr lang="ru-RU" sz="1049" kern="0" dirty="0">
                <a:solidFill>
                  <a:srgbClr val="1F4E79"/>
                </a:solidFill>
                <a:latin typeface="Arial"/>
                <a:cs typeface="Arial"/>
              </a:rPr>
              <a:t>Держатель клубной модели и экспертизы эффективного региона</a:t>
            </a:r>
          </a:p>
          <a:p>
            <a:pPr marL="228389" indent="-228389" defTabSz="683900">
              <a:buFont typeface="+mj-lt"/>
              <a:buAutoNum type="arabicPeriod"/>
            </a:pPr>
            <a:r>
              <a:rPr lang="ru-RU" sz="1049" kern="0" dirty="0">
                <a:solidFill>
                  <a:srgbClr val="1F4E79"/>
                </a:solidFill>
                <a:latin typeface="Arial"/>
                <a:cs typeface="Arial"/>
              </a:rPr>
              <a:t>Лидер межрегионального методологического комитета</a:t>
            </a:r>
          </a:p>
          <a:p>
            <a:pPr marL="228389" indent="-228389" defTabSz="683900">
              <a:buFont typeface="+mj-lt"/>
              <a:buAutoNum type="arabicPeriod"/>
            </a:pPr>
            <a:r>
              <a:rPr lang="ru-RU" sz="1049" kern="0" dirty="0">
                <a:solidFill>
                  <a:srgbClr val="1F4E79"/>
                </a:solidFill>
                <a:latin typeface="Arial"/>
                <a:cs typeface="Arial"/>
              </a:rPr>
              <a:t>Двухсторонние соглашения с регионами</a:t>
            </a:r>
          </a:p>
        </p:txBody>
      </p:sp>
      <p:sp>
        <p:nvSpPr>
          <p:cNvPr id="120" name="Стрелка: вправо 119">
            <a:extLst>
              <a:ext uri="{FF2B5EF4-FFF2-40B4-BE49-F238E27FC236}">
                <a16:creationId xmlns:a16="http://schemas.microsoft.com/office/drawing/2014/main" id="{8B34441A-AF07-46D4-89DF-5D5306BBED49}"/>
              </a:ext>
            </a:extLst>
          </p:cNvPr>
          <p:cNvSpPr/>
          <p:nvPr/>
        </p:nvSpPr>
        <p:spPr>
          <a:xfrm>
            <a:off x="2362200" y="738522"/>
            <a:ext cx="2231043" cy="658214"/>
          </a:xfrm>
          <a:prstGeom prst="rightArrow">
            <a:avLst>
              <a:gd name="adj1" fmla="val 50000"/>
              <a:gd name="adj2" fmla="val 37628"/>
            </a:avLst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49"/>
          </a:p>
        </p:txBody>
      </p:sp>
      <p:sp>
        <p:nvSpPr>
          <p:cNvPr id="34" name="TextBox 33"/>
          <p:cNvSpPr txBox="1"/>
          <p:nvPr/>
        </p:nvSpPr>
        <p:spPr>
          <a:xfrm>
            <a:off x="2411204" y="873869"/>
            <a:ext cx="2146194" cy="3690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99" b="1" kern="0" dirty="0">
                <a:solidFill>
                  <a:schemeClr val="bg1"/>
                </a:solidFill>
                <a:latin typeface="Arial"/>
                <a:cs typeface="Arial"/>
              </a:rPr>
              <a:t>В ОСНОВЕ – МОДЕЛЬ </a:t>
            </a:r>
            <a:br>
              <a:rPr lang="ru-RU" sz="899" b="1" kern="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ru-RU" sz="899" b="1" kern="0" dirty="0">
                <a:solidFill>
                  <a:schemeClr val="bg1"/>
                </a:solidFill>
                <a:latin typeface="Arial"/>
                <a:cs typeface="Arial"/>
              </a:rPr>
              <a:t>ПСР-ПРЕДПРИЯТИЙ РОСАТОМА</a:t>
            </a:r>
          </a:p>
        </p:txBody>
      </p:sp>
    </p:spTree>
    <p:extLst>
      <p:ext uri="{BB962C8B-B14F-4D97-AF65-F5344CB8AC3E}">
        <p14:creationId xmlns:p14="http://schemas.microsoft.com/office/powerpoint/2010/main" val="24799171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0F3D7B3-2740-ADD1-0C3F-55DB6A7DEF19}"/>
              </a:ext>
            </a:extLst>
          </p:cNvPr>
          <p:cNvCxnSpPr/>
          <p:nvPr/>
        </p:nvCxnSpPr>
        <p:spPr>
          <a:xfrm>
            <a:off x="4251814" y="916590"/>
            <a:ext cx="0" cy="4028270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FC10537A-1892-4E0C-B627-DDD14080FA92}"/>
              </a:ext>
            </a:extLst>
          </p:cNvPr>
          <p:cNvSpPr txBox="1"/>
          <p:nvPr/>
        </p:nvSpPr>
        <p:spPr bwMode="auto">
          <a:xfrm>
            <a:off x="4472363" y="1473884"/>
            <a:ext cx="4128176" cy="21018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389" indent="-228389" defTabSz="913554">
              <a:spcAft>
                <a:spcPts val="200"/>
              </a:spcAft>
              <a:buFont typeface="+mj-lt"/>
              <a:buAutoNum type="arabicPeriod"/>
              <a:defRPr/>
            </a:pPr>
            <a:r>
              <a:rPr lang="ru-RU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й Клуб бережливых главных врачей</a:t>
            </a:r>
          </a:p>
          <a:p>
            <a:pPr marL="228389" indent="-228389" defTabSz="913554">
              <a:spcAft>
                <a:spcPts val="200"/>
              </a:spcAft>
              <a:buFont typeface="+mj-lt"/>
              <a:buAutoNum type="arabicPeriod"/>
              <a:defRPr/>
            </a:pPr>
            <a:r>
              <a:rPr lang="ru-RU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бщество ОМСУ и ИРО</a:t>
            </a:r>
          </a:p>
          <a:p>
            <a:pPr marL="228389" indent="-228389" defTabSz="913554">
              <a:spcAft>
                <a:spcPts val="200"/>
              </a:spcAft>
              <a:buFont typeface="+mj-lt"/>
              <a:buAutoNum type="arabicPeriod"/>
              <a:defRPr/>
            </a:pPr>
            <a:r>
              <a:rPr lang="ru-RU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ижение бережливых детских садов</a:t>
            </a:r>
          </a:p>
          <a:p>
            <a:pPr marL="228389" indent="-228389" defTabSz="913554">
              <a:spcAft>
                <a:spcPts val="200"/>
              </a:spcAft>
              <a:buFont typeface="+mj-lt"/>
              <a:buAutoNum type="arabicPeriod"/>
              <a:defRPr/>
            </a:pPr>
            <a:r>
              <a:rPr lang="ru-RU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уб директоров бережливых школ </a:t>
            </a:r>
          </a:p>
          <a:p>
            <a:pPr marL="228389" indent="-228389" defTabSz="913554">
              <a:spcAft>
                <a:spcPts val="200"/>
              </a:spcAft>
              <a:buFont typeface="+mj-lt"/>
              <a:buAutoNum type="arabicPeriod"/>
              <a:defRPr/>
            </a:pPr>
            <a:r>
              <a:rPr lang="ru-RU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К «Бережная школа» - ИСМО (Москва)</a:t>
            </a:r>
          </a:p>
          <a:p>
            <a:pPr marL="228389" indent="-228389" defTabSz="913554">
              <a:spcAft>
                <a:spcPts val="200"/>
              </a:spcAft>
              <a:buFont typeface="+mj-lt"/>
              <a:buAutoNum type="arabicPeriod"/>
              <a:defRPr/>
            </a:pPr>
            <a:r>
              <a:rPr lang="ru-RU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га бережливых колледжей</a:t>
            </a:r>
          </a:p>
          <a:p>
            <a:pPr marL="228389" indent="-228389" defTabSz="913554">
              <a:spcAft>
                <a:spcPts val="200"/>
              </a:spcAft>
              <a:buFont typeface="+mj-lt"/>
              <a:buAutoNum type="arabicPeriod"/>
              <a:defRPr/>
            </a:pPr>
            <a:r>
              <a:rPr lang="ru-RU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оциация Бережливых ВУЗов</a:t>
            </a:r>
          </a:p>
          <a:p>
            <a:pPr marL="228389" indent="-228389" defTabSz="913554">
              <a:spcAft>
                <a:spcPts val="200"/>
              </a:spcAft>
              <a:buFont typeface="+mj-lt"/>
              <a:buAutoNum type="arabicPeriod"/>
              <a:defRPr/>
            </a:pPr>
            <a:r>
              <a:rPr lang="ru-RU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бщество </a:t>
            </a:r>
            <a:r>
              <a:rPr lang="ru-RU" sz="1099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н</a:t>
            </a:r>
            <a:r>
              <a:rPr lang="ru-RU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тренеров</a:t>
            </a:r>
          </a:p>
          <a:p>
            <a:pPr marL="228389" indent="-228389" defTabSz="913554">
              <a:spcAft>
                <a:spcPts val="200"/>
              </a:spcAft>
              <a:buFont typeface="+mj-lt"/>
              <a:buAutoNum type="arabicPeriod"/>
              <a:defRPr/>
            </a:pPr>
            <a:r>
              <a:rPr lang="ru-RU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,,,,,,,,,,,,,,,,,,,,,,,,,,,,,,,,,,,,,,,,,,,,,,,,,,,,,,,,,,,,,,,,,,,,,,,,,,,,,,,,,,,,,</a:t>
            </a:r>
          </a:p>
          <a:p>
            <a:pPr marL="228389" indent="-228389" defTabSz="913554">
              <a:spcAft>
                <a:spcPts val="200"/>
              </a:spcAft>
              <a:buFont typeface="+mj-lt"/>
              <a:buAutoNum type="arabicPeriod"/>
              <a:defRPr/>
            </a:pPr>
            <a:endParaRPr lang="ru-RU" sz="400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3554">
              <a:spcAft>
                <a:spcPts val="200"/>
              </a:spcAft>
              <a:defRPr/>
            </a:pPr>
            <a:endParaRPr lang="ru-RU" sz="1099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Заголовок 2">
            <a:extLst>
              <a:ext uri="{FF2B5EF4-FFF2-40B4-BE49-F238E27FC236}">
                <a16:creationId xmlns:a16="http://schemas.microsoft.com/office/drawing/2014/main" id="{E9AF3BD4-E464-2740-BC66-8BDAA9710AD7}"/>
              </a:ext>
            </a:extLst>
          </p:cNvPr>
          <p:cNvSpPr txBox="1">
            <a:spLocks/>
          </p:cNvSpPr>
          <p:nvPr/>
        </p:nvSpPr>
        <p:spPr bwMode="auto">
          <a:xfrm>
            <a:off x="227294" y="316814"/>
            <a:ext cx="6849078" cy="328627"/>
          </a:xfrm>
          <a:prstGeom prst="rect">
            <a:avLst/>
          </a:prstGeom>
        </p:spPr>
        <p:txBody>
          <a:bodyPr lIns="0" tIns="0" rIns="0" bIns="0"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300" b="1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ru-RU" sz="1799" kern="0" dirty="0">
                <a:solidFill>
                  <a:schemeClr val="tx1"/>
                </a:solidFill>
              </a:rPr>
              <a:t>С 2018 года горизонтальное клубное взаимодействие. Актив для коробочных решений – 203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3874BB-D47B-23CC-F52A-FE834E8FC309}"/>
              </a:ext>
            </a:extLst>
          </p:cNvPr>
          <p:cNvSpPr txBox="1"/>
          <p:nvPr/>
        </p:nvSpPr>
        <p:spPr bwMode="auto">
          <a:xfrm>
            <a:off x="227295" y="932234"/>
            <a:ext cx="3854029" cy="4614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3554">
              <a:defRPr/>
            </a:pPr>
            <a:r>
              <a:rPr lang="ru-RU" sz="1199" b="1" dirty="0">
                <a:solidFill>
                  <a:schemeClr val="accent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ЦЕХОВЫЕ КЛУБЫ ГК «РОСАТОМ» </a:t>
            </a:r>
            <a:br>
              <a:rPr lang="ru-RU" sz="1199" b="1" dirty="0">
                <a:solidFill>
                  <a:schemeClr val="accent1">
                    <a:lumMod val="50000"/>
                  </a:schemeClr>
                </a:solidFill>
                <a:latin typeface="Arial"/>
                <a:ea typeface="Arial"/>
                <a:cs typeface="Arial"/>
              </a:rPr>
            </a:br>
            <a:r>
              <a:rPr lang="ru-RU" sz="1199" b="1" dirty="0">
                <a:solidFill>
                  <a:schemeClr val="accent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И УЧАСТНИКОВ ПАРТНЕРСТВА ПС РОССИИ</a:t>
            </a:r>
            <a:endParaRPr sz="1799" dirty="0">
              <a:solidFill>
                <a:schemeClr val="accent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D6AF59-145B-23A1-6EC7-CA877C287778}"/>
              </a:ext>
            </a:extLst>
          </p:cNvPr>
          <p:cNvSpPr txBox="1"/>
          <p:nvPr/>
        </p:nvSpPr>
        <p:spPr>
          <a:xfrm>
            <a:off x="365389" y="1473883"/>
            <a:ext cx="3950429" cy="1430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389" indent="-228389">
              <a:spcAft>
                <a:spcPts val="200"/>
              </a:spcAft>
              <a:buFont typeface="+mj-lt"/>
              <a:buAutoNum type="arabicPeriod"/>
            </a:pPr>
            <a:r>
              <a:rPr lang="ru-RU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осборочных цехов</a:t>
            </a:r>
          </a:p>
          <a:p>
            <a:pPr marL="228389" indent="-228389">
              <a:spcAft>
                <a:spcPts val="200"/>
              </a:spcAft>
              <a:buFont typeface="+mj-lt"/>
              <a:buAutoNum type="arabicPeriod"/>
            </a:pPr>
            <a:r>
              <a:rPr lang="ru-RU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ногономенклатурных цехов</a:t>
            </a:r>
            <a:r>
              <a:rPr lang="en-US" sz="1099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099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389" indent="-228389">
              <a:spcAft>
                <a:spcPts val="200"/>
              </a:spcAft>
              <a:buFont typeface="+mj-lt"/>
              <a:buAutoNum type="arabicPeriod"/>
            </a:pPr>
            <a:r>
              <a:rPr lang="ru-RU" sz="1099" dirty="0">
                <a:solidFill>
                  <a:prstClr val="black">
                    <a:lumMod val="95000"/>
                    <a:lumOff val="5000"/>
                  </a:prstClr>
                </a:solidFill>
                <a:cs typeface="Arial" panose="020B0604020202020204" pitchFamily="34" charset="0"/>
              </a:rPr>
              <a:t>Проектировщиков</a:t>
            </a:r>
          </a:p>
          <a:p>
            <a:pPr marL="228389" indent="-228389">
              <a:spcAft>
                <a:spcPts val="200"/>
              </a:spcAft>
              <a:buFont typeface="+mj-lt"/>
              <a:buAutoNum type="arabicPeriod"/>
            </a:pPr>
            <a:r>
              <a:rPr lang="ru-RU" sz="1099" dirty="0"/>
              <a:t>Технических директоров</a:t>
            </a:r>
          </a:p>
          <a:p>
            <a:pPr marL="228389" indent="-228389">
              <a:spcAft>
                <a:spcPts val="200"/>
              </a:spcAft>
              <a:buFont typeface="+mj-lt"/>
              <a:buAutoNum type="arabicPeriod"/>
            </a:pPr>
            <a:r>
              <a:rPr lang="ru-RU" sz="1099" dirty="0"/>
              <a:t>Тех. заказчиков строительных объектов</a:t>
            </a:r>
          </a:p>
          <a:p>
            <a:pPr marL="228389" indent="-228389">
              <a:spcAft>
                <a:spcPts val="200"/>
              </a:spcAft>
              <a:buFont typeface="+mj-lt"/>
              <a:buAutoNum type="arabicPeriod"/>
            </a:pPr>
            <a:r>
              <a:rPr lang="ru-RU" sz="1099" dirty="0"/>
              <a:t>«Добыча природных ресурсов»</a:t>
            </a:r>
            <a:endParaRPr lang="en-US" sz="1099" dirty="0"/>
          </a:p>
          <a:p>
            <a:pPr marL="228389" indent="-228389">
              <a:spcAft>
                <a:spcPts val="200"/>
              </a:spcAft>
              <a:buFont typeface="+mj-lt"/>
              <a:buAutoNum type="arabicPeriod"/>
            </a:pPr>
            <a:r>
              <a:rPr lang="ru-RU" sz="1099" dirty="0"/>
              <a:t>Химических производств</a:t>
            </a:r>
          </a:p>
        </p:txBody>
      </p:sp>
      <p:sp>
        <p:nvSpPr>
          <p:cNvPr id="9" name="Прямоугольник 35">
            <a:extLst>
              <a:ext uri="{FF2B5EF4-FFF2-40B4-BE49-F238E27FC236}">
                <a16:creationId xmlns:a16="http://schemas.microsoft.com/office/drawing/2014/main" id="{A49DAA22-4CC8-CF8D-A54C-D5186493E1B6}"/>
              </a:ext>
            </a:extLst>
          </p:cNvPr>
          <p:cNvSpPr/>
          <p:nvPr/>
        </p:nvSpPr>
        <p:spPr>
          <a:xfrm>
            <a:off x="365389" y="2211864"/>
            <a:ext cx="2856800" cy="2614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99" b="1" dirty="0">
                <a:solidFill>
                  <a:prstClr val="black">
                    <a:lumMod val="95000"/>
                    <a:lumOff val="5000"/>
                  </a:prstClr>
                </a:solidFill>
                <a:cs typeface="Arial" panose="020B0604020202020204" pitchFamily="34" charset="0"/>
              </a:rPr>
              <a:t> </a:t>
            </a:r>
            <a:endParaRPr lang="ru-RU" sz="1099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60">
            <a:extLst>
              <a:ext uri="{FF2B5EF4-FFF2-40B4-BE49-F238E27FC236}">
                <a16:creationId xmlns:a16="http://schemas.microsoft.com/office/drawing/2014/main" id="{FC2D19EE-7550-9C2F-91E5-8C4B191CD7A5}"/>
              </a:ext>
            </a:extLst>
          </p:cNvPr>
          <p:cNvSpPr/>
          <p:nvPr/>
        </p:nvSpPr>
        <p:spPr>
          <a:xfrm>
            <a:off x="507132" y="3168845"/>
            <a:ext cx="3294351" cy="430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99" b="1" dirty="0">
                <a:solidFill>
                  <a:schemeClr val="accent1">
                    <a:lumMod val="50000"/>
                  </a:schemeClr>
                </a:solidFill>
              </a:rPr>
              <a:t>Скорость тиражирования образцов </a:t>
            </a:r>
            <a:br>
              <a:rPr lang="ru-RU" sz="1099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099" b="1" dirty="0">
                <a:solidFill>
                  <a:schemeClr val="accent1">
                    <a:lumMod val="50000"/>
                  </a:schemeClr>
                </a:solidFill>
              </a:rPr>
              <a:t>за 7 лет выросла в 5-7 раз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38FFC7-0A8F-D6CA-CE9A-FDA9618611FB}"/>
              </a:ext>
            </a:extLst>
          </p:cNvPr>
          <p:cNvSpPr txBox="1"/>
          <p:nvPr/>
        </p:nvSpPr>
        <p:spPr bwMode="auto">
          <a:xfrm>
            <a:off x="4507707" y="916589"/>
            <a:ext cx="3854029" cy="4614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3554">
              <a:defRPr/>
            </a:pPr>
            <a:r>
              <a:rPr lang="ru-RU" sz="1199" b="1" dirty="0">
                <a:solidFill>
                  <a:schemeClr val="accent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СТРАНОВЫЕ КЛУБЫ </a:t>
            </a:r>
            <a:br>
              <a:rPr lang="ru-RU" sz="1199" b="1" dirty="0">
                <a:solidFill>
                  <a:schemeClr val="accent1">
                    <a:lumMod val="50000"/>
                  </a:schemeClr>
                </a:solidFill>
                <a:latin typeface="Arial"/>
                <a:ea typeface="Arial"/>
                <a:cs typeface="Arial"/>
              </a:rPr>
            </a:br>
            <a:r>
              <a:rPr lang="ru-RU" sz="1199" b="1" dirty="0">
                <a:solidFill>
                  <a:schemeClr val="accent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В СОЦ. СФЕРЕ (12 клубов)</a:t>
            </a:r>
            <a:endParaRPr sz="1799" dirty="0">
              <a:solidFill>
                <a:schemeClr val="accent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761D651B-7524-BD0D-2497-D5818B1ED042}"/>
              </a:ext>
            </a:extLst>
          </p:cNvPr>
          <p:cNvSpPr/>
          <p:nvPr/>
        </p:nvSpPr>
        <p:spPr>
          <a:xfrm>
            <a:off x="3959230" y="1971144"/>
            <a:ext cx="504020" cy="616448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266"/>
            <a:endParaRPr lang="en-US" sz="1348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8DA57B6-654F-C795-0B63-E00B444890A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827" y="3724282"/>
            <a:ext cx="1805925" cy="120348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1591CD7-F57C-E17C-A093-D67D88351AC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259" y="3732163"/>
            <a:ext cx="2125509" cy="119559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24F001E-13DE-D6AA-C340-4771AE6DEA1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1762" y="3728544"/>
            <a:ext cx="1801326" cy="119921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08ADC4B-2D67-FEEC-BE7E-5FBFEA5ECB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3691" y="3729061"/>
            <a:ext cx="1801326" cy="1198701"/>
          </a:xfrm>
          <a:prstGeom prst="rect">
            <a:avLst/>
          </a:prstGeom>
        </p:spPr>
      </p:pic>
      <p:sp>
        <p:nvSpPr>
          <p:cNvPr id="27" name="Прямоугольник 60">
            <a:extLst>
              <a:ext uri="{FF2B5EF4-FFF2-40B4-BE49-F238E27FC236}">
                <a16:creationId xmlns:a16="http://schemas.microsoft.com/office/drawing/2014/main" id="{9CD64328-F505-1BCB-F66A-43D8F9BC357C}"/>
              </a:ext>
            </a:extLst>
          </p:cNvPr>
          <p:cNvSpPr/>
          <p:nvPr/>
        </p:nvSpPr>
        <p:spPr bwMode="auto">
          <a:xfrm>
            <a:off x="4626515" y="3176610"/>
            <a:ext cx="3294351" cy="430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99" b="1" dirty="0">
                <a:solidFill>
                  <a:schemeClr val="accent1">
                    <a:lumMod val="50000"/>
                  </a:schemeClr>
                </a:solidFill>
              </a:rPr>
              <a:t>Скорость тиражирования образцов </a:t>
            </a:r>
            <a:br>
              <a:rPr lang="ru-RU" sz="1099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099" b="1" dirty="0">
                <a:solidFill>
                  <a:schemeClr val="accent1">
                    <a:lumMod val="50000"/>
                  </a:schemeClr>
                </a:solidFill>
              </a:rPr>
              <a:t>за 5 лет выросла в 2-3 раз</a:t>
            </a:r>
          </a:p>
        </p:txBody>
      </p:sp>
    </p:spTree>
    <p:extLst>
      <p:ext uri="{BB962C8B-B14F-4D97-AF65-F5344CB8AC3E}">
        <p14:creationId xmlns:p14="http://schemas.microsoft.com/office/powerpoint/2010/main" val="15394610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08D005-72D3-A8D2-4C08-81F36C55C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B6A53FF-87AA-D2A3-C731-82288BFAA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558" y="352268"/>
            <a:ext cx="6835403" cy="327971"/>
          </a:xfrm>
        </p:spPr>
        <p:txBody>
          <a:bodyPr/>
          <a:lstStyle/>
          <a:p>
            <a:r>
              <a:rPr lang="ru-RU" sz="1986" dirty="0">
                <a:solidFill>
                  <a:schemeClr val="bg2">
                    <a:lumMod val="10000"/>
                  </a:schemeClr>
                </a:solidFill>
              </a:rPr>
              <a:t>Действующие клубные сообществ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8914C5-989F-54D8-DE01-689CBBC5DEB9}"/>
              </a:ext>
            </a:extLst>
          </p:cNvPr>
          <p:cNvSpPr txBox="1"/>
          <p:nvPr/>
        </p:nvSpPr>
        <p:spPr bwMode="auto">
          <a:xfrm>
            <a:off x="65463" y="995438"/>
            <a:ext cx="2286749" cy="3979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08284">
              <a:defRPr/>
            </a:pPr>
            <a:r>
              <a:rPr lang="ru-RU" sz="993" b="1" kern="0" dirty="0">
                <a:solidFill>
                  <a:srgbClr val="025EA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оциация Бережливых ВУЗов</a:t>
            </a:r>
            <a:endParaRPr lang="ru-RU" sz="993" kern="0" dirty="0">
              <a:solidFill>
                <a:srgbClr val="025EA1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08284">
              <a:defRPr/>
            </a:pPr>
            <a:r>
              <a:rPr lang="ru-RU" sz="993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28.11.2018</a:t>
            </a:r>
            <a:endParaRPr sz="1788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947829-5DF4-E54D-4814-24196D59276D}"/>
              </a:ext>
            </a:extLst>
          </p:cNvPr>
          <p:cNvSpPr txBox="1"/>
          <p:nvPr/>
        </p:nvSpPr>
        <p:spPr bwMode="auto">
          <a:xfrm>
            <a:off x="2286370" y="987177"/>
            <a:ext cx="2311379" cy="3979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08284">
              <a:defRPr/>
            </a:pPr>
            <a:r>
              <a:rPr lang="ru-RU" sz="993" b="1" kern="0" dirty="0">
                <a:solidFill>
                  <a:srgbClr val="025EA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га бережливых колледжей</a:t>
            </a:r>
            <a:endParaRPr sz="1788" kern="0" dirty="0">
              <a:solidFill>
                <a:srgbClr val="025EA1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08284">
              <a:defRPr/>
            </a:pPr>
            <a:r>
              <a:rPr lang="ru-RU" sz="993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28.05.2019</a:t>
            </a:r>
            <a:endParaRPr sz="1788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558084-C0EC-07C8-0845-F8599A8DF40C}"/>
              </a:ext>
            </a:extLst>
          </p:cNvPr>
          <p:cNvSpPr txBox="1"/>
          <p:nvPr/>
        </p:nvSpPr>
        <p:spPr bwMode="auto">
          <a:xfrm>
            <a:off x="4525757" y="995438"/>
            <a:ext cx="2464637" cy="3979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08284">
              <a:defRPr/>
            </a:pPr>
            <a:r>
              <a:rPr lang="ru-RU" sz="993" b="1" kern="0" dirty="0">
                <a:solidFill>
                  <a:srgbClr val="025EA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уб директоров бережливых школ </a:t>
            </a:r>
            <a:endParaRPr sz="1788" kern="0" dirty="0">
              <a:solidFill>
                <a:srgbClr val="025EA1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08284">
              <a:defRPr/>
            </a:pPr>
            <a:r>
              <a:rPr lang="ru-RU" sz="993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12.09.2019</a:t>
            </a:r>
            <a:endParaRPr sz="1788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23">
            <a:extLst>
              <a:ext uri="{FF2B5EF4-FFF2-40B4-BE49-F238E27FC236}">
                <a16:creationId xmlns:a16="http://schemas.microsoft.com/office/drawing/2014/main" id="{E9B95F57-B665-70E9-3B74-30DD67DD91EF}"/>
              </a:ext>
            </a:extLst>
          </p:cNvPr>
          <p:cNvSpPr/>
          <p:nvPr/>
        </p:nvSpPr>
        <p:spPr bwMode="auto">
          <a:xfrm>
            <a:off x="899420" y="1381382"/>
            <a:ext cx="1684963" cy="1009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1843">
              <a:defRPr/>
            </a:pPr>
            <a:r>
              <a:rPr lang="ru-RU" sz="9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ексеенко Сергей Николаевич,</a:t>
            </a:r>
            <a:endParaRPr sz="1788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1843">
              <a:defRPr/>
            </a:pPr>
            <a:r>
              <a:rPr lang="ru-RU" sz="993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тор </a:t>
            </a:r>
            <a:r>
              <a:rPr lang="ru-RU" sz="9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банского</a:t>
            </a:r>
            <a:r>
              <a:rPr lang="ru-RU" sz="993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осударственного медицинского университета</a:t>
            </a:r>
            <a:endParaRPr sz="1788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28">
            <a:extLst>
              <a:ext uri="{FF2B5EF4-FFF2-40B4-BE49-F238E27FC236}">
                <a16:creationId xmlns:a16="http://schemas.microsoft.com/office/drawing/2014/main" id="{EC5CDDA0-00E6-CE02-3817-1880A77DCB03}"/>
              </a:ext>
            </a:extLst>
          </p:cNvPr>
          <p:cNvSpPr/>
          <p:nvPr/>
        </p:nvSpPr>
        <p:spPr bwMode="auto">
          <a:xfrm>
            <a:off x="2344707" y="3917913"/>
            <a:ext cx="2977064" cy="1089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598"/>
              </a:spcBef>
              <a:defRPr/>
            </a:pPr>
            <a:r>
              <a:rPr lang="ru-RU" sz="996" b="1" dirty="0">
                <a:solidFill>
                  <a:schemeClr val="accent5">
                    <a:lumMod val="75000"/>
                  </a:schemeClr>
                </a:solidFill>
              </a:rPr>
              <a:t>Сообщество лидеров изменений МФЦ – 34</a:t>
            </a:r>
          </a:p>
          <a:p>
            <a:pPr>
              <a:spcBef>
                <a:spcPts val="598"/>
              </a:spcBef>
              <a:defRPr/>
            </a:pPr>
            <a:r>
              <a:rPr lang="ru-RU" sz="996" b="1" dirty="0">
                <a:solidFill>
                  <a:schemeClr val="accent5">
                    <a:lumMod val="75000"/>
                  </a:schemeClr>
                </a:solidFill>
              </a:rPr>
              <a:t>Сообщество бережливых архивистов – 11</a:t>
            </a:r>
          </a:p>
          <a:p>
            <a:pPr>
              <a:spcBef>
                <a:spcPts val="598"/>
              </a:spcBef>
              <a:defRPr/>
            </a:pPr>
            <a:r>
              <a:rPr lang="ru-RU" sz="996" b="1" dirty="0">
                <a:solidFill>
                  <a:schemeClr val="accent5">
                    <a:lumMod val="75000"/>
                  </a:schemeClr>
                </a:solidFill>
              </a:rPr>
              <a:t>Сообщество органов управления физкультуры и спорта – 14</a:t>
            </a:r>
          </a:p>
          <a:p>
            <a:pPr>
              <a:spcBef>
                <a:spcPts val="598"/>
              </a:spcBef>
              <a:defRPr/>
            </a:pPr>
            <a:r>
              <a:rPr lang="ru-RU" sz="996" b="1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бщество бережливых </a:t>
            </a:r>
            <a:r>
              <a:rPr lang="ru-RU" sz="996" b="1" kern="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ГСов</a:t>
            </a:r>
            <a:r>
              <a:rPr lang="ru-RU" sz="996" b="1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4</a:t>
            </a:r>
            <a:endParaRPr lang="ru-RU" sz="993" b="1" kern="0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Рисунок 4">
            <a:extLst>
              <a:ext uri="{FF2B5EF4-FFF2-40B4-BE49-F238E27FC236}">
                <a16:creationId xmlns:a16="http://schemas.microsoft.com/office/drawing/2014/main" id="{80179274-CF2E-61CD-197C-F0A14B13462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515" r="5836"/>
          <a:stretch/>
        </p:blipFill>
        <p:spPr bwMode="auto">
          <a:xfrm>
            <a:off x="2365491" y="2935775"/>
            <a:ext cx="757272" cy="909938"/>
          </a:xfrm>
          <a:prstGeom prst="rect">
            <a:avLst/>
          </a:prstGeom>
        </p:spPr>
      </p:pic>
      <p:sp>
        <p:nvSpPr>
          <p:cNvPr id="18" name="Прямоугольник 31">
            <a:extLst>
              <a:ext uri="{FF2B5EF4-FFF2-40B4-BE49-F238E27FC236}">
                <a16:creationId xmlns:a16="http://schemas.microsoft.com/office/drawing/2014/main" id="{182873B5-0438-DB10-9170-558254471E9B}"/>
              </a:ext>
            </a:extLst>
          </p:cNvPr>
          <p:cNvSpPr/>
          <p:nvPr/>
        </p:nvSpPr>
        <p:spPr bwMode="auto">
          <a:xfrm>
            <a:off x="2340943" y="2622109"/>
            <a:ext cx="1358503" cy="2451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1843">
              <a:spcBef>
                <a:spcPts val="596"/>
              </a:spcBef>
              <a:defRPr/>
            </a:pPr>
            <a:r>
              <a:rPr lang="ru-RU" sz="993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en-US" sz="993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93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.02.2022</a:t>
            </a:r>
            <a:endParaRPr sz="1788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3067214-A05D-D05D-117E-FCAFC193362B}"/>
              </a:ext>
            </a:extLst>
          </p:cNvPr>
          <p:cNvSpPr txBox="1"/>
          <p:nvPr/>
        </p:nvSpPr>
        <p:spPr bwMode="auto">
          <a:xfrm>
            <a:off x="1884922" y="1162888"/>
            <a:ext cx="701810" cy="2451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1843">
              <a:defRPr/>
            </a:pPr>
            <a:r>
              <a:rPr lang="ru-RU" sz="9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8 </a:t>
            </a:r>
            <a:endParaRPr sz="1788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E282AF7-2637-46C9-A95A-DBFAAE2BBAF1}"/>
              </a:ext>
            </a:extLst>
          </p:cNvPr>
          <p:cNvSpPr txBox="1"/>
          <p:nvPr/>
        </p:nvSpPr>
        <p:spPr bwMode="auto">
          <a:xfrm>
            <a:off x="4124213" y="2663192"/>
            <a:ext cx="360806" cy="2451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1843">
              <a:defRPr/>
            </a:pPr>
            <a:r>
              <a:rPr lang="ru-RU" sz="9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 </a:t>
            </a:r>
            <a:endParaRPr sz="1788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95F5362-352B-B6DD-E8AB-B3DABF46EEA3}"/>
              </a:ext>
            </a:extLst>
          </p:cNvPr>
          <p:cNvSpPr txBox="1"/>
          <p:nvPr/>
        </p:nvSpPr>
        <p:spPr bwMode="auto">
          <a:xfrm>
            <a:off x="6499259" y="1167278"/>
            <a:ext cx="429202" cy="2451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1843">
              <a:defRPr/>
            </a:pPr>
            <a:r>
              <a:rPr lang="ru-RU" sz="9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 </a:t>
            </a:r>
            <a:endParaRPr sz="1788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22AD071-D2DB-5418-C130-1C2E5A402825}"/>
              </a:ext>
            </a:extLst>
          </p:cNvPr>
          <p:cNvSpPr txBox="1"/>
          <p:nvPr/>
        </p:nvSpPr>
        <p:spPr bwMode="auto">
          <a:xfrm>
            <a:off x="4146991" y="1144172"/>
            <a:ext cx="393551" cy="2451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1843">
              <a:defRPr/>
            </a:pPr>
            <a:r>
              <a:rPr lang="ru-RU" sz="9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 </a:t>
            </a:r>
            <a:endParaRPr sz="1788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8F783E6-DE12-356B-534A-EEF317C4ED1C}"/>
              </a:ext>
            </a:extLst>
          </p:cNvPr>
          <p:cNvCxnSpPr>
            <a:cxnSpLocks/>
          </p:cNvCxnSpPr>
          <p:nvPr/>
        </p:nvCxnSpPr>
        <p:spPr bwMode="auto">
          <a:xfrm flipV="1">
            <a:off x="57837" y="2383724"/>
            <a:ext cx="6829580" cy="0"/>
          </a:xfrm>
          <a:prstGeom prst="line">
            <a:avLst/>
          </a:prstGeom>
          <a:noFill/>
          <a:ln w="6350" cap="flat" cmpd="sng" algn="ctr">
            <a:solidFill>
              <a:srgbClr val="333333"/>
            </a:solidFill>
            <a:prstDash val="solid"/>
            <a:miter lim="800000"/>
          </a:ln>
          <a:effectLst/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F616639-6159-1D44-3D98-A92BAB503048}"/>
              </a:ext>
            </a:extLst>
          </p:cNvPr>
          <p:cNvSpPr txBox="1"/>
          <p:nvPr/>
        </p:nvSpPr>
        <p:spPr bwMode="auto">
          <a:xfrm>
            <a:off x="3109749" y="2886940"/>
            <a:ext cx="1436577" cy="704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08284">
              <a:spcBef>
                <a:spcPts val="596"/>
              </a:spcBef>
              <a:defRPr/>
            </a:pPr>
            <a:r>
              <a:rPr lang="ru-RU" sz="9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роменкова </a:t>
            </a:r>
            <a:br>
              <a:rPr lang="ru-RU" sz="9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ьга Олеговна </a:t>
            </a:r>
            <a:r>
              <a:rPr lang="ru-RU" sz="996" dirty="0">
                <a:solidFill>
                  <a:prstClr val="black"/>
                </a:solidFill>
                <a:ea typeface="Arial"/>
                <a:cs typeface="Arial"/>
              </a:rPr>
              <a:t>Проректор ИРО Липецкой области</a:t>
            </a:r>
            <a:endParaRPr sz="1788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C240E7-C628-DDE8-D9D2-BCBC3F15CACA}"/>
              </a:ext>
            </a:extLst>
          </p:cNvPr>
          <p:cNvSpPr txBox="1"/>
          <p:nvPr/>
        </p:nvSpPr>
        <p:spPr bwMode="auto">
          <a:xfrm>
            <a:off x="91520" y="717914"/>
            <a:ext cx="5906747" cy="275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1843">
              <a:defRPr/>
            </a:pPr>
            <a:r>
              <a:rPr lang="en-US" sz="1193" b="1" kern="0" dirty="0">
                <a:solidFill>
                  <a:srgbClr val="FCC30B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1193" b="1" kern="0" dirty="0">
                <a:solidFill>
                  <a:srgbClr val="FCC30B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193" b="1" kern="0" dirty="0">
                <a:solidFill>
                  <a:srgbClr val="FCC30B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93" b="1" kern="0" dirty="0">
                <a:solidFill>
                  <a:srgbClr val="FCC30B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ЕВОЕ </a:t>
            </a:r>
            <a:r>
              <a:rPr lang="ru-RU" sz="1193" kern="0" dirty="0">
                <a:solidFill>
                  <a:srgbClr val="FCC30B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а данный момент 260 организаций) </a:t>
            </a:r>
            <a:endParaRPr lang="en-US" sz="1193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9C04A6A-15AF-9365-D9B5-C02DE89DC606}"/>
              </a:ext>
            </a:extLst>
          </p:cNvPr>
          <p:cNvCxnSpPr>
            <a:cxnSpLocks/>
          </p:cNvCxnSpPr>
          <p:nvPr/>
        </p:nvCxnSpPr>
        <p:spPr bwMode="auto">
          <a:xfrm flipV="1">
            <a:off x="37360" y="3859504"/>
            <a:ext cx="6829580" cy="0"/>
          </a:xfrm>
          <a:prstGeom prst="line">
            <a:avLst/>
          </a:prstGeom>
          <a:noFill/>
          <a:ln w="6350" cap="flat" cmpd="sng" algn="ctr">
            <a:solidFill>
              <a:srgbClr val="333333"/>
            </a:solidFill>
            <a:prstDash val="solid"/>
            <a:miter lim="800000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6E5957A1-2FDB-DFF8-CA74-0C513E8D1A12}"/>
              </a:ext>
            </a:extLst>
          </p:cNvPr>
          <p:cNvCxnSpPr>
            <a:cxnSpLocks/>
          </p:cNvCxnSpPr>
          <p:nvPr/>
        </p:nvCxnSpPr>
        <p:spPr bwMode="auto">
          <a:xfrm flipH="1">
            <a:off x="2293085" y="995439"/>
            <a:ext cx="0" cy="4106911"/>
          </a:xfrm>
          <a:prstGeom prst="line">
            <a:avLst/>
          </a:prstGeom>
          <a:noFill/>
          <a:ln w="6350" cap="flat" cmpd="sng" algn="ctr">
            <a:solidFill>
              <a:srgbClr val="333333"/>
            </a:solidFill>
            <a:prstDash val="solid"/>
            <a:miter lim="800000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D7E3F99-17ED-0BA2-A1DE-3AD831AF8FD1}"/>
              </a:ext>
            </a:extLst>
          </p:cNvPr>
          <p:cNvCxnSpPr>
            <a:cxnSpLocks/>
          </p:cNvCxnSpPr>
          <p:nvPr/>
        </p:nvCxnSpPr>
        <p:spPr bwMode="auto">
          <a:xfrm>
            <a:off x="4502651" y="970253"/>
            <a:ext cx="0" cy="2947659"/>
          </a:xfrm>
          <a:prstGeom prst="line">
            <a:avLst/>
          </a:prstGeom>
          <a:noFill/>
          <a:ln w="6350" cap="flat" cmpd="sng" algn="ctr">
            <a:solidFill>
              <a:srgbClr val="333333"/>
            </a:solidFill>
            <a:prstDash val="solid"/>
            <a:miter lim="800000"/>
          </a:ln>
          <a:effectLst/>
        </p:spPr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30CFA4DB-787B-AF71-1D74-D1ECD3EA4CE7}"/>
              </a:ext>
            </a:extLst>
          </p:cNvPr>
          <p:cNvSpPr txBox="1"/>
          <p:nvPr/>
        </p:nvSpPr>
        <p:spPr bwMode="auto">
          <a:xfrm>
            <a:off x="6983771" y="799906"/>
            <a:ext cx="2025107" cy="17445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1843">
              <a:defRPr/>
            </a:pPr>
            <a:r>
              <a:rPr lang="en-US" sz="11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</a:t>
            </a:r>
            <a:r>
              <a:rPr lang="ru-RU" sz="11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ЕГИОНАЛЬНОЕ </a:t>
            </a:r>
            <a:br>
              <a:rPr lang="ru-RU" sz="11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15 организаций в </a:t>
            </a:r>
          </a:p>
          <a:p>
            <a:pPr algn="ctr" defTabSz="681843">
              <a:defRPr/>
            </a:pPr>
            <a:r>
              <a:rPr lang="ru-RU" sz="11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региональных клубах и 7 регионах пилотного проекта с </a:t>
            </a:r>
            <a:r>
              <a:rPr lang="ru-RU" sz="1193" b="1" kern="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просвещения</a:t>
            </a:r>
            <a:r>
              <a:rPr lang="ru-RU" sz="11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Ф по дебюрократизации.</a:t>
            </a:r>
          </a:p>
          <a:p>
            <a:pPr algn="ctr" defTabSz="681843">
              <a:defRPr/>
            </a:pPr>
            <a:r>
              <a:rPr lang="ru-RU" sz="11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мпиады и конкурсы:</a:t>
            </a:r>
            <a:endParaRPr sz="1788" b="1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D54EC0C-9C99-2D77-D5A6-97A38D52F7EF}"/>
              </a:ext>
            </a:extLst>
          </p:cNvPr>
          <p:cNvCxnSpPr>
            <a:cxnSpLocks/>
          </p:cNvCxnSpPr>
          <p:nvPr/>
        </p:nvCxnSpPr>
        <p:spPr bwMode="auto">
          <a:xfrm>
            <a:off x="6918560" y="761028"/>
            <a:ext cx="0" cy="4330634"/>
          </a:xfrm>
          <a:prstGeom prst="line">
            <a:avLst/>
          </a:prstGeom>
          <a:noFill/>
          <a:ln w="6350" cap="flat" cmpd="sng" algn="ctr">
            <a:solidFill>
              <a:srgbClr val="333333"/>
            </a:solidFill>
            <a:prstDash val="solid"/>
            <a:miter lim="800000"/>
          </a:ln>
          <a:effectLst/>
        </p:spPr>
      </p:cxnSp>
      <p:pic>
        <p:nvPicPr>
          <p:cNvPr id="71" name="Рисунок 53">
            <a:extLst>
              <a:ext uri="{FF2B5EF4-FFF2-40B4-BE49-F238E27FC236}">
                <a16:creationId xmlns:a16="http://schemas.microsoft.com/office/drawing/2014/main" id="{BB224A76-C9DF-08A6-8591-BF860FA3AC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272078" y="3891302"/>
            <a:ext cx="1656382" cy="1281149"/>
          </a:xfrm>
          <a:prstGeom prst="rect">
            <a:avLst/>
          </a:prstGeom>
        </p:spPr>
      </p:pic>
      <p:pic>
        <p:nvPicPr>
          <p:cNvPr id="72" name="Picture 2" descr="Алексеенко Сергей Николаевич">
            <a:extLst>
              <a:ext uri="{FF2B5EF4-FFF2-40B4-BE49-F238E27FC236}">
                <a16:creationId xmlns:a16="http://schemas.microsoft.com/office/drawing/2014/main" id="{B1336F9E-F3F3-B616-02D2-D24C59AA1B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8" y="1422546"/>
            <a:ext cx="780733" cy="899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94307FDA-8341-2CDD-12F1-FAEB8AF1439F}"/>
              </a:ext>
            </a:extLst>
          </p:cNvPr>
          <p:cNvSpPr txBox="1"/>
          <p:nvPr/>
        </p:nvSpPr>
        <p:spPr bwMode="auto">
          <a:xfrm>
            <a:off x="5419697" y="2781555"/>
            <a:ext cx="1419319" cy="856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1843">
              <a:spcBef>
                <a:spcPts val="596"/>
              </a:spcBef>
              <a:defRPr/>
            </a:pPr>
            <a:r>
              <a:rPr lang="ru-RU" sz="993" b="1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оусова Ольга Анатольевна, </a:t>
            </a:r>
            <a:r>
              <a:rPr lang="ru-RU" sz="993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 детского сада 126</a:t>
            </a:r>
            <a:br>
              <a:rPr lang="ru-RU" sz="993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93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Липецк</a:t>
            </a:r>
            <a:endParaRPr sz="1788" kern="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Прямоугольник 46">
            <a:extLst>
              <a:ext uri="{FF2B5EF4-FFF2-40B4-BE49-F238E27FC236}">
                <a16:creationId xmlns:a16="http://schemas.microsoft.com/office/drawing/2014/main" id="{1FB3095E-E33B-4125-E5B2-D7555CAB49A1}"/>
              </a:ext>
            </a:extLst>
          </p:cNvPr>
          <p:cNvSpPr/>
          <p:nvPr/>
        </p:nvSpPr>
        <p:spPr bwMode="auto">
          <a:xfrm>
            <a:off x="29045" y="3873739"/>
            <a:ext cx="2313735" cy="397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1843">
              <a:defRPr/>
            </a:pPr>
            <a:r>
              <a:rPr lang="ru-RU" sz="993" b="1" kern="0" dirty="0">
                <a:solidFill>
                  <a:srgbClr val="025EA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уб бережливых главных врачей </a:t>
            </a:r>
            <a:r>
              <a:rPr lang="ru-RU" sz="993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en-US" sz="993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93" kern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.2022</a:t>
            </a:r>
            <a:endParaRPr lang="ru-RU" sz="993" b="1" kern="0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5B2B241E-0677-4A67-A0DF-54CF514225A1}"/>
              </a:ext>
            </a:extLst>
          </p:cNvPr>
          <p:cNvSpPr/>
          <p:nvPr/>
        </p:nvSpPr>
        <p:spPr bwMode="auto">
          <a:xfrm>
            <a:off x="3260824" y="1249831"/>
            <a:ext cx="1430027" cy="11650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996" b="1" dirty="0"/>
              <a:t>Левина Ирина</a:t>
            </a:r>
            <a:br>
              <a:rPr lang="ru-RU" sz="996" b="1" dirty="0"/>
            </a:br>
            <a:r>
              <a:rPr lang="ru-RU" sz="996" b="1" dirty="0"/>
              <a:t>Анатольевна,</a:t>
            </a:r>
            <a:endParaRPr sz="1793" dirty="0"/>
          </a:p>
          <a:p>
            <a:pPr>
              <a:defRPr/>
            </a:pPr>
            <a:r>
              <a:rPr lang="ru-RU" sz="996" dirty="0"/>
              <a:t>директор </a:t>
            </a:r>
            <a:r>
              <a:rPr lang="ru-RU" sz="996" b="1" dirty="0"/>
              <a:t>Свердловского</a:t>
            </a:r>
            <a:r>
              <a:rPr lang="ru-RU" sz="996" dirty="0"/>
              <a:t> областного медицинского колледжа</a:t>
            </a:r>
            <a:endParaRPr sz="1793" dirty="0"/>
          </a:p>
        </p:txBody>
      </p:sp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00660583-73E6-4B68-87B9-9E4C8473729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65490" y="1390208"/>
            <a:ext cx="822600" cy="934088"/>
          </a:xfrm>
          <a:prstGeom prst="rect">
            <a:avLst/>
          </a:prstGeom>
        </p:spPr>
      </p:pic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CB940738-935F-4CE7-B105-37F920263ACF}"/>
              </a:ext>
            </a:extLst>
          </p:cNvPr>
          <p:cNvSpPr/>
          <p:nvPr/>
        </p:nvSpPr>
        <p:spPr bwMode="auto">
          <a:xfrm>
            <a:off x="5507954" y="1332254"/>
            <a:ext cx="1391312" cy="705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996" b="1" dirty="0" err="1"/>
              <a:t>Каславская</a:t>
            </a:r>
            <a:r>
              <a:rPr lang="ru-RU" sz="996" b="1" dirty="0"/>
              <a:t> Тамара</a:t>
            </a:r>
            <a:br>
              <a:rPr lang="ru-RU" sz="996" b="1" dirty="0"/>
            </a:br>
            <a:r>
              <a:rPr lang="ru-RU" sz="996" b="1" dirty="0"/>
              <a:t>Николаевна,</a:t>
            </a:r>
            <a:endParaRPr sz="1793" dirty="0"/>
          </a:p>
          <a:p>
            <a:pPr>
              <a:defRPr/>
            </a:pPr>
            <a:r>
              <a:rPr lang="ru-RU" sz="996" dirty="0"/>
              <a:t>директор 79 школы, </a:t>
            </a:r>
            <a:br>
              <a:rPr lang="ru-RU" sz="996" dirty="0"/>
            </a:br>
            <a:r>
              <a:rPr lang="ru-RU" sz="996" b="1" dirty="0"/>
              <a:t>г. Нижний Новгород</a:t>
            </a:r>
            <a:endParaRPr sz="1793" dirty="0"/>
          </a:p>
        </p:txBody>
      </p:sp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CCB52166-F6FE-42F0-B073-86D58B091C8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85526" y="1353163"/>
            <a:ext cx="889037" cy="985946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A60FD697-E5FD-491D-9411-C3B766AD57B4}"/>
              </a:ext>
            </a:extLst>
          </p:cNvPr>
          <p:cNvSpPr txBox="1"/>
          <p:nvPr/>
        </p:nvSpPr>
        <p:spPr bwMode="auto">
          <a:xfrm>
            <a:off x="4576614" y="2386312"/>
            <a:ext cx="2368745" cy="398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0915">
              <a:defRPr/>
            </a:pPr>
            <a:r>
              <a:rPr lang="ru-RU" sz="996" b="1" dirty="0">
                <a:solidFill>
                  <a:schemeClr val="accent5">
                    <a:lumMod val="75000"/>
                  </a:schemeClr>
                </a:solidFill>
              </a:rPr>
              <a:t>Движение бережливых детских садов </a:t>
            </a:r>
            <a:r>
              <a:rPr lang="ru-RU" sz="996" dirty="0">
                <a:latin typeface="Arial"/>
                <a:ea typeface="Arial"/>
                <a:cs typeface="Arial"/>
              </a:rPr>
              <a:t>с 16.10.2023</a:t>
            </a:r>
            <a:endParaRPr sz="1793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5B66843-1691-4182-A1EC-78431184BB78}"/>
              </a:ext>
            </a:extLst>
          </p:cNvPr>
          <p:cNvSpPr txBox="1"/>
          <p:nvPr/>
        </p:nvSpPr>
        <p:spPr bwMode="auto">
          <a:xfrm>
            <a:off x="6580109" y="2560868"/>
            <a:ext cx="430459" cy="2455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996" b="1" dirty="0"/>
              <a:t>31 </a:t>
            </a:r>
            <a:endParaRPr sz="1793" dirty="0"/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16000F04-036A-4BB2-A7C7-6C5365A4880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5132" y="2898791"/>
            <a:ext cx="888239" cy="826981"/>
          </a:xfrm>
          <a:prstGeom prst="rect">
            <a:avLst/>
          </a:prstGeom>
        </p:spPr>
      </p:pic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B9E786B0-7193-4BB7-A51F-7F77F36FF174}"/>
              </a:ext>
            </a:extLst>
          </p:cNvPr>
          <p:cNvSpPr/>
          <p:nvPr/>
        </p:nvSpPr>
        <p:spPr bwMode="auto">
          <a:xfrm>
            <a:off x="-889" y="2354394"/>
            <a:ext cx="2320511" cy="629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996" b="1">
                <a:solidFill>
                  <a:schemeClr val="accent5">
                    <a:lumMod val="75000"/>
                  </a:schemeClr>
                </a:solidFill>
              </a:rPr>
              <a:t>Сообщество лин-тренеров</a:t>
            </a:r>
            <a:endParaRPr sz="1793"/>
          </a:p>
          <a:p>
            <a:pPr>
              <a:defRPr/>
            </a:pPr>
            <a:r>
              <a:rPr lang="ru-RU" sz="996">
                <a:latin typeface="Arial"/>
                <a:cs typeface="Arial"/>
              </a:rPr>
              <a:t>с</a:t>
            </a:r>
            <a:r>
              <a:rPr lang="en-US" sz="996">
                <a:latin typeface="Arial"/>
                <a:cs typeface="Arial"/>
              </a:rPr>
              <a:t> </a:t>
            </a:r>
            <a:r>
              <a:rPr lang="ru-RU" sz="996">
                <a:latin typeface="Arial"/>
                <a:cs typeface="Arial"/>
              </a:rPr>
              <a:t>03.12.2022</a:t>
            </a:r>
            <a:endParaRPr lang="ru-RU" sz="996" b="1">
              <a:solidFill>
                <a:schemeClr val="accent1">
                  <a:lumMod val="75000"/>
                </a:schemeClr>
              </a:solidFill>
            </a:endParaRPr>
          </a:p>
          <a:p>
            <a:pPr>
              <a:spcBef>
                <a:spcPts val="598"/>
              </a:spcBef>
              <a:defRPr/>
            </a:pPr>
            <a:endParaRPr lang="ru-RU" sz="996" b="1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9CE06EAE-93C0-4EB4-BCB0-4AC9BF09C3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112029" y="2774125"/>
            <a:ext cx="838792" cy="876883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1998B8B4-5033-4997-9A01-A7317F5B7FB9}"/>
              </a:ext>
            </a:extLst>
          </p:cNvPr>
          <p:cNvSpPr txBox="1"/>
          <p:nvPr/>
        </p:nvSpPr>
        <p:spPr bwMode="auto">
          <a:xfrm>
            <a:off x="1838129" y="2373169"/>
            <a:ext cx="703865" cy="2455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996" b="1" dirty="0"/>
              <a:t>23 </a:t>
            </a:r>
            <a:endParaRPr sz="1793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4B7A355-2A8E-4F77-A614-6822F0DA86B3}"/>
              </a:ext>
            </a:extLst>
          </p:cNvPr>
          <p:cNvSpPr txBox="1"/>
          <p:nvPr/>
        </p:nvSpPr>
        <p:spPr bwMode="auto">
          <a:xfrm>
            <a:off x="913261" y="2716182"/>
            <a:ext cx="1423475" cy="1011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598"/>
              </a:spcBef>
              <a:defRPr/>
            </a:pPr>
            <a:r>
              <a:rPr lang="ru-RU" sz="996" b="1">
                <a:solidFill>
                  <a:prstClr val="black"/>
                </a:solidFill>
                <a:latin typeface="Arial"/>
                <a:ea typeface="Arial"/>
                <a:cs typeface="Arial"/>
              </a:rPr>
              <a:t>Мазунина Светлана Диановна, </a:t>
            </a:r>
            <a:r>
              <a:rPr lang="ru-RU" sz="996">
                <a:solidFill>
                  <a:prstClr val="black"/>
                </a:solidFill>
                <a:latin typeface="Arial"/>
                <a:ea typeface="Arial"/>
                <a:cs typeface="Arial"/>
              </a:rPr>
              <a:t>Директор УМЦ Фабрика процессов КирГМУ,</a:t>
            </a:r>
            <a:br>
              <a:rPr lang="ru-RU" sz="996">
                <a:solidFill>
                  <a:prstClr val="black"/>
                </a:solidFill>
                <a:latin typeface="Arial"/>
                <a:ea typeface="Arial"/>
                <a:cs typeface="Arial"/>
              </a:rPr>
            </a:br>
            <a:r>
              <a:rPr lang="ru-RU" sz="996" b="1"/>
              <a:t>г. Киров</a:t>
            </a:r>
            <a:endParaRPr sz="1793"/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80D752A3-C001-45F0-BA7F-84556477D174}"/>
              </a:ext>
            </a:extLst>
          </p:cNvPr>
          <p:cNvSpPr/>
          <p:nvPr/>
        </p:nvSpPr>
        <p:spPr bwMode="auto">
          <a:xfrm>
            <a:off x="850948" y="4171880"/>
            <a:ext cx="1548599" cy="8585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96" b="1" dirty="0" err="1"/>
              <a:t>Ишниязова</a:t>
            </a:r>
            <a:r>
              <a:rPr lang="ru-RU" sz="996" b="1" dirty="0"/>
              <a:t> Алсу </a:t>
            </a:r>
            <a:r>
              <a:rPr lang="ru-RU" sz="996" b="1" dirty="0" err="1"/>
              <a:t>Равилевна</a:t>
            </a:r>
            <a:endParaRPr lang="ru-RU" sz="996" b="1" dirty="0"/>
          </a:p>
          <a:p>
            <a:r>
              <a:rPr lang="ru-RU" sz="996" dirty="0"/>
              <a:t>заместитель министра здравоохранения УР, </a:t>
            </a:r>
            <a:br>
              <a:rPr lang="ru-RU" sz="996" dirty="0"/>
            </a:br>
            <a:r>
              <a:rPr lang="ru-RU" sz="996" b="1" dirty="0"/>
              <a:t>Ижевск</a:t>
            </a: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22A83E7B-6245-4621-805E-D8CB4757A0A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660" y="4218767"/>
            <a:ext cx="728336" cy="802037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4ACF0E95-A692-4F65-9B73-FC26188FB1ED}"/>
              </a:ext>
            </a:extLst>
          </p:cNvPr>
          <p:cNvSpPr txBox="1"/>
          <p:nvPr/>
        </p:nvSpPr>
        <p:spPr bwMode="auto">
          <a:xfrm>
            <a:off x="1793674" y="4002862"/>
            <a:ext cx="280151" cy="398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996" b="1" dirty="0"/>
              <a:t>17 </a:t>
            </a:r>
            <a:endParaRPr sz="1793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8461DB4-BDD0-4385-B2EB-AAF173CA5E66}"/>
              </a:ext>
            </a:extLst>
          </p:cNvPr>
          <p:cNvSpPr txBox="1"/>
          <p:nvPr/>
        </p:nvSpPr>
        <p:spPr bwMode="auto">
          <a:xfrm>
            <a:off x="7057531" y="2373924"/>
            <a:ext cx="1770065" cy="1886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0797" indent="-170797">
              <a:buFont typeface="Arial"/>
              <a:buChar char="•"/>
              <a:defRPr/>
            </a:pPr>
            <a:r>
              <a:rPr lang="ru-RU" sz="897" dirty="0"/>
              <a:t>Межрегиональная студенческая олимпиада по бережливому производству</a:t>
            </a:r>
            <a:endParaRPr lang="en-US" sz="897" dirty="0"/>
          </a:p>
          <a:p>
            <a:pPr marL="170797" indent="-170797">
              <a:buFont typeface="Arial"/>
              <a:buChar char="•"/>
              <a:defRPr/>
            </a:pPr>
            <a:r>
              <a:rPr lang="ru-RU" sz="897" dirty="0"/>
              <a:t>Всероссийский конкурс лучших бережливых проектов ПОО;</a:t>
            </a:r>
            <a:endParaRPr lang="en-US" sz="897" dirty="0"/>
          </a:p>
          <a:p>
            <a:pPr marL="170797" indent="-170797">
              <a:buFont typeface="Arial"/>
              <a:buChar char="•"/>
              <a:defRPr/>
            </a:pPr>
            <a:r>
              <a:rPr lang="ru-RU" sz="897" dirty="0"/>
              <a:t>Конкурс студенческих курсовых работ (проектов), дипломных работ с элементами внедрения бережливых технологий;</a:t>
            </a:r>
            <a:endParaRPr lang="en-US" sz="897" dirty="0"/>
          </a:p>
          <a:p>
            <a:pPr marL="170797" indent="-170797">
              <a:buFont typeface="Arial"/>
              <a:buChar char="•"/>
              <a:defRPr/>
            </a:pPr>
            <a:r>
              <a:rPr lang="ru-RU" sz="897" dirty="0"/>
              <a:t>Всероссийский конкурс «Лучший </a:t>
            </a:r>
            <a:r>
              <a:rPr lang="ru-RU" sz="897" dirty="0" err="1"/>
              <a:t>челлендж</a:t>
            </a:r>
            <a:r>
              <a:rPr lang="ru-RU" sz="897" dirty="0"/>
              <a:t> по 5С» </a:t>
            </a:r>
            <a:endParaRPr lang="en-US" sz="897" dirty="0"/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CF4DE988-28B6-4F27-A361-A5C79619F0A7}"/>
              </a:ext>
            </a:extLst>
          </p:cNvPr>
          <p:cNvSpPr/>
          <p:nvPr/>
        </p:nvSpPr>
        <p:spPr bwMode="auto">
          <a:xfrm>
            <a:off x="2337817" y="2425038"/>
            <a:ext cx="1894593" cy="245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598"/>
              </a:spcBef>
              <a:defRPr/>
            </a:pPr>
            <a:r>
              <a:rPr lang="ru-RU" sz="996" b="1" dirty="0">
                <a:solidFill>
                  <a:schemeClr val="accent5">
                    <a:lumMod val="75000"/>
                  </a:schemeClr>
                </a:solidFill>
              </a:rPr>
              <a:t>Сообщество ОМСУ и ИРО</a:t>
            </a:r>
            <a:endParaRPr sz="996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6401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C71A95D1-886A-EB60-68E7-DB7A0B6AF465}"/>
              </a:ext>
            </a:extLst>
          </p:cNvPr>
          <p:cNvSpPr txBox="1"/>
          <p:nvPr/>
        </p:nvSpPr>
        <p:spPr>
          <a:xfrm>
            <a:off x="241663" y="202016"/>
            <a:ext cx="68958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450"/>
              </a:spcBef>
            </a:pPr>
            <a:r>
              <a:rPr lang="ru-RU" b="1" dirty="0"/>
              <a:t>Клуб Лидеров изменений (МФЦ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D4AA5D-F37C-4A48-812C-931B9408AB73}"/>
              </a:ext>
            </a:extLst>
          </p:cNvPr>
          <p:cNvSpPr txBox="1"/>
          <p:nvPr/>
        </p:nvSpPr>
        <p:spPr>
          <a:xfrm>
            <a:off x="561973" y="1845296"/>
            <a:ext cx="5351552" cy="11310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450"/>
              </a:spcBef>
            </a:pPr>
            <a:r>
              <a:rPr lang="ru-RU" sz="1350" b="1" dirty="0"/>
              <a:t>34 участника </a:t>
            </a:r>
            <a:r>
              <a:rPr lang="ru-RU" sz="1350" dirty="0">
                <a:cs typeface="Times New Roman" panose="02020603050405020304" pitchFamily="18" charset="0"/>
              </a:rPr>
              <a:t>- представители МФЦ Тульской, Липецкой, Иркутской, Томской, Калужской, Кемеровской, Свердловской, Кировской, Ленинградской и Белгородской областей, </a:t>
            </a:r>
            <a:br>
              <a:rPr lang="ru-RU" sz="1350" dirty="0">
                <a:cs typeface="Times New Roman" panose="02020603050405020304" pitchFamily="18" charset="0"/>
              </a:rPr>
            </a:br>
            <a:r>
              <a:rPr lang="ru-RU" sz="1350" dirty="0">
                <a:cs typeface="Times New Roman" panose="02020603050405020304" pitchFamily="18" charset="0"/>
              </a:rPr>
              <a:t>Ямало-Ненецкого АО, Ставропольского края и Алтайского края, Удмуртской Республики и г. Санкт-Петербурга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F62001-C797-BDFA-A2ED-8A7340E3436F}"/>
              </a:ext>
            </a:extLst>
          </p:cNvPr>
          <p:cNvSpPr txBox="1"/>
          <p:nvPr/>
        </p:nvSpPr>
        <p:spPr>
          <a:xfrm>
            <a:off x="561977" y="850380"/>
            <a:ext cx="5090493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350" dirty="0">
                <a:cs typeface="Times New Roman" panose="02020603050405020304" pitchFamily="18" charset="0"/>
              </a:rPr>
              <a:t>Открытие Клуба – </a:t>
            </a:r>
            <a:r>
              <a:rPr lang="ru-RU" sz="1350" b="1" dirty="0"/>
              <a:t>20 апреля 2024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824967-790D-E699-CE3A-D69298044301}"/>
              </a:ext>
            </a:extLst>
          </p:cNvPr>
          <p:cNvSpPr txBox="1"/>
          <p:nvPr/>
        </p:nvSpPr>
        <p:spPr>
          <a:xfrm>
            <a:off x="561976" y="1187727"/>
            <a:ext cx="4340477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450"/>
              </a:spcBef>
            </a:pPr>
            <a:r>
              <a:rPr lang="ru-RU" sz="1350" dirty="0">
                <a:cs typeface="Times New Roman" panose="02020603050405020304" pitchFamily="18" charset="0"/>
              </a:rPr>
              <a:t>Председатель Клуба 2024 – </a:t>
            </a:r>
            <a:r>
              <a:rPr lang="ru-RU" sz="1350" b="1" dirty="0"/>
              <a:t>Яковлева Н.А.</a:t>
            </a:r>
            <a:r>
              <a:rPr lang="ru-RU" sz="1350" dirty="0">
                <a:cs typeface="Times New Roman" panose="02020603050405020304" pitchFamily="18" charset="0"/>
              </a:rPr>
              <a:t>, директор Центра развития МФЦ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E72415-E364-3AA1-EB29-880BB7986285}"/>
              </a:ext>
            </a:extLst>
          </p:cNvPr>
          <p:cNvSpPr txBox="1"/>
          <p:nvPr/>
        </p:nvSpPr>
        <p:spPr>
          <a:xfrm>
            <a:off x="561979" y="3275814"/>
            <a:ext cx="4822574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defRPr sz="2800" b="1">
                <a:solidFill>
                  <a:srgbClr val="F7650B"/>
                </a:solidFill>
              </a:defRPr>
            </a:lvl1pPr>
          </a:lstStyle>
          <a:p>
            <a:r>
              <a:rPr lang="ru-RU" sz="1350" dirty="0">
                <a:solidFill>
                  <a:schemeClr val="tx1"/>
                </a:solidFill>
              </a:rPr>
              <a:t>Центр развития МФЦ ЦСР </a:t>
            </a:r>
            <a:r>
              <a:rPr lang="ru-RU" sz="1350" b="0" dirty="0">
                <a:solidFill>
                  <a:schemeClr val="tx1"/>
                </a:solidFill>
                <a:cs typeface="Times New Roman" panose="02020603050405020304" pitchFamily="18" charset="0"/>
              </a:rPr>
              <a:t>- координатор Клуб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7BD2AF6-013A-D5B2-A6FE-916012EDCB18}"/>
              </a:ext>
            </a:extLst>
          </p:cNvPr>
          <p:cNvSpPr txBox="1"/>
          <p:nvPr/>
        </p:nvSpPr>
        <p:spPr>
          <a:xfrm>
            <a:off x="561978" y="4202493"/>
            <a:ext cx="477504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450"/>
              </a:spcBef>
            </a:pPr>
            <a:r>
              <a:rPr lang="ru-RU" sz="1350" b="1" dirty="0"/>
              <a:t>Минэкономразвития России </a:t>
            </a:r>
            <a:r>
              <a:rPr lang="ru-RU" sz="1350" dirty="0">
                <a:cs typeface="Times New Roman" panose="02020603050405020304" pitchFamily="18" charset="0"/>
              </a:rPr>
              <a:t>- основной получатель предложений, формируемых участниками Клуб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1DC73FC-50A3-4362-C49D-F86F89192FB8}"/>
              </a:ext>
            </a:extLst>
          </p:cNvPr>
          <p:cNvSpPr txBox="1"/>
          <p:nvPr/>
        </p:nvSpPr>
        <p:spPr>
          <a:xfrm>
            <a:off x="561978" y="3679761"/>
            <a:ext cx="4958377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450"/>
              </a:spcBef>
            </a:pPr>
            <a:r>
              <a:rPr lang="ru-RU" sz="1350" b="1" dirty="0"/>
              <a:t>Росатом </a:t>
            </a:r>
            <a:r>
              <a:rPr lang="ru-RU" sz="1350" dirty="0">
                <a:cs typeface="Times New Roman" panose="02020603050405020304" pitchFamily="18" charset="0"/>
              </a:rPr>
              <a:t>– идеологический инициатор и методическая поддержка</a:t>
            </a:r>
          </a:p>
        </p:txBody>
      </p:sp>
      <p:pic>
        <p:nvPicPr>
          <p:cNvPr id="21" name="Рисунок 20" descr="Значок &quot;Галочка1&quot; со сплошной заливкой">
            <a:extLst>
              <a:ext uri="{FF2B5EF4-FFF2-40B4-BE49-F238E27FC236}">
                <a16:creationId xmlns:a16="http://schemas.microsoft.com/office/drawing/2014/main" id="{558219D1-C53F-8512-4A56-9B7050132E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7897" y="845154"/>
            <a:ext cx="304078" cy="304078"/>
          </a:xfrm>
          <a:prstGeom prst="rect">
            <a:avLst/>
          </a:prstGeom>
        </p:spPr>
      </p:pic>
      <p:pic>
        <p:nvPicPr>
          <p:cNvPr id="22" name="Рисунок 21" descr="Значок &quot;Галочка1&quot; со сплошной заливкой">
            <a:extLst>
              <a:ext uri="{FF2B5EF4-FFF2-40B4-BE49-F238E27FC236}">
                <a16:creationId xmlns:a16="http://schemas.microsoft.com/office/drawing/2014/main" id="{8A114CDC-448D-05ED-6DFA-9AB933A73A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7896" y="1220711"/>
            <a:ext cx="304078" cy="304078"/>
          </a:xfrm>
          <a:prstGeom prst="rect">
            <a:avLst/>
          </a:prstGeom>
        </p:spPr>
      </p:pic>
      <p:pic>
        <p:nvPicPr>
          <p:cNvPr id="23" name="Рисунок 22" descr="Значок &quot;Галочка1&quot; со сплошной заливкой">
            <a:extLst>
              <a:ext uri="{FF2B5EF4-FFF2-40B4-BE49-F238E27FC236}">
                <a16:creationId xmlns:a16="http://schemas.microsoft.com/office/drawing/2014/main" id="{8F10098F-549F-3C76-C397-03F17943B2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1790" y="1848260"/>
            <a:ext cx="304078" cy="304078"/>
          </a:xfrm>
          <a:prstGeom prst="rect">
            <a:avLst/>
          </a:prstGeom>
        </p:spPr>
      </p:pic>
      <p:pic>
        <p:nvPicPr>
          <p:cNvPr id="24" name="Рисунок 23" descr="Значок &quot;Галочка1&quot; со сплошной заливкой">
            <a:extLst>
              <a:ext uri="{FF2B5EF4-FFF2-40B4-BE49-F238E27FC236}">
                <a16:creationId xmlns:a16="http://schemas.microsoft.com/office/drawing/2014/main" id="{5CC89859-7EF0-BCED-42D2-30484ADE5E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7898" y="3312644"/>
            <a:ext cx="304078" cy="304078"/>
          </a:xfrm>
          <a:prstGeom prst="rect">
            <a:avLst/>
          </a:prstGeom>
        </p:spPr>
      </p:pic>
      <p:pic>
        <p:nvPicPr>
          <p:cNvPr id="25" name="Рисунок 24" descr="Значок &quot;Галочка1&quot; со сплошной заливкой">
            <a:extLst>
              <a:ext uri="{FF2B5EF4-FFF2-40B4-BE49-F238E27FC236}">
                <a16:creationId xmlns:a16="http://schemas.microsoft.com/office/drawing/2014/main" id="{FF618FAF-0E64-05BE-8442-F5892A636D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7898" y="3705197"/>
            <a:ext cx="304078" cy="304078"/>
          </a:xfrm>
          <a:prstGeom prst="rect">
            <a:avLst/>
          </a:prstGeom>
        </p:spPr>
      </p:pic>
      <p:pic>
        <p:nvPicPr>
          <p:cNvPr id="26" name="Рисунок 25" descr="Значок &quot;Галочка1&quot; со сплошной заливкой">
            <a:extLst>
              <a:ext uri="{FF2B5EF4-FFF2-40B4-BE49-F238E27FC236}">
                <a16:creationId xmlns:a16="http://schemas.microsoft.com/office/drawing/2014/main" id="{D866905C-A34C-9BB2-82EE-AB353CCEC1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7897" y="4250324"/>
            <a:ext cx="304078" cy="304078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611B240-8FE0-E254-F188-FA95E118607F}"/>
              </a:ext>
            </a:extLst>
          </p:cNvPr>
          <p:cNvSpPr/>
          <p:nvPr/>
        </p:nvSpPr>
        <p:spPr>
          <a:xfrm>
            <a:off x="5955274" y="758047"/>
            <a:ext cx="3042013" cy="4013459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7E828B4-43BF-35C4-C865-1899F0BA61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6555" y="2820346"/>
            <a:ext cx="2743775" cy="182918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A72EC77-90FD-DDEE-9A83-5250A7FC16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06555" y="844693"/>
            <a:ext cx="2743775" cy="182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165388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0" b="84878"/>
          <a:stretch/>
        </p:blipFill>
        <p:spPr>
          <a:xfrm flipV="1">
            <a:off x="0" y="736979"/>
            <a:ext cx="9144000" cy="237835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E865CF1-B444-66C6-6901-CFC3A04AB6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0225" y="86795"/>
            <a:ext cx="1118792" cy="61051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26CAEE6-0852-7AA6-87E7-8280489F81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2230" y="118771"/>
            <a:ext cx="2032253" cy="542205"/>
          </a:xfrm>
          <a:prstGeom prst="rect">
            <a:avLst/>
          </a:prstGeom>
        </p:spPr>
      </p:pic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BBB2BE14-7CC4-89D8-3487-49F08F17595A}"/>
              </a:ext>
            </a:extLst>
          </p:cNvPr>
          <p:cNvCxnSpPr/>
          <p:nvPr/>
        </p:nvCxnSpPr>
        <p:spPr>
          <a:xfrm>
            <a:off x="6878026" y="86796"/>
            <a:ext cx="5195" cy="606158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613263" y="76900"/>
            <a:ext cx="463574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оздана НКО Ассоциация «Бережливых образовательных и научных организаций»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3263" y="1072904"/>
            <a:ext cx="3297435" cy="185480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96373" y="1050815"/>
            <a:ext cx="3402881" cy="191412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96373" y="3072459"/>
            <a:ext cx="3416670" cy="192187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3263" y="3072459"/>
            <a:ext cx="3304595" cy="185883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9754635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 bwMode="auto">
          <a:xfrm>
            <a:off x="175750" y="291415"/>
            <a:ext cx="6597413" cy="7686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defRPr/>
            </a:pPr>
            <a:r>
              <a:rPr lang="ru-RU" sz="1598" b="1" dirty="0">
                <a:latin typeface="Arial"/>
              </a:rPr>
              <a:t>Межрегиональный методологический комитет</a:t>
            </a:r>
            <a:endParaRPr sz="1799" dirty="0"/>
          </a:p>
          <a:p>
            <a:pPr marL="0" lvl="1">
              <a:defRPr/>
            </a:pPr>
            <a:br>
              <a:rPr lang="ru-RU" sz="1199" dirty="0">
                <a:solidFill>
                  <a:prstClr val="black"/>
                </a:solidFill>
                <a:latin typeface="Arial"/>
                <a:ea typeface="Calibri"/>
                <a:cs typeface="Arial"/>
              </a:rPr>
            </a:br>
            <a:endParaRPr lang="ru-RU" sz="1598" b="1" dirty="0">
              <a:latin typeface="Arial"/>
            </a:endParaRPr>
          </a:p>
        </p:txBody>
      </p:sp>
      <p:sp>
        <p:nvSpPr>
          <p:cNvPr id="69" name="TextBox 68"/>
          <p:cNvSpPr txBox="1"/>
          <p:nvPr/>
        </p:nvSpPr>
        <p:spPr bwMode="auto">
          <a:xfrm>
            <a:off x="240825" y="791225"/>
            <a:ext cx="8829443" cy="1005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099">
                <a:cs typeface="Times New Roman"/>
              </a:rPr>
              <a:t>Основная ценность, создаваемая в проекте «Бережливый регион» – это «распечатанные» люди. Люди, осознавшие свои возможности по улучшению не только процессов труда на рабочем месте, но и той жизни, которая их окружает. Люди, готовые поделиться своим опытом, своими достижениями, своим желанием улучшить жизнь.</a:t>
            </a:r>
            <a:endParaRPr sz="1799"/>
          </a:p>
          <a:p>
            <a:pPr>
              <a:lnSpc>
                <a:spcPct val="90000"/>
              </a:lnSpc>
              <a:defRPr/>
            </a:pPr>
            <a:endParaRPr lang="ru-RU" sz="1099">
              <a:cs typeface="Times New Roman"/>
            </a:endParaRPr>
          </a:p>
          <a:p>
            <a:pPr>
              <a:lnSpc>
                <a:spcPct val="90000"/>
              </a:lnSpc>
              <a:defRPr/>
            </a:pPr>
            <a:r>
              <a:rPr lang="ru-RU" sz="1099">
                <a:cs typeface="Times New Roman"/>
              </a:rPr>
              <a:t>Проблема передачи </a:t>
            </a:r>
            <a:r>
              <a:rPr lang="ru-RU" sz="1099" b="1">
                <a:cs typeface="Times New Roman"/>
              </a:rPr>
              <a:t>правильных приемов </a:t>
            </a:r>
            <a:r>
              <a:rPr lang="ru-RU" sz="1099">
                <a:cs typeface="Times New Roman"/>
              </a:rPr>
              <a:t>и </a:t>
            </a:r>
            <a:r>
              <a:rPr lang="ru-RU" sz="1099" b="1">
                <a:cs typeface="Times New Roman"/>
              </a:rPr>
              <a:t>разработки</a:t>
            </a:r>
            <a:r>
              <a:rPr lang="ru-RU" sz="1099">
                <a:cs typeface="Times New Roman"/>
              </a:rPr>
              <a:t> </a:t>
            </a:r>
            <a:r>
              <a:rPr lang="ru-RU" sz="1099" b="1">
                <a:cs typeface="Times New Roman"/>
              </a:rPr>
              <a:t>методологии </a:t>
            </a:r>
            <a:r>
              <a:rPr lang="ru-RU" sz="1099">
                <a:cs typeface="Times New Roman"/>
              </a:rPr>
              <a:t>решается при Координационном комитете Клуба бережливых губернаторов. Межрегиональный методологический комитет (ММК) создан в 2021 году.</a:t>
            </a:r>
            <a:endParaRPr sz="1799"/>
          </a:p>
        </p:txBody>
      </p:sp>
      <p:sp>
        <p:nvSpPr>
          <p:cNvPr id="74" name="TextBox 73"/>
          <p:cNvSpPr txBox="1"/>
          <p:nvPr/>
        </p:nvSpPr>
        <p:spPr bwMode="auto">
          <a:xfrm>
            <a:off x="99176" y="1799847"/>
            <a:ext cx="8945650" cy="152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64868">
              <a:lnSpc>
                <a:spcPct val="90000"/>
              </a:lnSpc>
              <a:spcAft>
                <a:spcPts val="599"/>
              </a:spcAft>
              <a:tabLst>
                <a:tab pos="264868" algn="l"/>
              </a:tabLst>
              <a:defRPr/>
            </a:pPr>
            <a:r>
              <a:rPr lang="ru-RU" sz="1099" b="1">
                <a:cs typeface="Times New Roman"/>
              </a:rPr>
              <a:t>Принцип организации «один регион – один голос». Возглавляет ММК главный методолог ПСР ГК «Росатом»</a:t>
            </a:r>
            <a:endParaRPr sz="1799"/>
          </a:p>
        </p:txBody>
      </p:sp>
      <p:sp>
        <p:nvSpPr>
          <p:cNvPr id="34" name="TextBox 33"/>
          <p:cNvSpPr txBox="1"/>
          <p:nvPr/>
        </p:nvSpPr>
        <p:spPr bwMode="auto">
          <a:xfrm>
            <a:off x="240823" y="2011114"/>
            <a:ext cx="3863777" cy="2291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99" dirty="0">
                <a:cs typeface="Times New Roman"/>
              </a:rPr>
              <a:t>Заседания проводятся заочно и в формате ВКС.</a:t>
            </a:r>
            <a:endParaRPr sz="1799" dirty="0"/>
          </a:p>
          <a:p>
            <a:pPr>
              <a:defRPr/>
            </a:pPr>
            <a:r>
              <a:rPr lang="ru-RU" sz="1099" dirty="0">
                <a:cs typeface="Times New Roman"/>
              </a:rPr>
              <a:t>Разработано и утверждено </a:t>
            </a:r>
            <a:r>
              <a:rPr lang="ru-RU" sz="1099" b="1" dirty="0">
                <a:cs typeface="Times New Roman"/>
              </a:rPr>
              <a:t>9 методик</a:t>
            </a:r>
            <a:r>
              <a:rPr lang="ru-RU" sz="1099" dirty="0">
                <a:cs typeface="Times New Roman"/>
              </a:rPr>
              <a:t>, на их базе разрешено делать региональные версии.</a:t>
            </a:r>
            <a:endParaRPr sz="1799" dirty="0"/>
          </a:p>
          <a:p>
            <a:pPr>
              <a:defRPr/>
            </a:pPr>
            <a:r>
              <a:rPr lang="ru-RU" sz="1099" b="1" dirty="0">
                <a:cs typeface="Times New Roman"/>
              </a:rPr>
              <a:t>Особенности:</a:t>
            </a:r>
            <a:endParaRPr sz="1799" dirty="0"/>
          </a:p>
          <a:p>
            <a:pPr marL="228389" indent="-228389">
              <a:buAutoNum type="arabicPeriod"/>
              <a:defRPr/>
            </a:pPr>
            <a:r>
              <a:rPr lang="ru-RU" sz="1099" dirty="0">
                <a:cs typeface="Times New Roman"/>
              </a:rPr>
              <a:t>К текстовой методике в форме презентации прилагаются </a:t>
            </a:r>
            <a:r>
              <a:rPr lang="ru-RU" sz="1099" b="1" dirty="0">
                <a:cs typeface="Times New Roman"/>
              </a:rPr>
              <a:t>видеокурсы</a:t>
            </a:r>
            <a:r>
              <a:rPr lang="ru-RU" sz="1099" dirty="0">
                <a:cs typeface="Times New Roman"/>
              </a:rPr>
              <a:t> с разъяснением положений методики и примеры бережливых проектов, реализованных с использованием соответствующей методики.</a:t>
            </a:r>
            <a:endParaRPr sz="1799" dirty="0"/>
          </a:p>
          <a:p>
            <a:pPr marL="228389" indent="-228389">
              <a:buFontTx/>
              <a:buAutoNum type="arabicPeriod"/>
              <a:defRPr/>
            </a:pPr>
            <a:r>
              <a:rPr lang="ru-RU" sz="1099" dirty="0">
                <a:cs typeface="Times New Roman"/>
              </a:rPr>
              <a:t>Все методики вместе с видео- и фотоматериалы с лучшими практиками применения методик.</a:t>
            </a:r>
            <a:br>
              <a:rPr lang="ru-RU" sz="1099" dirty="0">
                <a:cs typeface="Times New Roman"/>
              </a:rPr>
            </a:br>
            <a:r>
              <a:rPr lang="ru-RU" sz="1099" dirty="0">
                <a:cs typeface="Times New Roman"/>
              </a:rPr>
              <a:t>размещены в </a:t>
            </a:r>
            <a:r>
              <a:rPr lang="ru-RU" sz="1099" b="1" dirty="0">
                <a:cs typeface="Times New Roman"/>
              </a:rPr>
              <a:t>облачном хранилище</a:t>
            </a:r>
            <a:r>
              <a:rPr lang="ru-RU" sz="1099" dirty="0">
                <a:cs typeface="Times New Roman"/>
              </a:rPr>
              <a:t>.</a:t>
            </a:r>
            <a:endParaRPr sz="1799" dirty="0"/>
          </a:p>
          <a:p>
            <a:pPr marL="228389" indent="-228389">
              <a:buAutoNum type="arabicPeriod"/>
              <a:defRPr/>
            </a:pPr>
            <a:r>
              <a:rPr lang="ru-RU" sz="1099" dirty="0">
                <a:cs typeface="Times New Roman"/>
              </a:rPr>
              <a:t>Доступ в хранилище </a:t>
            </a:r>
            <a:r>
              <a:rPr lang="ru-RU" sz="1099" b="1" dirty="0">
                <a:cs typeface="Times New Roman"/>
              </a:rPr>
              <a:t>открыт для всех регионов</a:t>
            </a:r>
            <a:r>
              <a:rPr lang="ru-RU" sz="1099" dirty="0">
                <a:cs typeface="Times New Roman"/>
              </a:rPr>
              <a:t>, участвующих в проекте «Бережливый регион».</a:t>
            </a:r>
            <a:endParaRPr sz="1799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4234866" y="2060634"/>
            <a:ext cx="2608726" cy="171954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4297089" y="3697495"/>
            <a:ext cx="2484283" cy="125624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7036079" y="2189474"/>
            <a:ext cx="1733244" cy="1709228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 bwMode="auto">
          <a:xfrm>
            <a:off x="6973858" y="4036186"/>
            <a:ext cx="1805302" cy="1999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699" b="1" dirty="0"/>
              <a:t>https://disk.yandex.ru/d/7_QdOdAf-HNl5A</a:t>
            </a:r>
          </a:p>
        </p:txBody>
      </p:sp>
    </p:spTree>
    <p:extLst>
      <p:ext uri="{BB962C8B-B14F-4D97-AF65-F5344CB8AC3E}">
        <p14:creationId xmlns:p14="http://schemas.microsoft.com/office/powerpoint/2010/main" val="24394101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Заголовок 2">
            <a:extLst>
              <a:ext uri="{FF2B5EF4-FFF2-40B4-BE49-F238E27FC236}">
                <a16:creationId xmlns:a16="http://schemas.microsoft.com/office/drawing/2014/main" id="{64425CCB-A088-41B6-87B8-B68DF1EA0909}"/>
              </a:ext>
            </a:extLst>
          </p:cNvPr>
          <p:cNvSpPr txBox="1">
            <a:spLocks/>
          </p:cNvSpPr>
          <p:nvPr/>
        </p:nvSpPr>
        <p:spPr>
          <a:xfrm>
            <a:off x="185825" y="375705"/>
            <a:ext cx="6565798" cy="328931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defTabSz="910915">
              <a:defRPr/>
            </a:pPr>
            <a:r>
              <a:rPr lang="ru-RU" sz="1594" dirty="0">
                <a:solidFill>
                  <a:srgbClr val="E7E6E6">
                    <a:lumMod val="10000"/>
                  </a:srgbClr>
                </a:solidFill>
              </a:rPr>
              <a:t>Ключевые элементы развертывания бережливости в регионе</a:t>
            </a:r>
            <a:endParaRPr lang="ru-RU" sz="1594" b="0" dirty="0">
              <a:solidFill>
                <a:srgbClr val="E7E6E6">
                  <a:lumMod val="10000"/>
                </a:srgbClr>
              </a:solidFill>
            </a:endParaRP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6CE12199-13D6-4702-B518-6C7F9C78CA09}"/>
              </a:ext>
            </a:extLst>
          </p:cNvPr>
          <p:cNvSpPr/>
          <p:nvPr/>
        </p:nvSpPr>
        <p:spPr>
          <a:xfrm>
            <a:off x="566819" y="704637"/>
            <a:ext cx="7754466" cy="3531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0915">
              <a:spcAft>
                <a:spcPts val="1196"/>
              </a:spcAft>
              <a:defRPr/>
            </a:pPr>
            <a:r>
              <a:rPr lang="ru-RU" sz="1196" kern="0" dirty="0">
                <a:solidFill>
                  <a:prstClr val="black"/>
                </a:solidFill>
                <a:latin typeface="Arial"/>
                <a:cs typeface="Arial"/>
              </a:rPr>
              <a:t>Личный стандарт губернатора</a:t>
            </a:r>
          </a:p>
          <a:p>
            <a:pPr defTabSz="910915">
              <a:spcAft>
                <a:spcPts val="1196"/>
              </a:spcAft>
              <a:defRPr/>
            </a:pPr>
            <a:r>
              <a:rPr lang="ru-RU" sz="1196" kern="0" dirty="0">
                <a:solidFill>
                  <a:prstClr val="black"/>
                </a:solidFill>
                <a:latin typeface="Arial"/>
                <a:cs typeface="Arial"/>
              </a:rPr>
              <a:t>Курирующий замгубернатора и коллективный орган (Координационный Совет при губернаторе)</a:t>
            </a:r>
          </a:p>
          <a:p>
            <a:pPr defTabSz="910915">
              <a:spcAft>
                <a:spcPts val="1196"/>
              </a:spcAft>
              <a:defRPr/>
            </a:pPr>
            <a:r>
              <a:rPr lang="ru-RU" sz="1196" kern="0" dirty="0">
                <a:solidFill>
                  <a:prstClr val="black"/>
                </a:solidFill>
                <a:latin typeface="Arial"/>
                <a:cs typeface="Arial"/>
              </a:rPr>
              <a:t>Стратегия системного развития бережливости, утвержденная губернатором</a:t>
            </a:r>
          </a:p>
          <a:p>
            <a:pPr defTabSz="910915">
              <a:spcAft>
                <a:spcPts val="1196"/>
              </a:spcAft>
              <a:defRPr/>
            </a:pPr>
            <a:r>
              <a:rPr lang="ru-RU" sz="1196" kern="0" dirty="0">
                <a:solidFill>
                  <a:srgbClr val="E7E6E6">
                    <a:lumMod val="10000"/>
                  </a:srgbClr>
                </a:solidFill>
                <a:latin typeface="Arial"/>
                <a:cs typeface="Arial"/>
              </a:rPr>
              <a:t>Свой «бережливый» проектный офис (ПО)</a:t>
            </a:r>
            <a:endParaRPr lang="ru-RU" sz="1196" kern="0" dirty="0">
              <a:solidFill>
                <a:prstClr val="black"/>
              </a:solidFill>
              <a:latin typeface="Arial"/>
              <a:cs typeface="Arial"/>
            </a:endParaRPr>
          </a:p>
          <a:p>
            <a:pPr defTabSz="910915">
              <a:spcAft>
                <a:spcPts val="1196"/>
              </a:spcAft>
              <a:defRPr/>
            </a:pPr>
            <a:r>
              <a:rPr lang="ru-RU" sz="1196" kern="0" dirty="0">
                <a:solidFill>
                  <a:prstClr val="black"/>
                </a:solidFill>
                <a:latin typeface="Arial"/>
                <a:cs typeface="Arial"/>
              </a:rPr>
              <a:t>Центры компетенций по базовым отраслям региона</a:t>
            </a:r>
          </a:p>
          <a:p>
            <a:pPr defTabSz="910915">
              <a:spcAft>
                <a:spcPts val="1196"/>
              </a:spcAft>
              <a:defRPr/>
            </a:pPr>
            <a:r>
              <a:rPr lang="ru-RU" sz="1196" kern="0" dirty="0">
                <a:solidFill>
                  <a:prstClr val="black"/>
                </a:solidFill>
                <a:latin typeface="Arial"/>
                <a:cs typeface="Arial"/>
              </a:rPr>
              <a:t>Создание и поддержание образцов (с помощью «Росатома»)</a:t>
            </a:r>
          </a:p>
          <a:p>
            <a:pPr defTabSz="910915">
              <a:spcAft>
                <a:spcPts val="1196"/>
              </a:spcAft>
              <a:defRPr/>
            </a:pPr>
            <a:r>
              <a:rPr lang="ru-RU" sz="1196" kern="0" dirty="0">
                <a:solidFill>
                  <a:prstClr val="black"/>
                </a:solidFill>
                <a:latin typeface="Arial"/>
                <a:cs typeface="Arial"/>
              </a:rPr>
              <a:t>Образовательный модуль, обеспечивающий обучение на образцах и тренировку навыков бережливости (фабрики процессов)</a:t>
            </a:r>
          </a:p>
          <a:p>
            <a:pPr defTabSz="910915">
              <a:spcAft>
                <a:spcPts val="1196"/>
              </a:spcAft>
              <a:defRPr/>
            </a:pPr>
            <a:r>
              <a:rPr lang="ru-RU" sz="1196" kern="0" dirty="0">
                <a:solidFill>
                  <a:prstClr val="black"/>
                </a:solidFill>
                <a:latin typeface="Arial"/>
                <a:cs typeface="Arial"/>
              </a:rPr>
              <a:t>Организация горизонтального взаимодействия по обмену опытом между коллективами </a:t>
            </a:r>
            <a:br>
              <a:rPr lang="ru-RU" sz="1196" kern="0" dirty="0">
                <a:solidFill>
                  <a:prstClr val="black"/>
                </a:solidFill>
                <a:latin typeface="Arial"/>
                <a:cs typeface="Arial"/>
              </a:rPr>
            </a:br>
            <a:r>
              <a:rPr lang="ru-RU" sz="1196" kern="0" dirty="0">
                <a:solidFill>
                  <a:prstClr val="black"/>
                </a:solidFill>
                <a:latin typeface="Arial"/>
                <a:cs typeface="Arial"/>
              </a:rPr>
              <a:t>и организациями в каждой отрасли и между регионами</a:t>
            </a:r>
          </a:p>
          <a:p>
            <a:pPr defTabSz="910915">
              <a:spcAft>
                <a:spcPts val="1196"/>
              </a:spcAft>
              <a:defRPr/>
            </a:pPr>
            <a:r>
              <a:rPr lang="ru-RU" sz="1196" kern="0" dirty="0">
                <a:solidFill>
                  <a:prstClr val="black"/>
                </a:solidFill>
                <a:latin typeface="Arial"/>
                <a:cs typeface="Arial"/>
              </a:rPr>
              <a:t>Проведение ежегодной соревновательной кампании горизонтальных партнерских проверок, рейтингования, определения по категориям: лидер, кандидат, резерв</a:t>
            </a: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9F27535D-0AB5-4474-834E-B8E2A8D1432A}"/>
              </a:ext>
            </a:extLst>
          </p:cNvPr>
          <p:cNvSpPr/>
          <p:nvPr/>
        </p:nvSpPr>
        <p:spPr>
          <a:xfrm>
            <a:off x="291916" y="737217"/>
            <a:ext cx="215171" cy="21517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915">
              <a:defRPr/>
            </a:pPr>
            <a:r>
              <a:rPr lang="ru-RU" sz="1395" b="1" kern="0" dirty="0">
                <a:solidFill>
                  <a:prstClr val="white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67817E3B-1E6C-4EB3-8392-801EF57139B1}"/>
              </a:ext>
            </a:extLst>
          </p:cNvPr>
          <p:cNvSpPr/>
          <p:nvPr/>
        </p:nvSpPr>
        <p:spPr>
          <a:xfrm>
            <a:off x="291916" y="1071842"/>
            <a:ext cx="215171" cy="21517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915">
              <a:defRPr/>
            </a:pPr>
            <a:r>
              <a:rPr lang="ru-RU" sz="1395" b="1" kern="0" dirty="0">
                <a:solidFill>
                  <a:prstClr val="white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EC322731-432D-4C83-B8A0-9C41177F81F8}"/>
              </a:ext>
            </a:extLst>
          </p:cNvPr>
          <p:cNvSpPr/>
          <p:nvPr/>
        </p:nvSpPr>
        <p:spPr>
          <a:xfrm>
            <a:off x="291916" y="1403115"/>
            <a:ext cx="215171" cy="21517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915">
              <a:defRPr/>
            </a:pPr>
            <a:r>
              <a:rPr lang="ru-RU" sz="1395" b="1" kern="0" dirty="0">
                <a:solidFill>
                  <a:prstClr val="white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23E1DDB0-48EB-4AC7-B856-EDC70BEA15EF}"/>
              </a:ext>
            </a:extLst>
          </p:cNvPr>
          <p:cNvSpPr/>
          <p:nvPr/>
        </p:nvSpPr>
        <p:spPr>
          <a:xfrm>
            <a:off x="291916" y="1747502"/>
            <a:ext cx="215171" cy="21517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915">
              <a:defRPr/>
            </a:pPr>
            <a:r>
              <a:rPr lang="ru-RU" sz="1395" b="1" kern="0" dirty="0">
                <a:solidFill>
                  <a:prstClr val="white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D17E164A-55FA-467F-871D-23E2CB25648B}"/>
              </a:ext>
            </a:extLst>
          </p:cNvPr>
          <p:cNvSpPr/>
          <p:nvPr/>
        </p:nvSpPr>
        <p:spPr>
          <a:xfrm>
            <a:off x="291916" y="2091888"/>
            <a:ext cx="215171" cy="21517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915">
              <a:defRPr/>
            </a:pPr>
            <a:r>
              <a:rPr lang="ru-RU" sz="1395" b="1" kern="0" dirty="0">
                <a:solidFill>
                  <a:prstClr val="white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3CE74226-391A-420D-B009-40D0EB6A8742}"/>
              </a:ext>
            </a:extLst>
          </p:cNvPr>
          <p:cNvSpPr/>
          <p:nvPr/>
        </p:nvSpPr>
        <p:spPr>
          <a:xfrm>
            <a:off x="291916" y="2436276"/>
            <a:ext cx="215171" cy="21517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915">
              <a:defRPr/>
            </a:pPr>
            <a:r>
              <a:rPr lang="ru-RU" sz="1395" b="1" kern="0" dirty="0">
                <a:solidFill>
                  <a:prstClr val="white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7E3DD399-079A-4A71-B6EC-5F6DE4DD1157}"/>
              </a:ext>
            </a:extLst>
          </p:cNvPr>
          <p:cNvSpPr/>
          <p:nvPr/>
        </p:nvSpPr>
        <p:spPr>
          <a:xfrm>
            <a:off x="291916" y="2788686"/>
            <a:ext cx="215171" cy="21517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915">
              <a:defRPr/>
            </a:pPr>
            <a:r>
              <a:rPr lang="ru-RU" sz="1395" b="1" kern="0" dirty="0">
                <a:solidFill>
                  <a:prstClr val="white"/>
                </a:solidFill>
                <a:latin typeface="Arial"/>
                <a:cs typeface="Arial"/>
              </a:rPr>
              <a:t>7</a:t>
            </a: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EA00CFB3-718D-4C26-B791-49DA301725F4}"/>
              </a:ext>
            </a:extLst>
          </p:cNvPr>
          <p:cNvSpPr/>
          <p:nvPr/>
        </p:nvSpPr>
        <p:spPr>
          <a:xfrm>
            <a:off x="291916" y="3314016"/>
            <a:ext cx="215171" cy="21517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915">
              <a:defRPr/>
            </a:pPr>
            <a:r>
              <a:rPr lang="ru-RU" sz="1395" b="1" kern="0" dirty="0">
                <a:solidFill>
                  <a:prstClr val="white"/>
                </a:solidFill>
                <a:latin typeface="Arial"/>
                <a:cs typeface="Arial"/>
              </a:rPr>
              <a:t>8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28689CE1-CA37-46C2-8541-C6B46E021AD7}"/>
              </a:ext>
            </a:extLst>
          </p:cNvPr>
          <p:cNvSpPr/>
          <p:nvPr/>
        </p:nvSpPr>
        <p:spPr>
          <a:xfrm>
            <a:off x="291916" y="3839347"/>
            <a:ext cx="215171" cy="21517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0915">
              <a:defRPr/>
            </a:pPr>
            <a:r>
              <a:rPr lang="ru-RU" sz="1395" b="1" kern="0" dirty="0">
                <a:solidFill>
                  <a:prstClr val="white"/>
                </a:solidFill>
                <a:latin typeface="Arial"/>
                <a:cs typeface="Arial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01546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288772" y="4210851"/>
            <a:ext cx="2563292" cy="851480"/>
          </a:xfrm>
          <a:custGeom>
            <a:avLst/>
            <a:gdLst/>
            <a:ahLst/>
            <a:cxnLst/>
            <a:rect l="l" t="t" r="r" b="b"/>
            <a:pathLst>
              <a:path w="5147945" h="1710054">
                <a:moveTo>
                  <a:pt x="0" y="1709464"/>
                </a:moveTo>
                <a:lnTo>
                  <a:pt x="5147751" y="1709464"/>
                </a:lnTo>
                <a:lnTo>
                  <a:pt x="5147751" y="0"/>
                </a:lnTo>
                <a:lnTo>
                  <a:pt x="0" y="0"/>
                </a:lnTo>
                <a:lnTo>
                  <a:pt x="0" y="1709464"/>
                </a:lnTo>
                <a:close/>
              </a:path>
            </a:pathLst>
          </a:custGeom>
          <a:solidFill>
            <a:srgbClr val="C4C4C5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896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288772" y="1207459"/>
            <a:ext cx="2563292" cy="2981356"/>
          </a:xfrm>
          <a:custGeom>
            <a:avLst/>
            <a:gdLst/>
            <a:ahLst/>
            <a:cxnLst/>
            <a:rect l="l" t="t" r="r" b="b"/>
            <a:pathLst>
              <a:path w="5147945" h="4285615">
                <a:moveTo>
                  <a:pt x="0" y="4285043"/>
                </a:moveTo>
                <a:lnTo>
                  <a:pt x="5147751" y="4285043"/>
                </a:lnTo>
                <a:lnTo>
                  <a:pt x="5147751" y="0"/>
                </a:lnTo>
                <a:lnTo>
                  <a:pt x="0" y="0"/>
                </a:lnTo>
                <a:lnTo>
                  <a:pt x="0" y="4285043"/>
                </a:lnTo>
                <a:close/>
              </a:path>
            </a:pathLst>
          </a:custGeom>
          <a:solidFill>
            <a:srgbClr val="C4C4C5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896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" y="9925"/>
            <a:ext cx="9140738" cy="962175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523192" y="168225"/>
            <a:ext cx="5464268" cy="596291"/>
          </a:xfrm>
          <a:prstGeom prst="rect">
            <a:avLst/>
          </a:prstGeom>
        </p:spPr>
        <p:txBody>
          <a:bodyPr vert="horz" wrap="square" lIns="0" tIns="6324" rIns="0" bIns="0" rtlCol="0">
            <a:spAutoFit/>
          </a:bodyPr>
          <a:lstStyle/>
          <a:p>
            <a:pPr marL="6324">
              <a:lnSpc>
                <a:spcPts val="2340"/>
              </a:lnSpc>
              <a:spcBef>
                <a:spcPts val="50"/>
              </a:spcBef>
            </a:pPr>
            <a:r>
              <a:rPr sz="2100" spc="-1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2100" spc="-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2100" spc="-7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ь</a:t>
            </a:r>
            <a:r>
              <a:rPr sz="2100" spc="-12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100" spc="-62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идательного труда</a:t>
            </a:r>
            <a:endParaRPr sz="2100" spc="-104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24">
              <a:lnSpc>
                <a:spcPts val="2340"/>
              </a:lnSpc>
            </a:pPr>
            <a:r>
              <a:rPr sz="2100" spc="-112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</a:t>
            </a:r>
            <a:r>
              <a:rPr sz="2100" spc="-11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100" spc="-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ципах</a:t>
            </a:r>
            <a:r>
              <a:rPr sz="2100" spc="-11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100" spc="-83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жливого</a:t>
            </a:r>
            <a:r>
              <a:rPr sz="2100" spc="-11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100" spc="-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</a:t>
            </a:r>
          </a:p>
        </p:txBody>
      </p:sp>
      <p:sp>
        <p:nvSpPr>
          <p:cNvPr id="6" name="object 6"/>
          <p:cNvSpPr/>
          <p:nvPr/>
        </p:nvSpPr>
        <p:spPr>
          <a:xfrm>
            <a:off x="7348501" y="364652"/>
            <a:ext cx="1254929" cy="252946"/>
          </a:xfrm>
          <a:custGeom>
            <a:avLst/>
            <a:gdLst/>
            <a:ahLst/>
            <a:cxnLst/>
            <a:rect l="l" t="t" r="r" b="b"/>
            <a:pathLst>
              <a:path w="2520315" h="508000">
                <a:moveTo>
                  <a:pt x="122301" y="262851"/>
                </a:moveTo>
                <a:lnTo>
                  <a:pt x="99263" y="220002"/>
                </a:lnTo>
                <a:lnTo>
                  <a:pt x="70294" y="191084"/>
                </a:lnTo>
                <a:lnTo>
                  <a:pt x="40728" y="173697"/>
                </a:lnTo>
                <a:lnTo>
                  <a:pt x="15925" y="165442"/>
                </a:lnTo>
                <a:lnTo>
                  <a:pt x="4279" y="207543"/>
                </a:lnTo>
                <a:lnTo>
                  <a:pt x="0" y="251129"/>
                </a:lnTo>
                <a:lnTo>
                  <a:pt x="3352" y="295173"/>
                </a:lnTo>
                <a:lnTo>
                  <a:pt x="14630" y="338696"/>
                </a:lnTo>
                <a:lnTo>
                  <a:pt x="34099" y="380695"/>
                </a:lnTo>
                <a:lnTo>
                  <a:pt x="67424" y="425970"/>
                </a:lnTo>
                <a:lnTo>
                  <a:pt x="108534" y="461797"/>
                </a:lnTo>
                <a:lnTo>
                  <a:pt x="92925" y="433082"/>
                </a:lnTo>
                <a:lnTo>
                  <a:pt x="84505" y="400964"/>
                </a:lnTo>
                <a:lnTo>
                  <a:pt x="89065" y="332384"/>
                </a:lnTo>
                <a:lnTo>
                  <a:pt x="111163" y="280479"/>
                </a:lnTo>
                <a:lnTo>
                  <a:pt x="122301" y="262851"/>
                </a:lnTo>
                <a:close/>
              </a:path>
              <a:path w="2520315" h="508000">
                <a:moveTo>
                  <a:pt x="257873" y="77114"/>
                </a:moveTo>
                <a:lnTo>
                  <a:pt x="223075" y="51485"/>
                </a:lnTo>
                <a:lnTo>
                  <a:pt x="183286" y="36944"/>
                </a:lnTo>
                <a:lnTo>
                  <a:pt x="141617" y="35991"/>
                </a:lnTo>
                <a:lnTo>
                  <a:pt x="101180" y="51181"/>
                </a:lnTo>
                <a:lnTo>
                  <a:pt x="76403" y="72478"/>
                </a:lnTo>
                <a:lnTo>
                  <a:pt x="54559" y="96761"/>
                </a:lnTo>
                <a:lnTo>
                  <a:pt x="35953" y="123723"/>
                </a:lnTo>
                <a:lnTo>
                  <a:pt x="20904" y="153035"/>
                </a:lnTo>
                <a:lnTo>
                  <a:pt x="43446" y="160477"/>
                </a:lnTo>
                <a:lnTo>
                  <a:pt x="74637" y="177634"/>
                </a:lnTo>
                <a:lnTo>
                  <a:pt x="107302" y="208470"/>
                </a:lnTo>
                <a:lnTo>
                  <a:pt x="134277" y="256971"/>
                </a:lnTo>
                <a:lnTo>
                  <a:pt x="142468" y="252971"/>
                </a:lnTo>
                <a:lnTo>
                  <a:pt x="152958" y="243738"/>
                </a:lnTo>
                <a:lnTo>
                  <a:pt x="164261" y="227126"/>
                </a:lnTo>
                <a:lnTo>
                  <a:pt x="174879" y="200939"/>
                </a:lnTo>
                <a:lnTo>
                  <a:pt x="189280" y="162864"/>
                </a:lnTo>
                <a:lnTo>
                  <a:pt x="208203" y="127901"/>
                </a:lnTo>
                <a:lnTo>
                  <a:pt x="231203" y="98513"/>
                </a:lnTo>
                <a:lnTo>
                  <a:pt x="257873" y="77114"/>
                </a:lnTo>
                <a:close/>
              </a:path>
              <a:path w="2520315" h="508000">
                <a:moveTo>
                  <a:pt x="307073" y="253822"/>
                </a:moveTo>
                <a:lnTo>
                  <a:pt x="302895" y="233083"/>
                </a:lnTo>
                <a:lnTo>
                  <a:pt x="291477" y="216128"/>
                </a:lnTo>
                <a:lnTo>
                  <a:pt x="274548" y="204685"/>
                </a:lnTo>
                <a:lnTo>
                  <a:pt x="253822" y="200469"/>
                </a:lnTo>
                <a:lnTo>
                  <a:pt x="233070" y="204647"/>
                </a:lnTo>
                <a:lnTo>
                  <a:pt x="216115" y="216052"/>
                </a:lnTo>
                <a:lnTo>
                  <a:pt x="204660" y="232981"/>
                </a:lnTo>
                <a:lnTo>
                  <a:pt x="200456" y="253733"/>
                </a:lnTo>
                <a:lnTo>
                  <a:pt x="204635" y="274497"/>
                </a:lnTo>
                <a:lnTo>
                  <a:pt x="216039" y="291452"/>
                </a:lnTo>
                <a:lnTo>
                  <a:pt x="232981" y="302882"/>
                </a:lnTo>
                <a:lnTo>
                  <a:pt x="253720" y="307086"/>
                </a:lnTo>
                <a:lnTo>
                  <a:pt x="274459" y="302920"/>
                </a:lnTo>
                <a:lnTo>
                  <a:pt x="291414" y="291515"/>
                </a:lnTo>
                <a:lnTo>
                  <a:pt x="302856" y="274586"/>
                </a:lnTo>
                <a:lnTo>
                  <a:pt x="307073" y="253822"/>
                </a:lnTo>
                <a:close/>
              </a:path>
              <a:path w="2520315" h="508000">
                <a:moveTo>
                  <a:pt x="316979" y="355892"/>
                </a:moveTo>
                <a:lnTo>
                  <a:pt x="309410" y="350824"/>
                </a:lnTo>
                <a:lnTo>
                  <a:pt x="296164" y="346367"/>
                </a:lnTo>
                <a:lnTo>
                  <a:pt x="276098" y="344906"/>
                </a:lnTo>
                <a:lnTo>
                  <a:pt x="248069" y="348818"/>
                </a:lnTo>
                <a:lnTo>
                  <a:pt x="207835" y="355396"/>
                </a:lnTo>
                <a:lnTo>
                  <a:pt x="168059" y="356527"/>
                </a:lnTo>
                <a:lnTo>
                  <a:pt x="131051" y="351332"/>
                </a:lnTo>
                <a:lnTo>
                  <a:pt x="99148" y="338975"/>
                </a:lnTo>
                <a:lnTo>
                  <a:pt x="94322" y="381876"/>
                </a:lnTo>
                <a:lnTo>
                  <a:pt x="101600" y="423545"/>
                </a:lnTo>
                <a:lnTo>
                  <a:pt x="121602" y="460044"/>
                </a:lnTo>
                <a:lnTo>
                  <a:pt x="155003" y="487413"/>
                </a:lnTo>
                <a:lnTo>
                  <a:pt x="217868" y="504926"/>
                </a:lnTo>
                <a:lnTo>
                  <a:pt x="250545" y="507530"/>
                </a:lnTo>
                <a:lnTo>
                  <a:pt x="283502" y="505891"/>
                </a:lnTo>
                <a:lnTo>
                  <a:pt x="278676" y="482676"/>
                </a:lnTo>
                <a:lnTo>
                  <a:pt x="277977" y="447141"/>
                </a:lnTo>
                <a:lnTo>
                  <a:pt x="288404" y="403479"/>
                </a:lnTo>
                <a:lnTo>
                  <a:pt x="316598" y="356527"/>
                </a:lnTo>
                <a:lnTo>
                  <a:pt x="316979" y="355892"/>
                </a:lnTo>
                <a:close/>
              </a:path>
              <a:path w="2520315" h="508000">
                <a:moveTo>
                  <a:pt x="450037" y="91922"/>
                </a:moveTo>
                <a:lnTo>
                  <a:pt x="430072" y="71691"/>
                </a:lnTo>
                <a:lnTo>
                  <a:pt x="419328" y="60794"/>
                </a:lnTo>
                <a:lnTo>
                  <a:pt x="383667" y="35306"/>
                </a:lnTo>
                <a:lnTo>
                  <a:pt x="343763" y="16192"/>
                </a:lnTo>
                <a:lnTo>
                  <a:pt x="300393" y="4178"/>
                </a:lnTo>
                <a:lnTo>
                  <a:pt x="254254" y="0"/>
                </a:lnTo>
                <a:lnTo>
                  <a:pt x="225806" y="1574"/>
                </a:lnTo>
                <a:lnTo>
                  <a:pt x="198272" y="6184"/>
                </a:lnTo>
                <a:lnTo>
                  <a:pt x="171831" y="13652"/>
                </a:lnTo>
                <a:lnTo>
                  <a:pt x="146646" y="23812"/>
                </a:lnTo>
                <a:lnTo>
                  <a:pt x="179349" y="24663"/>
                </a:lnTo>
                <a:lnTo>
                  <a:pt x="211429" y="33451"/>
                </a:lnTo>
                <a:lnTo>
                  <a:pt x="241592" y="49390"/>
                </a:lnTo>
                <a:lnTo>
                  <a:pt x="268605" y="71704"/>
                </a:lnTo>
                <a:lnTo>
                  <a:pt x="280746" y="84937"/>
                </a:lnTo>
                <a:lnTo>
                  <a:pt x="292087" y="99974"/>
                </a:lnTo>
                <a:lnTo>
                  <a:pt x="302615" y="116738"/>
                </a:lnTo>
                <a:lnTo>
                  <a:pt x="312343" y="135191"/>
                </a:lnTo>
                <a:lnTo>
                  <a:pt x="361022" y="136702"/>
                </a:lnTo>
                <a:lnTo>
                  <a:pt x="400596" y="126111"/>
                </a:lnTo>
                <a:lnTo>
                  <a:pt x="430466" y="109245"/>
                </a:lnTo>
                <a:lnTo>
                  <a:pt x="450037" y="91922"/>
                </a:lnTo>
                <a:close/>
              </a:path>
              <a:path w="2520315" h="508000">
                <a:moveTo>
                  <a:pt x="484962" y="148475"/>
                </a:moveTo>
                <a:lnTo>
                  <a:pt x="476199" y="130098"/>
                </a:lnTo>
                <a:lnTo>
                  <a:pt x="458304" y="102425"/>
                </a:lnTo>
                <a:lnTo>
                  <a:pt x="440575" y="118211"/>
                </a:lnTo>
                <a:lnTo>
                  <a:pt x="410095" y="136588"/>
                </a:lnTo>
                <a:lnTo>
                  <a:pt x="370116" y="148475"/>
                </a:lnTo>
                <a:lnTo>
                  <a:pt x="484962" y="148475"/>
                </a:lnTo>
                <a:close/>
              </a:path>
              <a:path w="2520315" h="508000">
                <a:moveTo>
                  <a:pt x="506526" y="222758"/>
                </a:moveTo>
                <a:lnTo>
                  <a:pt x="500430" y="190690"/>
                </a:lnTo>
                <a:lnTo>
                  <a:pt x="490283" y="159664"/>
                </a:lnTo>
                <a:lnTo>
                  <a:pt x="485394" y="149402"/>
                </a:lnTo>
                <a:lnTo>
                  <a:pt x="367004" y="149402"/>
                </a:lnTo>
                <a:lnTo>
                  <a:pt x="311378" y="149402"/>
                </a:lnTo>
                <a:lnTo>
                  <a:pt x="322351" y="189318"/>
                </a:lnTo>
                <a:lnTo>
                  <a:pt x="365582" y="243090"/>
                </a:lnTo>
                <a:lnTo>
                  <a:pt x="386448" y="276923"/>
                </a:lnTo>
                <a:lnTo>
                  <a:pt x="400456" y="311505"/>
                </a:lnTo>
                <a:lnTo>
                  <a:pt x="405688" y="345262"/>
                </a:lnTo>
                <a:lnTo>
                  <a:pt x="445300" y="327990"/>
                </a:lnTo>
                <a:lnTo>
                  <a:pt x="477824" y="300863"/>
                </a:lnTo>
                <a:lnTo>
                  <a:pt x="499491" y="265315"/>
                </a:lnTo>
                <a:lnTo>
                  <a:pt x="506526" y="222758"/>
                </a:lnTo>
                <a:close/>
              </a:path>
              <a:path w="2520315" h="508000">
                <a:moveTo>
                  <a:pt x="507542" y="275755"/>
                </a:moveTo>
                <a:lnTo>
                  <a:pt x="490435" y="303593"/>
                </a:lnTo>
                <a:lnTo>
                  <a:pt x="466775" y="326936"/>
                </a:lnTo>
                <a:lnTo>
                  <a:pt x="437870" y="345046"/>
                </a:lnTo>
                <a:lnTo>
                  <a:pt x="405003" y="357251"/>
                </a:lnTo>
                <a:lnTo>
                  <a:pt x="387451" y="361137"/>
                </a:lnTo>
                <a:lnTo>
                  <a:pt x="368744" y="363410"/>
                </a:lnTo>
                <a:lnTo>
                  <a:pt x="348932" y="364134"/>
                </a:lnTo>
                <a:lnTo>
                  <a:pt x="328066" y="363321"/>
                </a:lnTo>
                <a:lnTo>
                  <a:pt x="302412" y="404660"/>
                </a:lnTo>
                <a:lnTo>
                  <a:pt x="291807" y="444169"/>
                </a:lnTo>
                <a:lnTo>
                  <a:pt x="291503" y="478421"/>
                </a:lnTo>
                <a:lnTo>
                  <a:pt x="296748" y="503986"/>
                </a:lnTo>
                <a:lnTo>
                  <a:pt x="339102" y="493014"/>
                </a:lnTo>
                <a:lnTo>
                  <a:pt x="379044" y="474916"/>
                </a:lnTo>
                <a:lnTo>
                  <a:pt x="415582" y="449986"/>
                </a:lnTo>
                <a:lnTo>
                  <a:pt x="447700" y="418490"/>
                </a:lnTo>
                <a:lnTo>
                  <a:pt x="474395" y="380657"/>
                </a:lnTo>
                <a:lnTo>
                  <a:pt x="497014" y="329209"/>
                </a:lnTo>
                <a:lnTo>
                  <a:pt x="503758" y="302615"/>
                </a:lnTo>
                <a:lnTo>
                  <a:pt x="507542" y="275755"/>
                </a:lnTo>
                <a:close/>
              </a:path>
              <a:path w="2520315" h="508000">
                <a:moveTo>
                  <a:pt x="815987" y="209435"/>
                </a:moveTo>
                <a:lnTo>
                  <a:pt x="815505" y="198335"/>
                </a:lnTo>
                <a:lnTo>
                  <a:pt x="814070" y="187985"/>
                </a:lnTo>
                <a:lnTo>
                  <a:pt x="811669" y="178371"/>
                </a:lnTo>
                <a:lnTo>
                  <a:pt x="808685" y="170446"/>
                </a:lnTo>
                <a:lnTo>
                  <a:pt x="808329" y="169494"/>
                </a:lnTo>
                <a:lnTo>
                  <a:pt x="778814" y="136486"/>
                </a:lnTo>
                <a:lnTo>
                  <a:pt x="756729" y="126885"/>
                </a:lnTo>
                <a:lnTo>
                  <a:pt x="756729" y="211734"/>
                </a:lnTo>
                <a:lnTo>
                  <a:pt x="755815" y="221729"/>
                </a:lnTo>
                <a:lnTo>
                  <a:pt x="724814" y="250863"/>
                </a:lnTo>
                <a:lnTo>
                  <a:pt x="701687" y="253390"/>
                </a:lnTo>
                <a:lnTo>
                  <a:pt x="670344" y="253390"/>
                </a:lnTo>
                <a:lnTo>
                  <a:pt x="670344" y="170446"/>
                </a:lnTo>
                <a:lnTo>
                  <a:pt x="702068" y="170446"/>
                </a:lnTo>
                <a:lnTo>
                  <a:pt x="742581" y="179806"/>
                </a:lnTo>
                <a:lnTo>
                  <a:pt x="756729" y="211734"/>
                </a:lnTo>
                <a:lnTo>
                  <a:pt x="756729" y="126885"/>
                </a:lnTo>
                <a:lnTo>
                  <a:pt x="718578" y="120332"/>
                </a:lnTo>
                <a:lnTo>
                  <a:pt x="706272" y="119989"/>
                </a:lnTo>
                <a:lnTo>
                  <a:pt x="614146" y="119989"/>
                </a:lnTo>
                <a:lnTo>
                  <a:pt x="614146" y="387565"/>
                </a:lnTo>
                <a:lnTo>
                  <a:pt x="671487" y="387565"/>
                </a:lnTo>
                <a:lnTo>
                  <a:pt x="671487" y="303847"/>
                </a:lnTo>
                <a:lnTo>
                  <a:pt x="700925" y="303847"/>
                </a:lnTo>
                <a:lnTo>
                  <a:pt x="749084" y="297548"/>
                </a:lnTo>
                <a:lnTo>
                  <a:pt x="785406" y="279196"/>
                </a:lnTo>
                <a:lnTo>
                  <a:pt x="806170" y="253390"/>
                </a:lnTo>
                <a:lnTo>
                  <a:pt x="808139" y="249580"/>
                </a:lnTo>
                <a:lnTo>
                  <a:pt x="811568" y="240474"/>
                </a:lnTo>
                <a:lnTo>
                  <a:pt x="814019" y="230746"/>
                </a:lnTo>
                <a:lnTo>
                  <a:pt x="815492" y="220408"/>
                </a:lnTo>
                <a:lnTo>
                  <a:pt x="815987" y="209435"/>
                </a:lnTo>
                <a:close/>
              </a:path>
              <a:path w="2520315" h="508000">
                <a:moveTo>
                  <a:pt x="1118323" y="253784"/>
                </a:moveTo>
                <a:lnTo>
                  <a:pt x="1113383" y="209156"/>
                </a:lnTo>
                <a:lnTo>
                  <a:pt x="1098791" y="172072"/>
                </a:lnTo>
                <a:lnTo>
                  <a:pt x="1065580" y="136575"/>
                </a:lnTo>
                <a:lnTo>
                  <a:pt x="1057554" y="131838"/>
                </a:lnTo>
                <a:lnTo>
                  <a:pt x="1057554" y="253784"/>
                </a:lnTo>
                <a:lnTo>
                  <a:pt x="1057249" y="264680"/>
                </a:lnTo>
                <a:lnTo>
                  <a:pt x="1046988" y="307822"/>
                </a:lnTo>
                <a:lnTo>
                  <a:pt x="1018184" y="336346"/>
                </a:lnTo>
                <a:lnTo>
                  <a:pt x="991425" y="341693"/>
                </a:lnTo>
                <a:lnTo>
                  <a:pt x="984084" y="341363"/>
                </a:lnTo>
                <a:lnTo>
                  <a:pt x="945959" y="325196"/>
                </a:lnTo>
                <a:lnTo>
                  <a:pt x="925868" y="292773"/>
                </a:lnTo>
                <a:lnTo>
                  <a:pt x="920330" y="253784"/>
                </a:lnTo>
                <a:lnTo>
                  <a:pt x="920648" y="243039"/>
                </a:lnTo>
                <a:lnTo>
                  <a:pt x="931646" y="199783"/>
                </a:lnTo>
                <a:lnTo>
                  <a:pt x="961415" y="171208"/>
                </a:lnTo>
                <a:lnTo>
                  <a:pt x="987983" y="165862"/>
                </a:lnTo>
                <a:lnTo>
                  <a:pt x="1002931" y="167195"/>
                </a:lnTo>
                <a:lnTo>
                  <a:pt x="1038440" y="187071"/>
                </a:lnTo>
                <a:lnTo>
                  <a:pt x="1056360" y="232549"/>
                </a:lnTo>
                <a:lnTo>
                  <a:pt x="1057554" y="253784"/>
                </a:lnTo>
                <a:lnTo>
                  <a:pt x="1057554" y="131838"/>
                </a:lnTo>
                <a:lnTo>
                  <a:pt x="1017270" y="117792"/>
                </a:lnTo>
                <a:lnTo>
                  <a:pt x="987983" y="115404"/>
                </a:lnTo>
                <a:lnTo>
                  <a:pt x="974471" y="115976"/>
                </a:lnTo>
                <a:lnTo>
                  <a:pt x="936955" y="124396"/>
                </a:lnTo>
                <a:lnTo>
                  <a:pt x="896239" y="150952"/>
                </a:lnTo>
                <a:lnTo>
                  <a:pt x="869302" y="194335"/>
                </a:lnTo>
                <a:lnTo>
                  <a:pt x="860158" y="237451"/>
                </a:lnTo>
                <a:lnTo>
                  <a:pt x="859548" y="253784"/>
                </a:lnTo>
                <a:lnTo>
                  <a:pt x="860132" y="270103"/>
                </a:lnTo>
                <a:lnTo>
                  <a:pt x="868908" y="313207"/>
                </a:lnTo>
                <a:lnTo>
                  <a:pt x="887374" y="347294"/>
                </a:lnTo>
                <a:lnTo>
                  <a:pt x="925042" y="378142"/>
                </a:lnTo>
                <a:lnTo>
                  <a:pt x="961745" y="389902"/>
                </a:lnTo>
                <a:lnTo>
                  <a:pt x="989507" y="392150"/>
                </a:lnTo>
                <a:lnTo>
                  <a:pt x="1003020" y="391642"/>
                </a:lnTo>
                <a:lnTo>
                  <a:pt x="1040549" y="383933"/>
                </a:lnTo>
                <a:lnTo>
                  <a:pt x="1081443" y="358698"/>
                </a:lnTo>
                <a:lnTo>
                  <a:pt x="1095298" y="341693"/>
                </a:lnTo>
                <a:lnTo>
                  <a:pt x="1096924" y="339407"/>
                </a:lnTo>
                <a:lnTo>
                  <a:pt x="1112850" y="301828"/>
                </a:lnTo>
                <a:lnTo>
                  <a:pt x="1117714" y="270967"/>
                </a:lnTo>
                <a:lnTo>
                  <a:pt x="1118323" y="253784"/>
                </a:lnTo>
                <a:close/>
              </a:path>
              <a:path w="2520315" h="508000">
                <a:moveTo>
                  <a:pt x="1375968" y="128016"/>
                </a:moveTo>
                <a:lnTo>
                  <a:pt x="1338897" y="117563"/>
                </a:lnTo>
                <a:lnTo>
                  <a:pt x="1308696" y="115404"/>
                </a:lnTo>
                <a:lnTo>
                  <a:pt x="1292669" y="115976"/>
                </a:lnTo>
                <a:lnTo>
                  <a:pt x="1249629" y="124587"/>
                </a:lnTo>
                <a:lnTo>
                  <a:pt x="1214767" y="143294"/>
                </a:lnTo>
                <a:lnTo>
                  <a:pt x="1188897" y="171831"/>
                </a:lnTo>
                <a:lnTo>
                  <a:pt x="1172743" y="210019"/>
                </a:lnTo>
                <a:lnTo>
                  <a:pt x="1167257" y="257225"/>
                </a:lnTo>
                <a:lnTo>
                  <a:pt x="1167866" y="273177"/>
                </a:lnTo>
                <a:lnTo>
                  <a:pt x="1177010" y="315315"/>
                </a:lnTo>
                <a:lnTo>
                  <a:pt x="1196136" y="348538"/>
                </a:lnTo>
                <a:lnTo>
                  <a:pt x="1235278" y="378447"/>
                </a:lnTo>
                <a:lnTo>
                  <a:pt x="1273759" y="389953"/>
                </a:lnTo>
                <a:lnTo>
                  <a:pt x="1302956" y="392150"/>
                </a:lnTo>
                <a:lnTo>
                  <a:pt x="1310005" y="392061"/>
                </a:lnTo>
                <a:lnTo>
                  <a:pt x="1354366" y="385699"/>
                </a:lnTo>
                <a:lnTo>
                  <a:pt x="1363738" y="329082"/>
                </a:lnTo>
                <a:lnTo>
                  <a:pt x="1357566" y="331584"/>
                </a:lnTo>
                <a:lnTo>
                  <a:pt x="1351305" y="333717"/>
                </a:lnTo>
                <a:lnTo>
                  <a:pt x="1344955" y="335495"/>
                </a:lnTo>
                <a:lnTo>
                  <a:pt x="1329829" y="338582"/>
                </a:lnTo>
                <a:lnTo>
                  <a:pt x="1322451" y="339394"/>
                </a:lnTo>
                <a:lnTo>
                  <a:pt x="1316329" y="339394"/>
                </a:lnTo>
                <a:lnTo>
                  <a:pt x="1264907" y="327329"/>
                </a:lnTo>
                <a:lnTo>
                  <a:pt x="1234008" y="291223"/>
                </a:lnTo>
                <a:lnTo>
                  <a:pt x="1228039" y="253974"/>
                </a:lnTo>
                <a:lnTo>
                  <a:pt x="1228445" y="243230"/>
                </a:lnTo>
                <a:lnTo>
                  <a:pt x="1242314" y="200621"/>
                </a:lnTo>
                <a:lnTo>
                  <a:pt x="1272755" y="175971"/>
                </a:lnTo>
                <a:lnTo>
                  <a:pt x="1322832" y="168160"/>
                </a:lnTo>
                <a:lnTo>
                  <a:pt x="1330096" y="168795"/>
                </a:lnTo>
                <a:lnTo>
                  <a:pt x="1344777" y="171170"/>
                </a:lnTo>
                <a:lnTo>
                  <a:pt x="1351013" y="172554"/>
                </a:lnTo>
                <a:lnTo>
                  <a:pt x="1357198" y="174218"/>
                </a:lnTo>
                <a:lnTo>
                  <a:pt x="1363345" y="176174"/>
                </a:lnTo>
                <a:lnTo>
                  <a:pt x="1375968" y="128016"/>
                </a:lnTo>
                <a:close/>
              </a:path>
              <a:path w="2520315" h="508000">
                <a:moveTo>
                  <a:pt x="1670672" y="387565"/>
                </a:moveTo>
                <a:lnTo>
                  <a:pt x="1650949" y="329082"/>
                </a:lnTo>
                <a:lnTo>
                  <a:pt x="1633943" y="278625"/>
                </a:lnTo>
                <a:lnTo>
                  <a:pt x="1596047" y="166243"/>
                </a:lnTo>
                <a:lnTo>
                  <a:pt x="1580451" y="119989"/>
                </a:lnTo>
                <a:lnTo>
                  <a:pt x="1577403" y="119989"/>
                </a:lnTo>
                <a:lnTo>
                  <a:pt x="1577403" y="278625"/>
                </a:lnTo>
                <a:lnTo>
                  <a:pt x="1505927" y="278625"/>
                </a:lnTo>
                <a:lnTo>
                  <a:pt x="1541856" y="166243"/>
                </a:lnTo>
                <a:lnTo>
                  <a:pt x="1577403" y="278625"/>
                </a:lnTo>
                <a:lnTo>
                  <a:pt x="1577403" y="119989"/>
                </a:lnTo>
                <a:lnTo>
                  <a:pt x="1505927" y="119989"/>
                </a:lnTo>
                <a:lnTo>
                  <a:pt x="1414564" y="387565"/>
                </a:lnTo>
                <a:lnTo>
                  <a:pt x="1471129" y="387565"/>
                </a:lnTo>
                <a:lnTo>
                  <a:pt x="1490243" y="329082"/>
                </a:lnTo>
                <a:lnTo>
                  <a:pt x="1593062" y="329082"/>
                </a:lnTo>
                <a:lnTo>
                  <a:pt x="1612176" y="387565"/>
                </a:lnTo>
                <a:lnTo>
                  <a:pt x="1670672" y="387565"/>
                </a:lnTo>
                <a:close/>
              </a:path>
              <a:path w="2520315" h="508000">
                <a:moveTo>
                  <a:pt x="1876691" y="119481"/>
                </a:moveTo>
                <a:lnTo>
                  <a:pt x="1667611" y="119481"/>
                </a:lnTo>
                <a:lnTo>
                  <a:pt x="1667611" y="172821"/>
                </a:lnTo>
                <a:lnTo>
                  <a:pt x="1743684" y="172821"/>
                </a:lnTo>
                <a:lnTo>
                  <a:pt x="1743684" y="387451"/>
                </a:lnTo>
                <a:lnTo>
                  <a:pt x="1801025" y="387451"/>
                </a:lnTo>
                <a:lnTo>
                  <a:pt x="1801025" y="172821"/>
                </a:lnTo>
                <a:lnTo>
                  <a:pt x="1876691" y="172821"/>
                </a:lnTo>
                <a:lnTo>
                  <a:pt x="1876691" y="119481"/>
                </a:lnTo>
                <a:close/>
              </a:path>
              <a:path w="2520315" h="508000">
                <a:moveTo>
                  <a:pt x="2162225" y="253784"/>
                </a:moveTo>
                <a:lnTo>
                  <a:pt x="2157298" y="209156"/>
                </a:lnTo>
                <a:lnTo>
                  <a:pt x="2142693" y="172072"/>
                </a:lnTo>
                <a:lnTo>
                  <a:pt x="2138603" y="165862"/>
                </a:lnTo>
                <a:lnTo>
                  <a:pt x="2135860" y="161683"/>
                </a:lnTo>
                <a:lnTo>
                  <a:pt x="2128037" y="152285"/>
                </a:lnTo>
                <a:lnTo>
                  <a:pt x="2119236" y="143916"/>
                </a:lnTo>
                <a:lnTo>
                  <a:pt x="2109495" y="136575"/>
                </a:lnTo>
                <a:lnTo>
                  <a:pt x="2101469" y="131838"/>
                </a:lnTo>
                <a:lnTo>
                  <a:pt x="2101469" y="253784"/>
                </a:lnTo>
                <a:lnTo>
                  <a:pt x="2101164" y="264680"/>
                </a:lnTo>
                <a:lnTo>
                  <a:pt x="2090889" y="307822"/>
                </a:lnTo>
                <a:lnTo>
                  <a:pt x="2062086" y="336346"/>
                </a:lnTo>
                <a:lnTo>
                  <a:pt x="2035340" y="341693"/>
                </a:lnTo>
                <a:lnTo>
                  <a:pt x="2027999" y="341363"/>
                </a:lnTo>
                <a:lnTo>
                  <a:pt x="1989861" y="325196"/>
                </a:lnTo>
                <a:lnTo>
                  <a:pt x="1969770" y="292773"/>
                </a:lnTo>
                <a:lnTo>
                  <a:pt x="1964232" y="253784"/>
                </a:lnTo>
                <a:lnTo>
                  <a:pt x="1964563" y="243039"/>
                </a:lnTo>
                <a:lnTo>
                  <a:pt x="1975561" y="199783"/>
                </a:lnTo>
                <a:lnTo>
                  <a:pt x="2005330" y="171208"/>
                </a:lnTo>
                <a:lnTo>
                  <a:pt x="2031898" y="165862"/>
                </a:lnTo>
                <a:lnTo>
                  <a:pt x="2046846" y="167195"/>
                </a:lnTo>
                <a:lnTo>
                  <a:pt x="2082355" y="187071"/>
                </a:lnTo>
                <a:lnTo>
                  <a:pt x="2100262" y="232549"/>
                </a:lnTo>
                <a:lnTo>
                  <a:pt x="2101469" y="253784"/>
                </a:lnTo>
                <a:lnTo>
                  <a:pt x="2101469" y="131838"/>
                </a:lnTo>
                <a:lnTo>
                  <a:pt x="2061184" y="117792"/>
                </a:lnTo>
                <a:lnTo>
                  <a:pt x="2031898" y="115404"/>
                </a:lnTo>
                <a:lnTo>
                  <a:pt x="2018385" y="115976"/>
                </a:lnTo>
                <a:lnTo>
                  <a:pt x="1980869" y="124396"/>
                </a:lnTo>
                <a:lnTo>
                  <a:pt x="1940153" y="150952"/>
                </a:lnTo>
                <a:lnTo>
                  <a:pt x="1913204" y="194335"/>
                </a:lnTo>
                <a:lnTo>
                  <a:pt x="1904072" y="237451"/>
                </a:lnTo>
                <a:lnTo>
                  <a:pt x="1903463" y="253784"/>
                </a:lnTo>
                <a:lnTo>
                  <a:pt x="1904047" y="270103"/>
                </a:lnTo>
                <a:lnTo>
                  <a:pt x="1912835" y="313207"/>
                </a:lnTo>
                <a:lnTo>
                  <a:pt x="1931276" y="347294"/>
                </a:lnTo>
                <a:lnTo>
                  <a:pt x="1968957" y="378142"/>
                </a:lnTo>
                <a:lnTo>
                  <a:pt x="2005660" y="389902"/>
                </a:lnTo>
                <a:lnTo>
                  <a:pt x="2033422" y="392150"/>
                </a:lnTo>
                <a:lnTo>
                  <a:pt x="2046935" y="391642"/>
                </a:lnTo>
                <a:lnTo>
                  <a:pt x="2084451" y="383933"/>
                </a:lnTo>
                <a:lnTo>
                  <a:pt x="2125345" y="358698"/>
                </a:lnTo>
                <a:lnTo>
                  <a:pt x="2139200" y="341693"/>
                </a:lnTo>
                <a:lnTo>
                  <a:pt x="2140839" y="339407"/>
                </a:lnTo>
                <a:lnTo>
                  <a:pt x="2156752" y="301828"/>
                </a:lnTo>
                <a:lnTo>
                  <a:pt x="2161629" y="270967"/>
                </a:lnTo>
                <a:lnTo>
                  <a:pt x="2162225" y="253784"/>
                </a:lnTo>
                <a:close/>
              </a:path>
              <a:path w="2520315" h="508000">
                <a:moveTo>
                  <a:pt x="2519984" y="387565"/>
                </a:moveTo>
                <a:lnTo>
                  <a:pt x="2492895" y="119989"/>
                </a:lnTo>
                <a:lnTo>
                  <a:pt x="2426766" y="119989"/>
                </a:lnTo>
                <a:lnTo>
                  <a:pt x="2367127" y="321818"/>
                </a:lnTo>
                <a:lnTo>
                  <a:pt x="2306726" y="119989"/>
                </a:lnTo>
                <a:lnTo>
                  <a:pt x="2238311" y="119989"/>
                </a:lnTo>
                <a:lnTo>
                  <a:pt x="2211565" y="387565"/>
                </a:lnTo>
                <a:lnTo>
                  <a:pt x="2269274" y="387565"/>
                </a:lnTo>
                <a:lnTo>
                  <a:pt x="2283790" y="210591"/>
                </a:lnTo>
                <a:lnTo>
                  <a:pt x="2338082" y="387565"/>
                </a:lnTo>
                <a:lnTo>
                  <a:pt x="2392743" y="387565"/>
                </a:lnTo>
                <a:lnTo>
                  <a:pt x="2447785" y="209816"/>
                </a:lnTo>
                <a:lnTo>
                  <a:pt x="2462314" y="387565"/>
                </a:lnTo>
                <a:lnTo>
                  <a:pt x="2519984" y="38756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896"/>
          </a:p>
        </p:txBody>
      </p:sp>
      <p:sp>
        <p:nvSpPr>
          <p:cNvPr id="7" name="object 7"/>
          <p:cNvSpPr/>
          <p:nvPr/>
        </p:nvSpPr>
        <p:spPr>
          <a:xfrm>
            <a:off x="528099" y="1078724"/>
            <a:ext cx="8065817" cy="259902"/>
          </a:xfrm>
          <a:custGeom>
            <a:avLst/>
            <a:gdLst/>
            <a:ahLst/>
            <a:cxnLst/>
            <a:rect l="l" t="t" r="r" b="b"/>
            <a:pathLst>
              <a:path w="16198850" h="521969">
                <a:moveTo>
                  <a:pt x="16198801" y="0"/>
                </a:moveTo>
                <a:lnTo>
                  <a:pt x="0" y="0"/>
                </a:lnTo>
                <a:lnTo>
                  <a:pt x="0" y="521708"/>
                </a:lnTo>
                <a:lnTo>
                  <a:pt x="16198801" y="521708"/>
                </a:lnTo>
                <a:lnTo>
                  <a:pt x="16198801" y="0"/>
                </a:lnTo>
                <a:close/>
              </a:path>
            </a:pathLst>
          </a:custGeom>
          <a:solidFill>
            <a:srgbClr val="18387E"/>
          </a:solidFill>
        </p:spPr>
        <p:txBody>
          <a:bodyPr wrap="square" lIns="0" tIns="0" rIns="0" bIns="0" rtlCol="0"/>
          <a:lstStyle/>
          <a:p>
            <a:endParaRPr sz="896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358222" y="1119886"/>
            <a:ext cx="2590484" cy="167327"/>
          </a:xfrm>
          <a:prstGeom prst="rect">
            <a:avLst/>
          </a:prstGeom>
        </p:spPr>
        <p:txBody>
          <a:bodyPr vert="horz" wrap="square" lIns="0" tIns="6324" rIns="0" bIns="0" rtlCol="0">
            <a:spAutoFit/>
          </a:bodyPr>
          <a:lstStyle/>
          <a:p>
            <a:pPr marL="6324">
              <a:spcBef>
                <a:spcPts val="50"/>
              </a:spcBef>
            </a:pPr>
            <a:r>
              <a:rPr sz="1046" b="1" spc="-4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ИДЕТЬ</a:t>
            </a:r>
            <a:r>
              <a:rPr sz="1046" b="1" spc="-6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46" b="1" spc="-3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1046" b="1" spc="-68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1046" b="1" spc="-4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И</a:t>
            </a:r>
            <a:r>
              <a:rPr sz="1046" b="1" spc="-6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46" b="1" spc="-5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1046" b="1" spc="-6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46" b="1" spc="-5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ЕРВЫ</a:t>
            </a:r>
            <a:r>
              <a:rPr sz="1046" b="1" spc="-6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46" b="1" spc="-5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1046" b="1" spc="-6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46" b="1" spc="-3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1046" b="1" spc="-68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</a:t>
            </a:r>
            <a:r>
              <a:rPr sz="1046" b="1" spc="-38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Е</a:t>
            </a:r>
            <a:endParaRPr sz="1046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20421" y="1874494"/>
            <a:ext cx="1810236" cy="810265"/>
          </a:xfrm>
          <a:prstGeom prst="rect">
            <a:avLst/>
          </a:prstGeom>
        </p:spPr>
        <p:txBody>
          <a:bodyPr vert="horz" wrap="square" lIns="0" tIns="50589" rIns="0" bIns="0" rtlCol="0">
            <a:spAutoFit/>
          </a:bodyPr>
          <a:lstStyle/>
          <a:p>
            <a:pPr marL="6008">
              <a:spcBef>
                <a:spcPts val="351"/>
              </a:spcBef>
              <a:tabLst>
                <a:tab pos="157459" algn="l"/>
              </a:tabLst>
            </a:pPr>
            <a:r>
              <a:rPr sz="1046" spc="1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шняя</a:t>
            </a:r>
            <a:r>
              <a:rPr sz="1046" spc="-8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46" spc="23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ботка</a:t>
            </a:r>
            <a:endParaRPr sz="1046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08">
              <a:spcBef>
                <a:spcPts val="349"/>
              </a:spcBef>
              <a:tabLst>
                <a:tab pos="157459" algn="l"/>
              </a:tabLst>
            </a:pPr>
            <a:r>
              <a:rPr sz="1046" spc="2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шние</a:t>
            </a:r>
            <a:r>
              <a:rPr sz="1046" spc="-8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46" spc="1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и</a:t>
            </a:r>
            <a:r>
              <a:rPr sz="1046" spc="-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r>
              <a:rPr sz="1046" spc="23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ия</a:t>
            </a:r>
            <a:endParaRPr lang="ru-RU" sz="1046" spc="23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08">
              <a:spcBef>
                <a:spcPts val="349"/>
              </a:spcBef>
              <a:tabLst>
                <a:tab pos="157459" algn="l"/>
              </a:tabLst>
            </a:pPr>
            <a:r>
              <a:rPr lang="ru-RU" sz="1046" spc="23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произв</a:t>
            </a:r>
            <a:r>
              <a:rPr lang="ru-RU" sz="1046" spc="1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046" spc="28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lang="ru-RU" sz="1046" spc="38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046" spc="8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во</a:t>
            </a:r>
            <a:endParaRPr lang="ru-RU" sz="1046" spc="23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08">
              <a:spcBef>
                <a:spcPts val="349"/>
              </a:spcBef>
              <a:tabLst>
                <a:tab pos="157459" algn="l"/>
              </a:tabLst>
            </a:pPr>
            <a:r>
              <a:rPr lang="ru-RU" sz="1046" spc="1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шняя</a:t>
            </a:r>
            <a:r>
              <a:rPr lang="ru-RU" sz="1046" spc="-8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46" spc="2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ортировка</a:t>
            </a:r>
            <a:endParaRPr lang="ru-RU" sz="1046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420146" y="1477814"/>
            <a:ext cx="490083" cy="202781"/>
          </a:xfrm>
          <a:prstGeom prst="rect">
            <a:avLst/>
          </a:prstGeom>
        </p:spPr>
        <p:txBody>
          <a:bodyPr vert="horz" wrap="square" lIns="0" tIns="7272" rIns="0" bIns="0" rtlCol="0">
            <a:spAutoFit/>
          </a:bodyPr>
          <a:lstStyle/>
          <a:p>
            <a:pPr marL="6324">
              <a:spcBef>
                <a:spcPts val="57"/>
              </a:spcBef>
            </a:pPr>
            <a:r>
              <a:rPr sz="1270" b="1" spc="-4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ов</a:t>
            </a:r>
            <a:endParaRPr sz="127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83638" y="1442272"/>
            <a:ext cx="1076595" cy="429315"/>
          </a:xfrm>
          <a:prstGeom prst="rect">
            <a:avLst/>
          </a:prstGeom>
        </p:spPr>
        <p:txBody>
          <a:bodyPr vert="horz" wrap="square" lIns="0" tIns="7904" rIns="0" bIns="0" rtlCol="0">
            <a:spAutoFit/>
          </a:bodyPr>
          <a:lstStyle/>
          <a:p>
            <a:pPr marL="6324">
              <a:spcBef>
                <a:spcPts val="62"/>
              </a:spcBef>
            </a:pPr>
            <a:r>
              <a:rPr sz="2738" b="1" spc="-11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sz="2738" b="1" spc="-57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70" b="1" spc="-32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рь</a:t>
            </a:r>
            <a:endParaRPr sz="127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831273" y="1867442"/>
            <a:ext cx="1064270" cy="623676"/>
          </a:xfrm>
          <a:prstGeom prst="rect">
            <a:avLst/>
          </a:prstGeom>
        </p:spPr>
        <p:txBody>
          <a:bodyPr vert="horz" wrap="square" lIns="0" tIns="50589" rIns="0" bIns="0" rtlCol="0">
            <a:spAutoFit/>
          </a:bodyPr>
          <a:lstStyle/>
          <a:p>
            <a:pPr marL="6008">
              <a:spcBef>
                <a:spcPts val="398"/>
              </a:spcBef>
              <a:tabLst>
                <a:tab pos="157459" algn="l"/>
              </a:tabLst>
            </a:pPr>
            <a:r>
              <a:rPr sz="1046" spc="8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</a:t>
            </a:r>
            <a:endParaRPr sz="1046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08">
              <a:spcBef>
                <a:spcPts val="351"/>
              </a:spcBef>
              <a:tabLst>
                <a:tab pos="157459" algn="l"/>
              </a:tabLst>
            </a:pPr>
            <a:r>
              <a:rPr sz="1046" spc="3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</a:t>
            </a:r>
            <a:r>
              <a:rPr sz="1046" spc="1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1046" spc="2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вания</a:t>
            </a:r>
            <a:endParaRPr sz="1046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08">
              <a:spcBef>
                <a:spcPts val="349"/>
              </a:spcBef>
              <a:tabLst>
                <a:tab pos="157459" algn="l"/>
              </a:tabLst>
            </a:pPr>
            <a:r>
              <a:rPr sz="1046" spc="17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ов</a:t>
            </a:r>
            <a:endParaRPr sz="1046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831273" y="1485107"/>
            <a:ext cx="657976" cy="202781"/>
          </a:xfrm>
          <a:prstGeom prst="rect">
            <a:avLst/>
          </a:prstGeom>
        </p:spPr>
        <p:txBody>
          <a:bodyPr vert="horz" wrap="square" lIns="0" tIns="7272" rIns="0" bIns="0" rtlCol="0">
            <a:spAutoFit/>
          </a:bodyPr>
          <a:lstStyle/>
          <a:p>
            <a:pPr marL="6324">
              <a:spcBef>
                <a:spcPts val="57"/>
              </a:spcBef>
            </a:pPr>
            <a:r>
              <a:rPr sz="1270" b="1" spc="-17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1270" b="1" spc="-3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1270" b="1" spc="-38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рва</a:t>
            </a:r>
            <a:endParaRPr sz="127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594764" y="1449565"/>
            <a:ext cx="1923023" cy="429315"/>
          </a:xfrm>
          <a:prstGeom prst="rect">
            <a:avLst/>
          </a:prstGeom>
        </p:spPr>
        <p:txBody>
          <a:bodyPr vert="horz" wrap="square" lIns="0" tIns="7904" rIns="0" bIns="0" rtlCol="0">
            <a:spAutoFit/>
          </a:bodyPr>
          <a:lstStyle/>
          <a:p>
            <a:pPr marL="6324">
              <a:spcBef>
                <a:spcPts val="62"/>
              </a:spcBef>
            </a:pPr>
            <a:r>
              <a:rPr sz="2738" b="1" spc="-11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sz="2738" b="1" spc="-57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70" b="1" spc="-32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</a:t>
            </a:r>
            <a:r>
              <a:rPr sz="1270" b="1" spc="-47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1270" b="1" spc="-3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т</a:t>
            </a:r>
            <a:r>
              <a:rPr sz="1270" b="1" spc="-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1270" b="1" spc="-42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но</a:t>
            </a:r>
            <a:r>
              <a:rPr sz="1270" b="1" spc="-2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1270" b="1" spc="-47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</a:t>
            </a:r>
            <a:endParaRPr sz="127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605316" y="1485107"/>
            <a:ext cx="1532537" cy="202781"/>
          </a:xfrm>
          <a:prstGeom prst="rect">
            <a:avLst/>
          </a:prstGeom>
        </p:spPr>
        <p:txBody>
          <a:bodyPr vert="horz" wrap="square" lIns="0" tIns="7272" rIns="0" bIns="0" rtlCol="0">
            <a:spAutoFit/>
          </a:bodyPr>
          <a:lstStyle/>
          <a:p>
            <a:pPr marL="6324">
              <a:spcBef>
                <a:spcPts val="57"/>
              </a:spcBef>
            </a:pPr>
            <a:r>
              <a:rPr sz="1270" b="1" spc="-53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спользованный</a:t>
            </a:r>
            <a:endParaRPr sz="127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368807" y="1449565"/>
            <a:ext cx="1865477" cy="429315"/>
          </a:xfrm>
          <a:prstGeom prst="rect">
            <a:avLst/>
          </a:prstGeom>
        </p:spPr>
        <p:txBody>
          <a:bodyPr vert="horz" wrap="square" lIns="0" tIns="7904" rIns="0" bIns="0" rtlCol="0">
            <a:spAutoFit/>
          </a:bodyPr>
          <a:lstStyle/>
          <a:p>
            <a:pPr marL="6324">
              <a:spcBef>
                <a:spcPts val="62"/>
              </a:spcBef>
            </a:pPr>
            <a:r>
              <a:rPr sz="2738" b="1" spc="-11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sz="2738" b="1" spc="-57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70" b="1" spc="-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нциал</a:t>
            </a:r>
            <a:r>
              <a:rPr sz="1270" b="1" spc="-7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70" b="1" spc="-57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1270" b="1" spc="-7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1270" b="1" spc="-5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века</a:t>
            </a:r>
            <a:endParaRPr sz="127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537472" y="4147652"/>
            <a:ext cx="8065817" cy="259902"/>
          </a:xfrm>
          <a:custGeom>
            <a:avLst/>
            <a:gdLst/>
            <a:ahLst/>
            <a:cxnLst/>
            <a:rect l="l" t="t" r="r" b="b"/>
            <a:pathLst>
              <a:path w="16198850" h="521970">
                <a:moveTo>
                  <a:pt x="16198801" y="0"/>
                </a:moveTo>
                <a:lnTo>
                  <a:pt x="0" y="0"/>
                </a:lnTo>
                <a:lnTo>
                  <a:pt x="0" y="521708"/>
                </a:lnTo>
                <a:lnTo>
                  <a:pt x="16198801" y="521708"/>
                </a:lnTo>
                <a:lnTo>
                  <a:pt x="16198801" y="0"/>
                </a:lnTo>
                <a:close/>
              </a:path>
            </a:pathLst>
          </a:custGeom>
          <a:solidFill>
            <a:srgbClr val="18387E"/>
          </a:solidFill>
        </p:spPr>
        <p:txBody>
          <a:bodyPr wrap="square" lIns="0" tIns="0" rIns="0" bIns="0" rtlCol="0"/>
          <a:lstStyle/>
          <a:p>
            <a:endParaRPr sz="896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53578" y="4188814"/>
            <a:ext cx="1032020" cy="167327"/>
          </a:xfrm>
          <a:prstGeom prst="rect">
            <a:avLst/>
          </a:prstGeom>
        </p:spPr>
        <p:txBody>
          <a:bodyPr vert="horz" wrap="square" lIns="0" tIns="6324" rIns="0" bIns="0" rtlCol="0">
            <a:spAutoFit/>
          </a:bodyPr>
          <a:lstStyle/>
          <a:p>
            <a:pPr marL="6324">
              <a:spcBef>
                <a:spcPts val="50"/>
              </a:spcBef>
            </a:pPr>
            <a:r>
              <a:rPr sz="1046" b="1" spc="-83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1046" b="1" spc="-23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</a:t>
            </a:r>
            <a:r>
              <a:rPr sz="1046" b="1" spc="-5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1046" b="1" spc="-11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1046" b="1" spc="-7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1046" b="1" spc="-4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Ь</a:t>
            </a:r>
            <a:r>
              <a:rPr sz="1046" b="1" spc="-6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46" b="1" spc="-23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sz="1046" b="1" spc="1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1046" b="1" spc="-4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:</a:t>
            </a:r>
            <a:endParaRPr sz="1046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bject 22"/>
          <p:cNvSpPr txBox="1">
            <a:spLocks noGrp="1"/>
          </p:cNvSpPr>
          <p:nvPr>
            <p:ph type="sldNum" sz="quarter" idx="7"/>
          </p:nvPr>
        </p:nvSpPr>
        <p:spPr>
          <a:xfrm>
            <a:off x="13248977" y="7300481"/>
            <a:ext cx="24050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200" b="0" i="0" kern="1200">
                <a:solidFill>
                  <a:srgbClr val="313130"/>
                </a:solidFill>
                <a:latin typeface="Tahoma"/>
                <a:ea typeface="+mn-ea"/>
                <a:cs typeface="Tahoma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">
              <a:spcBef>
                <a:spcPts val="30"/>
              </a:spcBef>
            </a:pPr>
            <a:fld id="{81D60167-4931-47E6-BA6A-407CBD079E47}" type="slidenum">
              <a:rPr lang="ru-RU" spc="26"/>
              <a:pPr marL="28575">
                <a:spcBef>
                  <a:spcPts val="30"/>
                </a:spcBef>
              </a:pPr>
              <a:t>2</a:t>
            </a:fld>
            <a:endParaRPr spc="17" dirty="0"/>
          </a:p>
        </p:txBody>
      </p:sp>
      <p:sp>
        <p:nvSpPr>
          <p:cNvPr id="19" name="object 19"/>
          <p:cNvSpPr txBox="1"/>
          <p:nvPr/>
        </p:nvSpPr>
        <p:spPr>
          <a:xfrm>
            <a:off x="995005" y="4642914"/>
            <a:ext cx="1652054" cy="202781"/>
          </a:xfrm>
          <a:prstGeom prst="rect">
            <a:avLst/>
          </a:prstGeom>
        </p:spPr>
        <p:txBody>
          <a:bodyPr vert="horz" wrap="square" lIns="0" tIns="7272" rIns="0" bIns="0" rtlCol="0">
            <a:spAutoFit/>
          </a:bodyPr>
          <a:lstStyle/>
          <a:p>
            <a:pPr marL="6324">
              <a:spcBef>
                <a:spcPts val="57"/>
              </a:spcBef>
            </a:pPr>
            <a:r>
              <a:rPr sz="1270" b="1" spc="-8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127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1270" b="1" spc="-42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ением</a:t>
            </a:r>
            <a:r>
              <a:rPr sz="1270" b="1" spc="-7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70" b="1" spc="-32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рь</a:t>
            </a:r>
            <a:endParaRPr sz="127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728593" y="4642914"/>
            <a:ext cx="1677981" cy="202781"/>
          </a:xfrm>
          <a:prstGeom prst="rect">
            <a:avLst/>
          </a:prstGeom>
        </p:spPr>
        <p:txBody>
          <a:bodyPr vert="horz" wrap="square" lIns="0" tIns="7272" rIns="0" bIns="0" rtlCol="0">
            <a:spAutoFit/>
          </a:bodyPr>
          <a:lstStyle/>
          <a:p>
            <a:pPr marL="6324">
              <a:spcBef>
                <a:spcPts val="57"/>
              </a:spcBef>
            </a:pPr>
            <a:r>
              <a:rPr sz="1270" b="1" spc="-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крытием</a:t>
            </a:r>
            <a:r>
              <a:rPr sz="1270" b="1" spc="-7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70" b="1" spc="-17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1270" b="1" spc="-3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1270" b="1" spc="-32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рвов</a:t>
            </a:r>
            <a:endParaRPr sz="127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231755" y="4642914"/>
            <a:ext cx="2181976" cy="202781"/>
          </a:xfrm>
          <a:prstGeom prst="rect">
            <a:avLst/>
          </a:prstGeom>
        </p:spPr>
        <p:txBody>
          <a:bodyPr vert="horz" wrap="square" lIns="0" tIns="7272" rIns="0" bIns="0" rtlCol="0">
            <a:spAutoFit/>
          </a:bodyPr>
          <a:lstStyle/>
          <a:p>
            <a:pPr marL="6324">
              <a:spcBef>
                <a:spcPts val="57"/>
              </a:spcBef>
            </a:pPr>
            <a:r>
              <a:rPr sz="1270" b="1" spc="-38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изацией</a:t>
            </a:r>
            <a:r>
              <a:rPr sz="1270" b="1" spc="-7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70" b="1" spc="-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нциала</a:t>
            </a:r>
            <a:endParaRPr sz="127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Рисунок 70">
            <a:extLst>
              <a:ext uri="{FF2B5EF4-FFF2-40B4-BE49-F238E27FC236}">
                <a16:creationId xmlns:a16="http://schemas.microsoft.com/office/drawing/2014/main" id="{2B5E21CE-7745-4158-16BE-10EFFBDAF14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0809" y="2814677"/>
            <a:ext cx="1824087" cy="121529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1EB0238A-1703-CA57-2564-1DA4EA852265}"/>
              </a:ext>
            </a:extLst>
          </p:cNvPr>
          <p:cNvSpPr txBox="1"/>
          <p:nvPr/>
        </p:nvSpPr>
        <p:spPr>
          <a:xfrm>
            <a:off x="2110337" y="1911661"/>
            <a:ext cx="1328330" cy="6521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008" defTabSz="455303">
              <a:spcBef>
                <a:spcPts val="349"/>
              </a:spcBef>
              <a:tabLst>
                <a:tab pos="157459" algn="l"/>
              </a:tabLst>
              <a:defRPr/>
            </a:pPr>
            <a:r>
              <a:rPr lang="ru-RU" sz="1046" spc="15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ние</a:t>
            </a:r>
            <a:endParaRPr lang="ru-RU" sz="1046" dirty="0">
              <a:solidFill>
                <a:srgbClr val="4F81BD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08" defTabSz="455303">
              <a:spcBef>
                <a:spcPts val="349"/>
              </a:spcBef>
              <a:tabLst>
                <a:tab pos="157459" algn="l"/>
              </a:tabLst>
              <a:defRPr/>
            </a:pPr>
            <a:r>
              <a:rPr lang="ru-RU" sz="1046" spc="28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ак </a:t>
            </a:r>
            <a:r>
              <a:rPr lang="ru-RU" sz="1046" spc="30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6008" defTabSz="455303">
              <a:spcBef>
                <a:spcPts val="349"/>
              </a:spcBef>
              <a:tabLst>
                <a:tab pos="157459" algn="l"/>
              </a:tabLst>
              <a:defRPr/>
            </a:pPr>
            <a:r>
              <a:rPr lang="ru-RU" sz="1046" spc="23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ладирование</a:t>
            </a:r>
            <a:endParaRPr lang="ru-RU" sz="1046" dirty="0">
              <a:solidFill>
                <a:srgbClr val="4F81BD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5D4432D5-9C44-10DD-98E2-E671CB4483C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2"/>
          <a:stretch/>
        </p:blipFill>
        <p:spPr>
          <a:xfrm>
            <a:off x="3614170" y="2814677"/>
            <a:ext cx="1923023" cy="121529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199E20F0-AADA-62E5-4D85-00682FDFD5F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778" r="9983"/>
          <a:stretch/>
        </p:blipFill>
        <p:spPr>
          <a:xfrm>
            <a:off x="782175" y="2818450"/>
            <a:ext cx="1865495" cy="1231331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3429" y="420576"/>
            <a:ext cx="7031034" cy="328627"/>
          </a:xfrm>
        </p:spPr>
        <p:txBody>
          <a:bodyPr/>
          <a:lstStyle/>
          <a:p>
            <a:r>
              <a:rPr lang="ru-RU" sz="1644" dirty="0">
                <a:solidFill>
                  <a:schemeClr val="tx1"/>
                </a:solidFill>
              </a:rPr>
              <a:t>Личный стандарт Губернатор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965E9C-3079-A178-78CD-0913657511D0}"/>
              </a:ext>
            </a:extLst>
          </p:cNvPr>
          <p:cNvSpPr txBox="1"/>
          <p:nvPr/>
        </p:nvSpPr>
        <p:spPr>
          <a:xfrm>
            <a:off x="171876" y="749203"/>
            <a:ext cx="8338556" cy="36109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1278" indent="-341278">
              <a:buFont typeface="+mj-lt"/>
              <a:buAutoNum type="arabicPeriod"/>
            </a:pPr>
            <a:r>
              <a:rPr lang="ru-RU" sz="1345" b="1" dirty="0">
                <a:solidFill>
                  <a:schemeClr val="accent1">
                    <a:lumMod val="50000"/>
                  </a:schemeClr>
                </a:solidFill>
                <a:latin typeface="Arial" charset="0"/>
                <a:cs typeface="Arial" charset="0"/>
              </a:rPr>
              <a:t>Один раз в неделю </a:t>
            </a:r>
            <a:r>
              <a:rPr lang="ru-RU" sz="1345" dirty="0">
                <a:solidFill>
                  <a:prstClr val="black"/>
                </a:solidFill>
                <a:latin typeface="Arial" charset="0"/>
                <a:cs typeface="Arial" charset="0"/>
              </a:rPr>
              <a:t>– доклад на оперативном совещании курирующего зама Губернатора – «светофор» по отклонениям, требующим реакции Губернатора</a:t>
            </a:r>
          </a:p>
          <a:p>
            <a:pPr marL="341278" indent="-341278">
              <a:buFont typeface="+mj-lt"/>
              <a:buAutoNum type="arabicPeriod"/>
            </a:pPr>
            <a:endParaRPr lang="ru-RU" sz="1345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341278" indent="-341278">
              <a:buFont typeface="+mj-lt"/>
              <a:buAutoNum type="arabicPeriod"/>
            </a:pPr>
            <a:r>
              <a:rPr lang="ru-RU" sz="1345" b="1" dirty="0">
                <a:solidFill>
                  <a:schemeClr val="accent1">
                    <a:lumMod val="50000"/>
                  </a:schemeClr>
                </a:solidFill>
                <a:latin typeface="Arial" charset="0"/>
                <a:cs typeface="Arial" charset="0"/>
              </a:rPr>
              <a:t>Один раз в месяц </a:t>
            </a:r>
            <a:r>
              <a:rPr lang="ru-RU" sz="1345" dirty="0">
                <a:solidFill>
                  <a:prstClr val="black"/>
                </a:solidFill>
                <a:latin typeface="Arial" charset="0"/>
                <a:cs typeface="Arial" charset="0"/>
              </a:rPr>
              <a:t>– 1 час, в одно и то же время. 10-15 мин – доклад о статусах проектов курирующего зама Губернатора + 3 доклада руководителей отраслевых центров компетенций с погружением (по 15 мин). </a:t>
            </a:r>
          </a:p>
          <a:p>
            <a:pPr marL="341278" indent="-341278">
              <a:buFont typeface="+mj-lt"/>
              <a:buAutoNum type="arabicPeriod"/>
            </a:pPr>
            <a:endParaRPr lang="ru-RU" sz="1345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341278" indent="-341278">
              <a:buFont typeface="+mj-lt"/>
              <a:buAutoNum type="arabicPeriod"/>
            </a:pPr>
            <a:r>
              <a:rPr lang="ru-RU" sz="1345" b="1" dirty="0">
                <a:solidFill>
                  <a:schemeClr val="accent1">
                    <a:lumMod val="50000"/>
                  </a:schemeClr>
                </a:solidFill>
                <a:latin typeface="Arial" charset="0"/>
                <a:cs typeface="Arial" charset="0"/>
              </a:rPr>
              <a:t>Один раз в квартал </a:t>
            </a:r>
            <a:r>
              <a:rPr lang="ru-RU" sz="1345" dirty="0">
                <a:solidFill>
                  <a:prstClr val="black"/>
                </a:solidFill>
                <a:latin typeface="Arial" charset="0"/>
                <a:cs typeface="Arial" charset="0"/>
              </a:rPr>
              <a:t>– выезд на место для мониторинга личных Заказов от Губернатора. </a:t>
            </a:r>
            <a:br>
              <a:rPr lang="ru-RU" sz="1345" dirty="0">
                <a:solidFill>
                  <a:prstClr val="black"/>
                </a:solidFill>
                <a:latin typeface="Arial" charset="0"/>
                <a:cs typeface="Arial" charset="0"/>
              </a:rPr>
            </a:br>
            <a:r>
              <a:rPr lang="ru-RU" sz="1345" dirty="0">
                <a:solidFill>
                  <a:prstClr val="black"/>
                </a:solidFill>
                <a:latin typeface="Arial" charset="0"/>
                <a:cs typeface="Arial" charset="0"/>
              </a:rPr>
              <a:t>Лучше, чтобы одномоментно в реализации было не более 3-х таких Заказов</a:t>
            </a:r>
          </a:p>
          <a:p>
            <a:pPr marL="341278" indent="-341278">
              <a:buFont typeface="+mj-lt"/>
              <a:buAutoNum type="arabicPeriod"/>
            </a:pPr>
            <a:endParaRPr lang="ru-RU" sz="1345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341278" indent="-341278">
              <a:buFont typeface="+mj-lt"/>
              <a:buAutoNum type="arabicPeriod"/>
            </a:pPr>
            <a:r>
              <a:rPr lang="ru-RU" sz="1345" b="1" dirty="0">
                <a:solidFill>
                  <a:schemeClr val="accent1">
                    <a:lumMod val="50000"/>
                  </a:schemeClr>
                </a:solidFill>
                <a:latin typeface="Arial" charset="0"/>
                <a:cs typeface="Arial" charset="0"/>
              </a:rPr>
              <a:t>Один раз в год </a:t>
            </a:r>
            <a:r>
              <a:rPr lang="ru-RU" sz="1345" dirty="0">
                <a:latin typeface="Arial" charset="0"/>
                <a:cs typeface="Arial" charset="0"/>
              </a:rPr>
              <a:t>–</a:t>
            </a:r>
            <a:r>
              <a:rPr lang="ru-RU" sz="1345" b="1" dirty="0">
                <a:solidFill>
                  <a:schemeClr val="accent1">
                    <a:lumMod val="50000"/>
                  </a:schemeClr>
                </a:solidFill>
                <a:latin typeface="Arial" charset="0"/>
                <a:cs typeface="Arial" charset="0"/>
              </a:rPr>
              <a:t> </a:t>
            </a:r>
          </a:p>
          <a:p>
            <a:pPr marL="537299" indent="-201635">
              <a:buFont typeface="Arial" panose="020B0604020202020204" pitchFamily="34" charset="0"/>
              <a:buChar char="•"/>
            </a:pPr>
            <a:r>
              <a:rPr lang="ru-RU" sz="1345" dirty="0">
                <a:solidFill>
                  <a:prstClr val="black"/>
                </a:solidFill>
                <a:latin typeface="Arial" charset="0"/>
                <a:cs typeface="Arial" charset="0"/>
              </a:rPr>
              <a:t>поездка в регион, внедряющий бережливые методы. </a:t>
            </a:r>
            <a:br>
              <a:rPr lang="ru-RU" sz="1345" dirty="0">
                <a:solidFill>
                  <a:prstClr val="black"/>
                </a:solidFill>
                <a:latin typeface="Arial" charset="0"/>
                <a:cs typeface="Arial" charset="0"/>
              </a:rPr>
            </a:br>
            <a:r>
              <a:rPr lang="ru-RU" sz="1345" dirty="0">
                <a:solidFill>
                  <a:prstClr val="black"/>
                </a:solidFill>
                <a:latin typeface="Arial" charset="0"/>
                <a:cs typeface="Arial" charset="0"/>
              </a:rPr>
              <a:t>1 день – не менее 3 посещений площадок (не ограничиваться совещанием с докладами). </a:t>
            </a:r>
            <a:br>
              <a:rPr lang="ru-RU" sz="1345" dirty="0">
                <a:solidFill>
                  <a:prstClr val="black"/>
                </a:solidFill>
                <a:latin typeface="Arial" charset="0"/>
                <a:cs typeface="Arial" charset="0"/>
              </a:rPr>
            </a:br>
            <a:r>
              <a:rPr lang="ru-RU" sz="1345" dirty="0">
                <a:solidFill>
                  <a:prstClr val="black"/>
                </a:solidFill>
                <a:latin typeface="Arial" charset="0"/>
                <a:cs typeface="Arial" charset="0"/>
              </a:rPr>
              <a:t>Брать с собой 2-3 зама, чтобы они отдельно посетили не менее 3 других площадок. Потом доложили, что увидели и возьмут в работу.</a:t>
            </a:r>
          </a:p>
          <a:p>
            <a:pPr marL="537299" indent="-201635">
              <a:buFont typeface="Arial" panose="020B0604020202020204" pitchFamily="34" charset="0"/>
              <a:buChar char="•"/>
            </a:pPr>
            <a:r>
              <a:rPr lang="ru-RU" sz="1345" dirty="0">
                <a:solidFill>
                  <a:prstClr val="black"/>
                </a:solidFill>
                <a:latin typeface="Arial" charset="0"/>
                <a:cs typeface="Arial" charset="0"/>
              </a:rPr>
              <a:t>Подведение итогов проектов. Награждение топ-3 по итогам рейтингования отраслей</a:t>
            </a:r>
          </a:p>
          <a:p>
            <a:pPr marL="341278" indent="-341278">
              <a:buFont typeface="+mj-lt"/>
              <a:buAutoNum type="arabicPeriod"/>
            </a:pPr>
            <a:endParaRPr lang="ru-RU" sz="1345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34235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7012" y="277722"/>
            <a:ext cx="6230611" cy="333992"/>
          </a:xfrm>
        </p:spPr>
        <p:txBody>
          <a:bodyPr/>
          <a:lstStyle/>
          <a:p>
            <a:pPr algn="ctr"/>
            <a:r>
              <a:rPr lang="ru-RU" sz="1793" dirty="0">
                <a:solidFill>
                  <a:schemeClr val="tx1"/>
                </a:solidFill>
              </a:rPr>
              <a:t>1-й год развития проекта «Эффективный регион»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17F4101-227B-4BE1-ABF1-CA1514E46A59}"/>
              </a:ext>
            </a:extLst>
          </p:cNvPr>
          <p:cNvSpPr txBox="1">
            <a:spLocks/>
          </p:cNvSpPr>
          <p:nvPr/>
        </p:nvSpPr>
        <p:spPr>
          <a:xfrm>
            <a:off x="400267" y="677101"/>
            <a:ext cx="8495176" cy="4193439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Полностью подготавливается коллектив проектного офиса региона, все его работники участвуют в реализации 2-3 проектов по улучшениям на пилотных площадках </a:t>
            </a:r>
            <a:r>
              <a:rPr lang="ru-RU" sz="1645" b="0" dirty="0" err="1">
                <a:solidFill>
                  <a:schemeClr val="tx1"/>
                </a:solidFill>
              </a:rPr>
              <a:t>подведов</a:t>
            </a:r>
            <a:r>
              <a:rPr lang="ru-RU" sz="1645" b="0" dirty="0">
                <a:solidFill>
                  <a:schemeClr val="tx1"/>
                </a:solidFill>
              </a:rPr>
              <a:t> как члены проектных команд.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Реализуется 2-3 волны бережливых проектов (запуск каждой волны не позже 4 месяцев после старта предыдущей, после прохождения стадии </a:t>
            </a:r>
            <a:r>
              <a:rPr lang="en-US" sz="1645" b="0" dirty="0">
                <a:solidFill>
                  <a:schemeClr val="tx1"/>
                </a:solidFill>
              </a:rPr>
              <a:t>kick-off</a:t>
            </a:r>
            <a:r>
              <a:rPr lang="ru-RU" sz="1645" b="0" dirty="0">
                <a:solidFill>
                  <a:schemeClr val="tx1"/>
                </a:solidFill>
              </a:rPr>
              <a:t> проектов)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Формируются и проходят партнерскую проверку не менее 3 образцов местного уровня на базе пилотных площадок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Формируется и проводит обучение первых групп слушателей фабрика процессов на площадке одного из пилотных образцов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В проектную работу по улучшениям вовлечены не менее 30% министерств региона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Проведено первое рейтингование отраслей по уровню развития бережливости, проведено публичное награждение лидеров успешных проектов и проектных команд.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На сайте администрации региона функционирует раздел по бережливому управлению с примерами наиболее полезных проектов, методологическими и новостными материалами.</a:t>
            </a:r>
          </a:p>
        </p:txBody>
      </p:sp>
    </p:spTree>
    <p:extLst>
      <p:ext uri="{BB962C8B-B14F-4D97-AF65-F5344CB8AC3E}">
        <p14:creationId xmlns:p14="http://schemas.microsoft.com/office/powerpoint/2010/main" val="17927686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7012" y="277722"/>
            <a:ext cx="6230611" cy="333992"/>
          </a:xfrm>
        </p:spPr>
        <p:txBody>
          <a:bodyPr/>
          <a:lstStyle/>
          <a:p>
            <a:pPr algn="ctr"/>
            <a:r>
              <a:rPr lang="ru-RU" sz="1793" dirty="0">
                <a:solidFill>
                  <a:schemeClr val="tx1"/>
                </a:solidFill>
              </a:rPr>
              <a:t>2-й год развития проекта «Эффективный регион»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17F4101-227B-4BE1-ABF1-CA1514E46A59}"/>
              </a:ext>
            </a:extLst>
          </p:cNvPr>
          <p:cNvSpPr txBox="1">
            <a:spLocks/>
          </p:cNvSpPr>
          <p:nvPr/>
        </p:nvSpPr>
        <p:spPr>
          <a:xfrm>
            <a:off x="400267" y="677101"/>
            <a:ext cx="8495176" cy="4193439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Полностью подготавливается коллектив проектного офиса региона, все его работники участвуют в обучении проектных команд.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Созданы центры компетенций не менее чем в 3 отраслях социально-экономической сферы региона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Реализуется 2-3 волны бережливых проектов (запуск каждой волны не позже 4 месяцев после старта предыдущей, после прохождения стадии </a:t>
            </a:r>
            <a:r>
              <a:rPr lang="en-US" sz="1645" b="0" dirty="0">
                <a:solidFill>
                  <a:schemeClr val="tx1"/>
                </a:solidFill>
              </a:rPr>
              <a:t>kick-off</a:t>
            </a:r>
            <a:r>
              <a:rPr lang="ru-RU" sz="1645" b="0" dirty="0">
                <a:solidFill>
                  <a:schemeClr val="tx1"/>
                </a:solidFill>
              </a:rPr>
              <a:t> проектов)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Формируются и проходят партнерскую проверку не менее 5 образцов местного уровня и 3 образцов регионального уровня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Функционируют не менее 3 фабрик процессов из разных отраслей социально-экономической сферы региона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В проектную работу по улучшениям вовлечены не менее 60% министерств региона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Проведено рейтингование отраслей по уровню развития бережливости, проведено публичное награждение лидеров успешных проектов и проектных команд.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Проведена первая межрегиональная конференция по тематике «Эффективный регион» с демонстрацией образцов региона, проведением практических мероприятий на площадках организаций региона.</a:t>
            </a:r>
          </a:p>
        </p:txBody>
      </p:sp>
    </p:spTree>
    <p:extLst>
      <p:ext uri="{BB962C8B-B14F-4D97-AF65-F5344CB8AC3E}">
        <p14:creationId xmlns:p14="http://schemas.microsoft.com/office/powerpoint/2010/main" val="17800918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7012" y="277722"/>
            <a:ext cx="6230611" cy="333992"/>
          </a:xfrm>
        </p:spPr>
        <p:txBody>
          <a:bodyPr/>
          <a:lstStyle/>
          <a:p>
            <a:pPr algn="ctr"/>
            <a:r>
              <a:rPr lang="ru-RU" sz="1793" dirty="0">
                <a:solidFill>
                  <a:schemeClr val="tx1"/>
                </a:solidFill>
              </a:rPr>
              <a:t>3-й год развития проекта «Эффективный регион»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17F4101-227B-4BE1-ABF1-CA1514E46A59}"/>
              </a:ext>
            </a:extLst>
          </p:cNvPr>
          <p:cNvSpPr txBox="1">
            <a:spLocks/>
          </p:cNvSpPr>
          <p:nvPr/>
        </p:nvSpPr>
        <p:spPr>
          <a:xfrm>
            <a:off x="400267" y="677101"/>
            <a:ext cx="8495176" cy="4193439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Созданы центры компетенций не менее чем в 50% отраслей социально-экономической сферы региона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Бережливые проекты реализуются на основании системы декомпозиции целей в регионе и положений стратегии развития бережливости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Формируются и проходят партнерскую проверку не менее 10 образцов местного уровня,7 образцов регионального уровня и 3 образцов федерального уровня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Функционируют не менее 5 фабрик процессов из разных отраслей социально-экономической сферы региона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В проектную работу по улучшениям вовлечены не менее 90% министерств региона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Проведено рейтингование отраслей по уровню развития бережливости, проведено публичное награждение лидеров успешных проектов и проектных команд.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Проведена очередная межрегиональная конференция по тематике «Эффективный регион» с демонстрацией образцов региона, проведением практических мероприятий на площадках организаций региона</a:t>
            </a:r>
          </a:p>
          <a:p>
            <a:pPr marL="341910" indent="-341910">
              <a:buFont typeface="Arial" panose="020B0604020202020204" pitchFamily="34" charset="0"/>
              <a:buChar char="•"/>
            </a:pPr>
            <a:r>
              <a:rPr lang="ru-RU" sz="1645" b="0" dirty="0">
                <a:solidFill>
                  <a:schemeClr val="tx1"/>
                </a:solidFill>
              </a:rPr>
              <a:t>В регионе действует не менее 2 региональных отделений федеральных клубов по отраслям.</a:t>
            </a:r>
          </a:p>
        </p:txBody>
      </p:sp>
    </p:spTree>
    <p:extLst>
      <p:ext uri="{BB962C8B-B14F-4D97-AF65-F5344CB8AC3E}">
        <p14:creationId xmlns:p14="http://schemas.microsoft.com/office/powerpoint/2010/main" val="16260220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31192FA-01C0-4CEE-BC59-209D21848F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47416" y="4763235"/>
            <a:ext cx="2127370" cy="273044"/>
          </a:xfrm>
          <a:prstGeom prst="rect">
            <a:avLst/>
          </a:prstGeom>
        </p:spPr>
        <p:txBody>
          <a:bodyPr vert="horz" lIns="68380" tIns="34190" rIns="68380" bIns="34190" rtlCol="0" anchor="ctr"/>
          <a:lstStyle>
            <a:defPPr>
              <a:defRPr lang="ru-RU"/>
            </a:defPPr>
            <a:lvl1pPr marL="0" algn="r" defTabSz="683819" rtl="0" eaLnBrk="1" latinLnBrk="0" hangingPunct="1">
              <a:defRPr sz="1196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41910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3819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5729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7639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09547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1457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3367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5276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736"/>
            <a:fld id="{137726B6-3386-492A-8DF3-B4BBCF0A00ED}" type="slidenum">
              <a:rPr lang="ru-RU" smtClean="0"/>
              <a:pPr defTabSz="911736"/>
              <a:t>24</a:t>
            </a:fld>
            <a:endParaRPr lang="ru-RU" sz="1047" dirty="0">
              <a:solidFill>
                <a:schemeClr val="tx1"/>
              </a:solidFill>
            </a:endParaRPr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A758E317-3E5A-4C0C-BE25-F5FFB2E9BB9C}"/>
              </a:ext>
            </a:extLst>
          </p:cNvPr>
          <p:cNvGrpSpPr/>
          <p:nvPr/>
        </p:nvGrpSpPr>
        <p:grpSpPr>
          <a:xfrm>
            <a:off x="202652" y="918495"/>
            <a:ext cx="7600242" cy="1846604"/>
            <a:chOff x="-370125" y="1013740"/>
            <a:chExt cx="8266454" cy="1860474"/>
          </a:xfrm>
        </p:grpSpPr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C57F3B33-5008-4A43-94F2-2DD3728CA1DB}"/>
                </a:ext>
              </a:extLst>
            </p:cNvPr>
            <p:cNvSpPr/>
            <p:nvPr/>
          </p:nvSpPr>
          <p:spPr>
            <a:xfrm>
              <a:off x="3133973" y="2200419"/>
              <a:ext cx="1419538" cy="67379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55025">
                <a:defRPr/>
              </a:pPr>
              <a:r>
                <a:rPr lang="ru-RU" sz="1097" b="1" kern="0" dirty="0">
                  <a:latin typeface="Arial" panose="020B0604020202020204" pitchFamily="34" charset="0"/>
                </a:rPr>
                <a:t>Структурное подразделение</a:t>
              </a: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689A2398-B547-410F-89F3-6597CC15E941}"/>
                </a:ext>
              </a:extLst>
            </p:cNvPr>
            <p:cNvSpPr/>
            <p:nvPr/>
          </p:nvSpPr>
          <p:spPr>
            <a:xfrm>
              <a:off x="-370125" y="1013740"/>
              <a:ext cx="3097615" cy="697299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55025">
                <a:defRPr/>
              </a:pPr>
              <a:r>
                <a:rPr lang="ru-RU" sz="1097" b="1" kern="0" dirty="0">
                  <a:latin typeface="Arial" panose="020B0604020202020204" pitchFamily="34" charset="0"/>
                </a:rPr>
                <a:t>Специалисты АО «ПСР» </a:t>
              </a:r>
            </a:p>
            <a:p>
              <a:pPr algn="ctr" defTabSz="955025">
                <a:defRPr/>
              </a:pPr>
              <a:r>
                <a:rPr lang="ru-RU" sz="1097" b="1" kern="0" dirty="0">
                  <a:latin typeface="Arial" panose="020B0604020202020204" pitchFamily="34" charset="0"/>
                </a:rPr>
                <a:t>Госкорпорации «Росатом»</a:t>
              </a: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52D11297-9112-4D0D-AC2B-B642423439B2}"/>
                </a:ext>
              </a:extLst>
            </p:cNvPr>
            <p:cNvSpPr/>
            <p:nvPr/>
          </p:nvSpPr>
          <p:spPr>
            <a:xfrm>
              <a:off x="4255330" y="1774717"/>
              <a:ext cx="3640999" cy="223495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55025">
                <a:defRPr/>
              </a:pPr>
              <a:r>
                <a:rPr lang="ru-RU" sz="1097" b="1" kern="0" dirty="0">
                  <a:latin typeface="Arial" panose="020B0604020202020204" pitchFamily="34" charset="0"/>
                </a:rPr>
                <a:t>ОИВ или ОМСУ (мини – офисы) </a:t>
              </a:r>
            </a:p>
          </p:txBody>
        </p:sp>
        <p:cxnSp>
          <p:nvCxnSpPr>
            <p:cNvPr id="51" name="Прямая со стрелкой 50">
              <a:extLst>
                <a:ext uri="{FF2B5EF4-FFF2-40B4-BE49-F238E27FC236}">
                  <a16:creationId xmlns:a16="http://schemas.microsoft.com/office/drawing/2014/main" id="{21C3C100-C996-4E0F-80D3-1AA2BCD3F937}"/>
                </a:ext>
              </a:extLst>
            </p:cNvPr>
            <p:cNvCxnSpPr>
              <a:cxnSpLocks/>
              <a:stCxn id="50" idx="1"/>
              <a:endCxn id="48" idx="0"/>
            </p:cNvCxnSpPr>
            <p:nvPr/>
          </p:nvCxnSpPr>
          <p:spPr>
            <a:xfrm flipH="1">
              <a:off x="3843743" y="1886465"/>
              <a:ext cx="411587" cy="313954"/>
            </a:xfrm>
            <a:prstGeom prst="straightConnector1">
              <a:avLst/>
            </a:prstGeom>
            <a:noFill/>
            <a:ln w="19050" cap="flat" cmpd="sng" algn="ctr">
              <a:solidFill>
                <a:schemeClr val="tx2"/>
              </a:solidFill>
              <a:prstDash val="solid"/>
              <a:miter lim="800000"/>
              <a:tailEnd type="triangle"/>
            </a:ln>
            <a:effectLst/>
          </p:spPr>
        </p:cxnSp>
      </p:grpSp>
      <p:pic>
        <p:nvPicPr>
          <p:cNvPr id="52" name="Picture 2">
            <a:extLst>
              <a:ext uri="{FF2B5EF4-FFF2-40B4-BE49-F238E27FC236}">
                <a16:creationId xmlns:a16="http://schemas.microsoft.com/office/drawing/2014/main" id="{F362A2B5-4E34-4B24-9C75-0FD6100808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52243" y="4190091"/>
            <a:ext cx="857672" cy="91573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53" name="Прямая со стрелкой 52">
            <a:extLst>
              <a:ext uri="{FF2B5EF4-FFF2-40B4-BE49-F238E27FC236}">
                <a16:creationId xmlns:a16="http://schemas.microsoft.com/office/drawing/2014/main" id="{C890528B-862A-45BE-B92F-2CB4466E67BD}"/>
              </a:ext>
            </a:extLst>
          </p:cNvPr>
          <p:cNvCxnSpPr>
            <a:cxnSpLocks/>
            <a:stCxn id="50" idx="2"/>
          </p:cNvCxnSpPr>
          <p:nvPr/>
        </p:nvCxnSpPr>
        <p:spPr>
          <a:xfrm>
            <a:off x="6129113" y="1895628"/>
            <a:ext cx="0" cy="178119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14ECC873-5E03-40B9-B111-79DC3762B3BB}"/>
              </a:ext>
            </a:extLst>
          </p:cNvPr>
          <p:cNvSpPr/>
          <p:nvPr/>
        </p:nvSpPr>
        <p:spPr>
          <a:xfrm>
            <a:off x="7604782" y="2073748"/>
            <a:ext cx="1305135" cy="66766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55025">
              <a:defRPr/>
            </a:pPr>
            <a:r>
              <a:rPr lang="ru-RU" sz="1097" b="1" kern="0" dirty="0">
                <a:latin typeface="Arial" panose="020B0604020202020204" pitchFamily="34" charset="0"/>
              </a:rPr>
              <a:t>Структурное подразделение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90138C3D-C6F6-4CF2-87E9-282077DEF3EA}"/>
              </a:ext>
            </a:extLst>
          </p:cNvPr>
          <p:cNvSpPr/>
          <p:nvPr/>
        </p:nvSpPr>
        <p:spPr>
          <a:xfrm>
            <a:off x="5553395" y="2073747"/>
            <a:ext cx="1305135" cy="69135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55025">
              <a:defRPr/>
            </a:pPr>
            <a:r>
              <a:rPr lang="ru-RU" sz="1097" b="1" kern="0" dirty="0">
                <a:latin typeface="Arial" panose="020B0604020202020204" pitchFamily="34" charset="0"/>
              </a:rPr>
              <a:t>Структурное подразделение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50ACDCB0-116A-4B2E-96D5-3449B7347069}"/>
              </a:ext>
            </a:extLst>
          </p:cNvPr>
          <p:cNvSpPr/>
          <p:nvPr/>
        </p:nvSpPr>
        <p:spPr>
          <a:xfrm>
            <a:off x="3421345" y="2924033"/>
            <a:ext cx="5488573" cy="395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solidFill>
              <a:schemeClr val="tx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55025">
              <a:defRPr/>
            </a:pPr>
            <a:r>
              <a:rPr lang="ru-RU" sz="1097" b="1" kern="0" dirty="0">
                <a:latin typeface="Arial" panose="020B0604020202020204" pitchFamily="34" charset="0"/>
              </a:rPr>
              <a:t>Подведомственные учреждения</a:t>
            </a: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99E992AF-33F0-432A-A212-09E6432245F7}"/>
              </a:ext>
            </a:extLst>
          </p:cNvPr>
          <p:cNvSpPr/>
          <p:nvPr/>
        </p:nvSpPr>
        <p:spPr>
          <a:xfrm>
            <a:off x="3181875" y="3577706"/>
            <a:ext cx="2858971" cy="476487"/>
          </a:xfrm>
          <a:prstGeom prst="rect">
            <a:avLst/>
          </a:prstGeom>
          <a:solidFill>
            <a:srgbClr val="ED7D31">
              <a:lumMod val="20000"/>
              <a:lumOff val="80000"/>
            </a:srgbClr>
          </a:solidFill>
          <a:ln w="3175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55025">
              <a:defRPr/>
            </a:pPr>
            <a:r>
              <a:rPr lang="ru-RU" sz="1097" b="1" i="1" kern="0" dirty="0">
                <a:latin typeface="Arial" panose="020B0604020202020204" pitchFamily="34" charset="0"/>
              </a:rPr>
              <a:t>Формирование бережливого мышления</a:t>
            </a:r>
          </a:p>
          <a:p>
            <a:pPr algn="ctr" defTabSz="955025">
              <a:defRPr/>
            </a:pPr>
            <a:r>
              <a:rPr lang="ru-RU" sz="1097" b="1" kern="0" dirty="0">
                <a:latin typeface="Arial" panose="020B0604020202020204" pitchFamily="34" charset="0"/>
              </a:rPr>
              <a:t>ОБУЧЕНИЕ И СОЗДАНИЕ ОБРАЗЦОВ</a:t>
            </a: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A268EF83-27AD-439F-8CEA-42B8E09892DF}"/>
              </a:ext>
            </a:extLst>
          </p:cNvPr>
          <p:cNvSpPr/>
          <p:nvPr/>
        </p:nvSpPr>
        <p:spPr>
          <a:xfrm>
            <a:off x="6243910" y="3572911"/>
            <a:ext cx="2666009" cy="486076"/>
          </a:xfrm>
          <a:prstGeom prst="rect">
            <a:avLst/>
          </a:prstGeom>
          <a:solidFill>
            <a:srgbClr val="ED7D31">
              <a:lumMod val="20000"/>
              <a:lumOff val="80000"/>
            </a:srgbClr>
          </a:solidFill>
          <a:ln w="3175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55025">
              <a:defRPr/>
            </a:pPr>
            <a:r>
              <a:rPr lang="ru-RU" sz="1097" b="1" i="1" kern="0" dirty="0">
                <a:latin typeface="Arial" panose="020B0604020202020204" pitchFamily="34" charset="0"/>
              </a:rPr>
              <a:t>Формирование бережливой среды</a:t>
            </a:r>
          </a:p>
          <a:p>
            <a:pPr algn="ctr" defTabSz="955025">
              <a:defRPr/>
            </a:pPr>
            <a:r>
              <a:rPr lang="ru-RU" sz="1097" b="1" kern="0" dirty="0">
                <a:latin typeface="Arial" panose="020B0604020202020204" pitchFamily="34" charset="0"/>
              </a:rPr>
              <a:t>РЕАЛИЗАЦИЯ ПРОЕКТОВ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EF918A4A-4F2F-4D96-9A9D-6A7FA21B1817}"/>
              </a:ext>
            </a:extLst>
          </p:cNvPr>
          <p:cNvSpPr/>
          <p:nvPr/>
        </p:nvSpPr>
        <p:spPr>
          <a:xfrm>
            <a:off x="3599626" y="4312417"/>
            <a:ext cx="4293755" cy="72611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55025">
              <a:defRPr/>
            </a:pPr>
            <a:r>
              <a:rPr lang="ru-RU" sz="1097" b="1" kern="0" dirty="0">
                <a:latin typeface="Arial" panose="020B0604020202020204" pitchFamily="34" charset="0"/>
              </a:rPr>
              <a:t>РАБОЧИЕ ГРУППЫ </a:t>
            </a:r>
          </a:p>
        </p:txBody>
      </p:sp>
      <p:graphicFrame>
        <p:nvGraphicFramePr>
          <p:cNvPr id="65" name="Схема 64">
            <a:extLst>
              <a:ext uri="{FF2B5EF4-FFF2-40B4-BE49-F238E27FC236}">
                <a16:creationId xmlns:a16="http://schemas.microsoft.com/office/drawing/2014/main" id="{CE6F46F4-9549-4AC1-B0C0-47AC24671489}"/>
              </a:ext>
            </a:extLst>
          </p:cNvPr>
          <p:cNvGraphicFramePr/>
          <p:nvPr/>
        </p:nvGraphicFramePr>
        <p:xfrm>
          <a:off x="233103" y="2140779"/>
          <a:ext cx="2948771" cy="30231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67" name="Прямая со стрелкой 66">
            <a:extLst>
              <a:ext uri="{FF2B5EF4-FFF2-40B4-BE49-F238E27FC236}">
                <a16:creationId xmlns:a16="http://schemas.microsoft.com/office/drawing/2014/main" id="{D1AA0EF9-7626-4038-814F-82F5D106C7AE}"/>
              </a:ext>
            </a:extLst>
          </p:cNvPr>
          <p:cNvCxnSpPr>
            <a:cxnSpLocks/>
            <a:stCxn id="50" idx="3"/>
            <a:endCxn id="57" idx="0"/>
          </p:cNvCxnSpPr>
          <p:nvPr/>
        </p:nvCxnSpPr>
        <p:spPr>
          <a:xfrm>
            <a:off x="7802895" y="1784713"/>
            <a:ext cx="454456" cy="289035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Прямая со стрелкой 67">
            <a:extLst>
              <a:ext uri="{FF2B5EF4-FFF2-40B4-BE49-F238E27FC236}">
                <a16:creationId xmlns:a16="http://schemas.microsoft.com/office/drawing/2014/main" id="{7D645D22-FC85-49C0-A859-AAD252265C8A}"/>
              </a:ext>
            </a:extLst>
          </p:cNvPr>
          <p:cNvCxnSpPr>
            <a:cxnSpLocks/>
          </p:cNvCxnSpPr>
          <p:nvPr/>
        </p:nvCxnSpPr>
        <p:spPr>
          <a:xfrm>
            <a:off x="4688288" y="3319480"/>
            <a:ext cx="0" cy="247982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9" name="Прямая со стрелкой 68">
            <a:extLst>
              <a:ext uri="{FF2B5EF4-FFF2-40B4-BE49-F238E27FC236}">
                <a16:creationId xmlns:a16="http://schemas.microsoft.com/office/drawing/2014/main" id="{ECDFC1AA-12A0-43D9-BA97-305281CE8E74}"/>
              </a:ext>
            </a:extLst>
          </p:cNvPr>
          <p:cNvCxnSpPr>
            <a:cxnSpLocks/>
          </p:cNvCxnSpPr>
          <p:nvPr/>
        </p:nvCxnSpPr>
        <p:spPr>
          <a:xfrm>
            <a:off x="7506011" y="3319480"/>
            <a:ext cx="0" cy="247982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2A3739F2-D50F-43A8-8E5B-D49AB8F16BDE}"/>
              </a:ext>
            </a:extLst>
          </p:cNvPr>
          <p:cNvCxnSpPr>
            <a:cxnSpLocks/>
          </p:cNvCxnSpPr>
          <p:nvPr/>
        </p:nvCxnSpPr>
        <p:spPr>
          <a:xfrm>
            <a:off x="234083" y="1582365"/>
            <a:ext cx="0" cy="2919315"/>
          </a:xfrm>
          <a:prstGeom prst="line">
            <a:avLst/>
          </a:prstGeom>
          <a:noFill/>
          <a:ln w="15875" cap="flat" cmpd="sng" algn="ctr">
            <a:solidFill>
              <a:schemeClr val="tx2"/>
            </a:solidFill>
            <a:prstDash val="sysDash"/>
            <a:miter lim="800000"/>
          </a:ln>
          <a:effectLst/>
        </p:spPr>
      </p:cxnSp>
      <p:cxnSp>
        <p:nvCxnSpPr>
          <p:cNvPr id="73" name="Прямая со стрелкой 72">
            <a:extLst>
              <a:ext uri="{FF2B5EF4-FFF2-40B4-BE49-F238E27FC236}">
                <a16:creationId xmlns:a16="http://schemas.microsoft.com/office/drawing/2014/main" id="{D1782617-6736-45B5-9C68-578893A30B3E}"/>
              </a:ext>
            </a:extLst>
          </p:cNvPr>
          <p:cNvCxnSpPr/>
          <p:nvPr/>
        </p:nvCxnSpPr>
        <p:spPr>
          <a:xfrm>
            <a:off x="233102" y="2648656"/>
            <a:ext cx="245581" cy="0"/>
          </a:xfrm>
          <a:prstGeom prst="straightConnector1">
            <a:avLst/>
          </a:prstGeom>
          <a:noFill/>
          <a:ln w="12700" cap="flat" cmpd="sng" algn="ctr">
            <a:solidFill>
              <a:schemeClr val="tx2"/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74" name="Прямая со стрелкой 73">
            <a:extLst>
              <a:ext uri="{FF2B5EF4-FFF2-40B4-BE49-F238E27FC236}">
                <a16:creationId xmlns:a16="http://schemas.microsoft.com/office/drawing/2014/main" id="{22784C6E-B290-4F88-936F-DBB6D220B21B}"/>
              </a:ext>
            </a:extLst>
          </p:cNvPr>
          <p:cNvCxnSpPr/>
          <p:nvPr/>
        </p:nvCxnSpPr>
        <p:spPr>
          <a:xfrm>
            <a:off x="233102" y="3652330"/>
            <a:ext cx="245581" cy="0"/>
          </a:xfrm>
          <a:prstGeom prst="straightConnector1">
            <a:avLst/>
          </a:prstGeom>
          <a:noFill/>
          <a:ln w="12700" cap="flat" cmpd="sng" algn="ctr">
            <a:solidFill>
              <a:schemeClr val="tx2"/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75" name="Прямая со стрелкой 74">
            <a:extLst>
              <a:ext uri="{FF2B5EF4-FFF2-40B4-BE49-F238E27FC236}">
                <a16:creationId xmlns:a16="http://schemas.microsoft.com/office/drawing/2014/main" id="{6E1FBBED-AFC8-49A2-94BC-5C8A58434E8D}"/>
              </a:ext>
            </a:extLst>
          </p:cNvPr>
          <p:cNvCxnSpPr/>
          <p:nvPr/>
        </p:nvCxnSpPr>
        <p:spPr>
          <a:xfrm>
            <a:off x="233102" y="4501680"/>
            <a:ext cx="245581" cy="0"/>
          </a:xfrm>
          <a:prstGeom prst="straightConnector1">
            <a:avLst/>
          </a:prstGeom>
          <a:noFill/>
          <a:ln w="12700" cap="flat" cmpd="sng" algn="ctr">
            <a:solidFill>
              <a:schemeClr val="tx2"/>
            </a:solidFill>
            <a:prstDash val="sysDash"/>
            <a:miter lim="800000"/>
            <a:tailEnd type="triangle"/>
          </a:ln>
          <a:effectLst/>
        </p:spPr>
      </p:cxnSp>
      <p:sp>
        <p:nvSpPr>
          <p:cNvPr id="92" name="Заголовок 1">
            <a:extLst>
              <a:ext uri="{FF2B5EF4-FFF2-40B4-BE49-F238E27FC236}">
                <a16:creationId xmlns:a16="http://schemas.microsoft.com/office/drawing/2014/main" id="{DE67E956-5DA8-443E-A55B-F0441A246495}"/>
              </a:ext>
            </a:extLst>
          </p:cNvPr>
          <p:cNvSpPr txBox="1">
            <a:spLocks/>
          </p:cNvSpPr>
          <p:nvPr/>
        </p:nvSpPr>
        <p:spPr bwMode="auto">
          <a:xfrm>
            <a:off x="739795" y="98473"/>
            <a:ext cx="4274255" cy="69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eaLnBrk="0" hangingPunct="0">
              <a:defRPr sz="2200" b="1" kern="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11736"/>
            <a:r>
              <a:rPr lang="ru-RU" sz="1795" dirty="0">
                <a:solidFill>
                  <a:schemeClr val="tx1"/>
                </a:solidFill>
                <a:latin typeface="Arial" panose="020B0604020202020204" pitchFamily="34" charset="0"/>
                <a:ea typeface="Fira Sans Medium" panose="020B0603050000020004" pitchFamily="34" charset="0"/>
                <a:cs typeface="Arial" panose="020B0604020202020204" pitchFamily="34" charset="0"/>
              </a:rPr>
              <a:t>Схема взаимодействия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C1670FDC-5095-4BBC-9DBF-A87B05EB2D06}"/>
              </a:ext>
            </a:extLst>
          </p:cNvPr>
          <p:cNvSpPr/>
          <p:nvPr/>
        </p:nvSpPr>
        <p:spPr>
          <a:xfrm>
            <a:off x="410797" y="204807"/>
            <a:ext cx="50399" cy="59216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736"/>
            <a:endParaRPr lang="ru-RU" sz="1795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7493303A-6A41-4FB5-A3B2-3B96231D7533}"/>
              </a:ext>
            </a:extLst>
          </p:cNvPr>
          <p:cNvSpPr/>
          <p:nvPr/>
        </p:nvSpPr>
        <p:spPr>
          <a:xfrm>
            <a:off x="4455332" y="1214126"/>
            <a:ext cx="2284506" cy="32856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3175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55025">
              <a:defRPr/>
            </a:pPr>
            <a:r>
              <a:rPr lang="ru-RU" sz="1047" b="1" kern="0" dirty="0">
                <a:latin typeface="Arial" panose="020B0604020202020204" pitchFamily="34" charset="0"/>
              </a:rPr>
              <a:t>Региональный бережливый офис</a:t>
            </a:r>
          </a:p>
        </p:txBody>
      </p: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50D04C64-9B9D-4FF2-8B48-38AE02213C63}"/>
              </a:ext>
            </a:extLst>
          </p:cNvPr>
          <p:cNvCxnSpPr>
            <a:cxnSpLocks/>
            <a:stCxn id="49" idx="3"/>
            <a:endCxn id="35" idx="1"/>
          </p:cNvCxnSpPr>
          <p:nvPr/>
        </p:nvCxnSpPr>
        <p:spPr>
          <a:xfrm>
            <a:off x="3050624" y="1264546"/>
            <a:ext cx="1404708" cy="113864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2762BB85-637A-4DE8-97D7-044CBFA1471A}"/>
              </a:ext>
            </a:extLst>
          </p:cNvPr>
          <p:cNvSpPr/>
          <p:nvPr/>
        </p:nvSpPr>
        <p:spPr>
          <a:xfrm>
            <a:off x="4455332" y="878517"/>
            <a:ext cx="3347547" cy="20450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3175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55025">
              <a:defRPr/>
            </a:pPr>
            <a:r>
              <a:rPr lang="ru-RU" sz="1097" b="1" kern="0" dirty="0">
                <a:latin typeface="Arial" panose="020B0604020202020204" pitchFamily="34" charset="0"/>
              </a:rPr>
              <a:t>Курирующий заместитель</a:t>
            </a:r>
          </a:p>
        </p:txBody>
      </p:sp>
      <p:cxnSp>
        <p:nvCxnSpPr>
          <p:cNvPr id="63" name="Прямая со стрелкой 62">
            <a:extLst>
              <a:ext uri="{FF2B5EF4-FFF2-40B4-BE49-F238E27FC236}">
                <a16:creationId xmlns:a16="http://schemas.microsoft.com/office/drawing/2014/main" id="{C0D22E55-E840-4F23-A23A-DA051868131D}"/>
              </a:ext>
            </a:extLst>
          </p:cNvPr>
          <p:cNvCxnSpPr>
            <a:cxnSpLocks/>
          </p:cNvCxnSpPr>
          <p:nvPr/>
        </p:nvCxnSpPr>
        <p:spPr>
          <a:xfrm>
            <a:off x="6129113" y="1080821"/>
            <a:ext cx="0" cy="184190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5" name="Прямая со стрелкой 44">
            <a:extLst>
              <a:ext uri="{FF2B5EF4-FFF2-40B4-BE49-F238E27FC236}">
                <a16:creationId xmlns:a16="http://schemas.microsoft.com/office/drawing/2014/main" id="{FDCA9494-A7F1-4D48-A6CA-7550E5DB2D33}"/>
              </a:ext>
            </a:extLst>
          </p:cNvPr>
          <p:cNvCxnSpPr>
            <a:cxnSpLocks/>
          </p:cNvCxnSpPr>
          <p:nvPr/>
        </p:nvCxnSpPr>
        <p:spPr>
          <a:xfrm>
            <a:off x="6129113" y="1496680"/>
            <a:ext cx="0" cy="184190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6" name="Прямая со стрелкой 55">
            <a:extLst>
              <a:ext uri="{FF2B5EF4-FFF2-40B4-BE49-F238E27FC236}">
                <a16:creationId xmlns:a16="http://schemas.microsoft.com/office/drawing/2014/main" id="{795709AA-2A57-4FF0-9DFC-53881B885649}"/>
              </a:ext>
            </a:extLst>
          </p:cNvPr>
          <p:cNvCxnSpPr>
            <a:cxnSpLocks/>
            <a:stCxn id="49" idx="3"/>
          </p:cNvCxnSpPr>
          <p:nvPr/>
        </p:nvCxnSpPr>
        <p:spPr>
          <a:xfrm>
            <a:off x="3050624" y="1264545"/>
            <a:ext cx="1404709" cy="500717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14ECC873-5E03-40B9-B111-79DC3762B3BB}"/>
              </a:ext>
            </a:extLst>
          </p:cNvPr>
          <p:cNvSpPr/>
          <p:nvPr/>
        </p:nvSpPr>
        <p:spPr>
          <a:xfrm>
            <a:off x="5273558" y="166432"/>
            <a:ext cx="1711094" cy="59440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55025">
              <a:defRPr/>
            </a:pPr>
            <a:r>
              <a:rPr lang="ru-RU" sz="1097" b="1" kern="0" dirty="0">
                <a:latin typeface="Arial" panose="020B0604020202020204" pitchFamily="34" charset="0"/>
              </a:rPr>
              <a:t>Глава и Правительство региона</a:t>
            </a:r>
          </a:p>
        </p:txBody>
      </p:sp>
      <p:cxnSp>
        <p:nvCxnSpPr>
          <p:cNvPr id="41" name="Прямая со стрелкой 40">
            <a:extLst>
              <a:ext uri="{FF2B5EF4-FFF2-40B4-BE49-F238E27FC236}">
                <a16:creationId xmlns:a16="http://schemas.microsoft.com/office/drawing/2014/main" id="{B0465FC1-2EC1-4915-B608-7251F1EEACB1}"/>
              </a:ext>
            </a:extLst>
          </p:cNvPr>
          <p:cNvCxnSpPr>
            <a:cxnSpLocks/>
            <a:stCxn id="37" idx="2"/>
          </p:cNvCxnSpPr>
          <p:nvPr/>
        </p:nvCxnSpPr>
        <p:spPr>
          <a:xfrm>
            <a:off x="6129104" y="760833"/>
            <a:ext cx="0" cy="92094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593EEC68-69B5-4898-9F9F-0D318804FFF2}"/>
              </a:ext>
            </a:extLst>
          </p:cNvPr>
          <p:cNvSpPr/>
          <p:nvPr/>
        </p:nvSpPr>
        <p:spPr>
          <a:xfrm>
            <a:off x="6945206" y="1214124"/>
            <a:ext cx="857672" cy="328568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3175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55025">
              <a:defRPr/>
            </a:pPr>
            <a:r>
              <a:rPr lang="ru-RU" sz="1047" b="1" kern="0" dirty="0">
                <a:latin typeface="Arial" panose="020B0604020202020204" pitchFamily="34" charset="0"/>
              </a:rPr>
              <a:t>ЦУР</a:t>
            </a:r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CE5F3E06-203C-4B88-91F0-FE57A659D2CF}"/>
              </a:ext>
            </a:extLst>
          </p:cNvPr>
          <p:cNvCxnSpPr>
            <a:stCxn id="44" idx="1"/>
            <a:endCxn id="35" idx="3"/>
          </p:cNvCxnSpPr>
          <p:nvPr/>
        </p:nvCxnSpPr>
        <p:spPr>
          <a:xfrm flipH="1">
            <a:off x="6739838" y="1378408"/>
            <a:ext cx="205369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3CA98CC4-1C55-41A0-8344-41D60986449E}"/>
              </a:ext>
            </a:extLst>
          </p:cNvPr>
          <p:cNvCxnSpPr>
            <a:stCxn id="44" idx="2"/>
          </p:cNvCxnSpPr>
          <p:nvPr/>
        </p:nvCxnSpPr>
        <p:spPr>
          <a:xfrm>
            <a:off x="7374042" y="1542692"/>
            <a:ext cx="0" cy="1311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>
            <a:extLst>
              <a:ext uri="{FF2B5EF4-FFF2-40B4-BE49-F238E27FC236}">
                <a16:creationId xmlns:a16="http://schemas.microsoft.com/office/drawing/2014/main" id="{7D699389-1CA4-497A-988D-919E17A2CD49}"/>
              </a:ext>
            </a:extLst>
          </p:cNvPr>
          <p:cNvCxnSpPr>
            <a:cxnSpLocks/>
          </p:cNvCxnSpPr>
          <p:nvPr/>
        </p:nvCxnSpPr>
        <p:spPr>
          <a:xfrm>
            <a:off x="4199119" y="2741413"/>
            <a:ext cx="0" cy="178119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6" name="Прямая со стрелкой 65">
            <a:extLst>
              <a:ext uri="{FF2B5EF4-FFF2-40B4-BE49-F238E27FC236}">
                <a16:creationId xmlns:a16="http://schemas.microsoft.com/office/drawing/2014/main" id="{E89471AE-C5F0-4047-B9F1-8BBEE428DAD8}"/>
              </a:ext>
            </a:extLst>
          </p:cNvPr>
          <p:cNvCxnSpPr>
            <a:cxnSpLocks/>
          </p:cNvCxnSpPr>
          <p:nvPr/>
        </p:nvCxnSpPr>
        <p:spPr>
          <a:xfrm>
            <a:off x="6122897" y="2726755"/>
            <a:ext cx="0" cy="178119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Стрелка: вниз 16">
            <a:extLst>
              <a:ext uri="{FF2B5EF4-FFF2-40B4-BE49-F238E27FC236}">
                <a16:creationId xmlns:a16="http://schemas.microsoft.com/office/drawing/2014/main" id="{66B1089F-C4AD-4746-A282-F5C6031E9B90}"/>
              </a:ext>
            </a:extLst>
          </p:cNvPr>
          <p:cNvSpPr/>
          <p:nvPr/>
        </p:nvSpPr>
        <p:spPr>
          <a:xfrm rot="10800000">
            <a:off x="4755357" y="4064436"/>
            <a:ext cx="556215" cy="21555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46"/>
          </a:p>
        </p:txBody>
      </p:sp>
      <p:sp>
        <p:nvSpPr>
          <p:cNvPr id="76" name="Стрелка: вниз 75">
            <a:extLst>
              <a:ext uri="{FF2B5EF4-FFF2-40B4-BE49-F238E27FC236}">
                <a16:creationId xmlns:a16="http://schemas.microsoft.com/office/drawing/2014/main" id="{1C61954D-58BE-4490-ACB2-2B8DC82C0632}"/>
              </a:ext>
            </a:extLst>
          </p:cNvPr>
          <p:cNvSpPr/>
          <p:nvPr/>
        </p:nvSpPr>
        <p:spPr>
          <a:xfrm rot="10800000">
            <a:off x="6885056" y="4064435"/>
            <a:ext cx="556215" cy="21555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46"/>
          </a:p>
        </p:txBody>
      </p:sp>
      <p:sp>
        <p:nvSpPr>
          <p:cNvPr id="77" name="Стрелка: вниз 76">
            <a:extLst>
              <a:ext uri="{FF2B5EF4-FFF2-40B4-BE49-F238E27FC236}">
                <a16:creationId xmlns:a16="http://schemas.microsoft.com/office/drawing/2014/main" id="{1BAEFBA8-F04D-4725-A87A-7D56B31EF49B}"/>
              </a:ext>
            </a:extLst>
          </p:cNvPr>
          <p:cNvSpPr/>
          <p:nvPr/>
        </p:nvSpPr>
        <p:spPr>
          <a:xfrm rot="16200000">
            <a:off x="2728921" y="3718783"/>
            <a:ext cx="556215" cy="21555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46"/>
          </a:p>
        </p:txBody>
      </p:sp>
    </p:spTree>
    <p:extLst>
      <p:ext uri="{BB962C8B-B14F-4D97-AF65-F5344CB8AC3E}">
        <p14:creationId xmlns:p14="http://schemas.microsoft.com/office/powerpoint/2010/main" val="128735502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A67F5B8-A96D-4787-9C8D-2A0F0F0C6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47416" y="4763235"/>
            <a:ext cx="2127370" cy="273044"/>
          </a:xfrm>
          <a:prstGeom prst="rect">
            <a:avLst/>
          </a:prstGeom>
        </p:spPr>
        <p:txBody>
          <a:bodyPr vert="horz" lIns="68380" tIns="34190" rIns="68380" bIns="34190" rtlCol="0" anchor="ctr"/>
          <a:lstStyle>
            <a:defPPr>
              <a:defRPr lang="ru-RU"/>
            </a:defPPr>
            <a:lvl1pPr marL="0" algn="r" defTabSz="683819" rtl="0" eaLnBrk="1" latinLnBrk="0" hangingPunct="1">
              <a:defRPr sz="1196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41910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3819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5729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7639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09547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1457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3367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5276" algn="l" defTabSz="683819" rtl="0" eaLnBrk="1" latinLnBrk="0" hangingPunct="1">
              <a:defRPr sz="13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37726B6-3386-492A-8DF3-B4BBCF0A00ED}" type="slidenum">
              <a:rPr lang="ru-RU" smtClean="0"/>
              <a:pPr/>
              <a:t>25</a:t>
            </a:fld>
            <a:endParaRPr lang="ru-RU" dirty="0">
              <a:cs typeface="Arial" panose="020B0604020202020204" pitchFamily="34" charset="0"/>
            </a:endParaRPr>
          </a:p>
        </p:txBody>
      </p:sp>
      <p:sp>
        <p:nvSpPr>
          <p:cNvPr id="42" name="Заголовок 1">
            <a:extLst>
              <a:ext uri="{FF2B5EF4-FFF2-40B4-BE49-F238E27FC236}">
                <a16:creationId xmlns:a16="http://schemas.microsoft.com/office/drawing/2014/main" id="{2761328E-CF48-4FED-BC4E-3901387EC53A}"/>
              </a:ext>
            </a:extLst>
          </p:cNvPr>
          <p:cNvSpPr txBox="1">
            <a:spLocks/>
          </p:cNvSpPr>
          <p:nvPr/>
        </p:nvSpPr>
        <p:spPr bwMode="auto">
          <a:xfrm>
            <a:off x="636754" y="170250"/>
            <a:ext cx="6429462" cy="69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eaLnBrk="0" hangingPunct="0">
              <a:defRPr sz="2200" b="1" kern="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11736"/>
            <a:r>
              <a:rPr lang="ru-RU" sz="1795" dirty="0">
                <a:solidFill>
                  <a:schemeClr val="tx1"/>
                </a:solidFill>
                <a:latin typeface="Arial" panose="020B0604020202020204" pitchFamily="34" charset="0"/>
                <a:ea typeface="Fira Sans Medium" panose="020B0603050000020004" pitchFamily="34" charset="0"/>
                <a:cs typeface="Arial" panose="020B0604020202020204" pitchFamily="34" charset="0"/>
              </a:rPr>
              <a:t>Логика выбора направлений проектной деятельности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9D67BE6-E82F-4223-901D-7D91D2244949}"/>
              </a:ext>
            </a:extLst>
          </p:cNvPr>
          <p:cNvSpPr/>
          <p:nvPr/>
        </p:nvSpPr>
        <p:spPr>
          <a:xfrm>
            <a:off x="410797" y="204807"/>
            <a:ext cx="50399" cy="59216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5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https://tverigrad.ru/wp-content/uploads/2022/09/QiyNKMif7VD5kzKmAQrnpkLrFzONOFS-Asiu3g1PL1cdDNhDwlzMfC1trTitcDyKUZyhB8C.jpg">
            <a:extLst>
              <a:ext uri="{FF2B5EF4-FFF2-40B4-BE49-F238E27FC236}">
                <a16:creationId xmlns:a16="http://schemas.microsoft.com/office/drawing/2014/main" id="{39E23513-C0B4-44D3-B408-610AFD0A3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7432" y="823154"/>
            <a:ext cx="2196575" cy="1085959"/>
          </a:xfrm>
          <a:prstGeom prst="rect">
            <a:avLst/>
          </a:prstGeom>
          <a:noFill/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A3762F3-3221-45CA-BB1E-CCC7CB73C9EB}"/>
              </a:ext>
            </a:extLst>
          </p:cNvPr>
          <p:cNvSpPr txBox="1"/>
          <p:nvPr/>
        </p:nvSpPr>
        <p:spPr>
          <a:xfrm>
            <a:off x="3618153" y="1975663"/>
            <a:ext cx="1501382" cy="29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46" b="1" dirty="0"/>
              <a:t>ОИВ и ОМСУ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769B2E-7248-4520-A3F5-BBC8F93D2155}"/>
              </a:ext>
            </a:extLst>
          </p:cNvPr>
          <p:cNvSpPr txBox="1"/>
          <p:nvPr/>
        </p:nvSpPr>
        <p:spPr>
          <a:xfrm>
            <a:off x="636754" y="2507238"/>
            <a:ext cx="2513147" cy="7136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46" dirty="0"/>
              <a:t>КПЭ Главы региона и стратегические направления развития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201AE7C-A68E-4C6A-A826-E9A017292438}"/>
              </a:ext>
            </a:extLst>
          </p:cNvPr>
          <p:cNvSpPr txBox="1"/>
          <p:nvPr/>
        </p:nvSpPr>
        <p:spPr>
          <a:xfrm>
            <a:off x="5679652" y="2603471"/>
            <a:ext cx="2513147" cy="50654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46" dirty="0"/>
              <a:t>Проблематика ЦУР, обращения, опросы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A1C7F9-B7B4-4A1A-8342-A767C3F0A654}"/>
              </a:ext>
            </a:extLst>
          </p:cNvPr>
          <p:cNvSpPr txBox="1"/>
          <p:nvPr/>
        </p:nvSpPr>
        <p:spPr>
          <a:xfrm>
            <a:off x="5448714" y="3391067"/>
            <a:ext cx="1278404" cy="13349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346" dirty="0"/>
              <a:t>Персональные поручения Главы региона и Председателя Правительства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5712824-1A01-48A1-B9F9-888551D5AA6F}"/>
              </a:ext>
            </a:extLst>
          </p:cNvPr>
          <p:cNvSpPr txBox="1"/>
          <p:nvPr/>
        </p:nvSpPr>
        <p:spPr>
          <a:xfrm>
            <a:off x="6936227" y="3391067"/>
            <a:ext cx="1727771" cy="9207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346" dirty="0"/>
              <a:t>Решение проблем – поток улучшений на основе запросов жителей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411C97B-EF00-4094-B490-654CABCDE75E}"/>
              </a:ext>
            </a:extLst>
          </p:cNvPr>
          <p:cNvSpPr txBox="1"/>
          <p:nvPr/>
        </p:nvSpPr>
        <p:spPr>
          <a:xfrm>
            <a:off x="219985" y="3443258"/>
            <a:ext cx="1584151" cy="71365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346" dirty="0"/>
              <a:t>Оптимизация гос. услуг и трудоемких полномочий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ACBAA77-5B8A-4A62-9A50-8E3AFC98107C}"/>
              </a:ext>
            </a:extLst>
          </p:cNvPr>
          <p:cNvSpPr txBox="1"/>
          <p:nvPr/>
        </p:nvSpPr>
        <p:spPr>
          <a:xfrm>
            <a:off x="1907469" y="3433293"/>
            <a:ext cx="1727771" cy="9207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346" dirty="0"/>
              <a:t>Оптимизация сквозных потоков и повышение производительности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F9A7367-969A-45B1-9755-0F2BFFAD0575}"/>
              </a:ext>
            </a:extLst>
          </p:cNvPr>
          <p:cNvSpPr txBox="1"/>
          <p:nvPr/>
        </p:nvSpPr>
        <p:spPr>
          <a:xfrm>
            <a:off x="3738573" y="3433294"/>
            <a:ext cx="1380961" cy="133498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346" dirty="0"/>
              <a:t>Создание образцов и региональных стандартов в учреждениях и организациях</a:t>
            </a:r>
          </a:p>
        </p:txBody>
      </p:sp>
      <p:sp>
        <p:nvSpPr>
          <p:cNvPr id="9" name="Стрелка: вниз 8">
            <a:extLst>
              <a:ext uri="{FF2B5EF4-FFF2-40B4-BE49-F238E27FC236}">
                <a16:creationId xmlns:a16="http://schemas.microsoft.com/office/drawing/2014/main" id="{C082CBCB-21D4-4800-A469-23FF77ACFECF}"/>
              </a:ext>
            </a:extLst>
          </p:cNvPr>
          <p:cNvSpPr/>
          <p:nvPr/>
        </p:nvSpPr>
        <p:spPr>
          <a:xfrm rot="3347300">
            <a:off x="2951023" y="1931243"/>
            <a:ext cx="225455" cy="5538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46"/>
          </a:p>
        </p:txBody>
      </p:sp>
      <p:sp>
        <p:nvSpPr>
          <p:cNvPr id="37" name="Стрелка: вниз 36">
            <a:extLst>
              <a:ext uri="{FF2B5EF4-FFF2-40B4-BE49-F238E27FC236}">
                <a16:creationId xmlns:a16="http://schemas.microsoft.com/office/drawing/2014/main" id="{D723600D-9268-4883-97C8-43F8C12F368F}"/>
              </a:ext>
            </a:extLst>
          </p:cNvPr>
          <p:cNvSpPr/>
          <p:nvPr/>
        </p:nvSpPr>
        <p:spPr>
          <a:xfrm rot="18308696">
            <a:off x="5475289" y="1912071"/>
            <a:ext cx="225455" cy="5538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46"/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DC70A917-8DF1-4081-80EE-BD29A102BE26}"/>
              </a:ext>
            </a:extLst>
          </p:cNvPr>
          <p:cNvCxnSpPr>
            <a:endCxn id="31" idx="0"/>
          </p:cNvCxnSpPr>
          <p:nvPr/>
        </p:nvCxnSpPr>
        <p:spPr>
          <a:xfrm flipH="1">
            <a:off x="1012061" y="3239152"/>
            <a:ext cx="381552" cy="2041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A20DB59E-3CE1-427E-BE45-F3A5F0AF60A0}"/>
              </a:ext>
            </a:extLst>
          </p:cNvPr>
          <p:cNvCxnSpPr/>
          <p:nvPr/>
        </p:nvCxnSpPr>
        <p:spPr>
          <a:xfrm>
            <a:off x="2235692" y="3239151"/>
            <a:ext cx="282438" cy="1941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40266BD4-9FF9-4DD3-8745-6B2445C3C213}"/>
              </a:ext>
            </a:extLst>
          </p:cNvPr>
          <p:cNvCxnSpPr/>
          <p:nvPr/>
        </p:nvCxnSpPr>
        <p:spPr>
          <a:xfrm>
            <a:off x="3149900" y="3197713"/>
            <a:ext cx="936505" cy="235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9597B63B-F44A-4C67-B999-2EFD7042C6A6}"/>
              </a:ext>
            </a:extLst>
          </p:cNvPr>
          <p:cNvCxnSpPr>
            <a:endCxn id="7" idx="0"/>
          </p:cNvCxnSpPr>
          <p:nvPr/>
        </p:nvCxnSpPr>
        <p:spPr>
          <a:xfrm flipH="1">
            <a:off x="6087916" y="3114801"/>
            <a:ext cx="250562" cy="2762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>
            <a:extLst>
              <a:ext uri="{FF2B5EF4-FFF2-40B4-BE49-F238E27FC236}">
                <a16:creationId xmlns:a16="http://schemas.microsoft.com/office/drawing/2014/main" id="{5FB337D7-80BB-411E-A78C-3FA9AD75A8C6}"/>
              </a:ext>
            </a:extLst>
          </p:cNvPr>
          <p:cNvCxnSpPr/>
          <p:nvPr/>
        </p:nvCxnSpPr>
        <p:spPr>
          <a:xfrm>
            <a:off x="7472301" y="3114801"/>
            <a:ext cx="230410" cy="2762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070C7133-BC95-4BC1-AA69-6C562E1535C6}"/>
              </a:ext>
            </a:extLst>
          </p:cNvPr>
          <p:cNvSpPr txBox="1"/>
          <p:nvPr/>
        </p:nvSpPr>
        <p:spPr>
          <a:xfrm>
            <a:off x="5954134" y="2026937"/>
            <a:ext cx="1058175" cy="29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46" dirty="0"/>
              <a:t>Режим МЧС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88F517E-DD4F-471D-8373-1208773773BA}"/>
              </a:ext>
            </a:extLst>
          </p:cNvPr>
          <p:cNvSpPr txBox="1"/>
          <p:nvPr/>
        </p:nvSpPr>
        <p:spPr>
          <a:xfrm>
            <a:off x="830823" y="1906116"/>
            <a:ext cx="2308837" cy="5065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46" dirty="0"/>
              <a:t>Режим системного развития </a:t>
            </a:r>
          </a:p>
          <a:p>
            <a:r>
              <a:rPr lang="ru-RU" sz="1346" dirty="0"/>
              <a:t>и стратегии</a:t>
            </a:r>
          </a:p>
        </p:txBody>
      </p:sp>
    </p:spTree>
    <p:extLst>
      <p:ext uri="{BB962C8B-B14F-4D97-AF65-F5344CB8AC3E}">
        <p14:creationId xmlns:p14="http://schemas.microsoft.com/office/powerpoint/2010/main" val="1575059536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Прямоугольник 221">
            <a:extLst>
              <a:ext uri="{FF2B5EF4-FFF2-40B4-BE49-F238E27FC236}">
                <a16:creationId xmlns:a16="http://schemas.microsoft.com/office/drawing/2014/main" id="{984E31C0-BB5F-46F9-BA2C-3FED686068DE}"/>
              </a:ext>
            </a:extLst>
          </p:cNvPr>
          <p:cNvSpPr/>
          <p:nvPr/>
        </p:nvSpPr>
        <p:spPr>
          <a:xfrm>
            <a:off x="4206240" y="909681"/>
            <a:ext cx="4936884" cy="358118"/>
          </a:xfrm>
          <a:prstGeom prst="rect">
            <a:avLst/>
          </a:prstGeom>
          <a:solidFill>
            <a:srgbClr val="E3E7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5DC039F-57C2-4140-8FED-458719815876}"/>
              </a:ext>
            </a:extLst>
          </p:cNvPr>
          <p:cNvSpPr/>
          <p:nvPr/>
        </p:nvSpPr>
        <p:spPr>
          <a:xfrm>
            <a:off x="0" y="2381"/>
            <a:ext cx="3344450" cy="5143500"/>
          </a:xfrm>
          <a:prstGeom prst="rect">
            <a:avLst/>
          </a:prstGeom>
          <a:gradFill flip="none" rotWithShape="1">
            <a:gsLst>
              <a:gs pos="56000">
                <a:schemeClr val="bg1">
                  <a:alpha val="87000"/>
                </a:schemeClr>
              </a:gs>
              <a:gs pos="33000">
                <a:schemeClr val="bg1">
                  <a:alpha val="71000"/>
                </a:schemeClr>
              </a:gs>
              <a:gs pos="7000">
                <a:schemeClr val="bg1">
                  <a:alpha val="0"/>
                </a:schemeClr>
              </a:gs>
              <a:gs pos="85000">
                <a:srgbClr val="FCFFFF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1067">
              <a:defRPr/>
            </a:pPr>
            <a:endParaRPr lang="ru-RU" sz="130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70317E81-3996-4393-8DD1-A57B6F91EDE4}"/>
              </a:ext>
            </a:extLst>
          </p:cNvPr>
          <p:cNvSpPr/>
          <p:nvPr/>
        </p:nvSpPr>
        <p:spPr>
          <a:xfrm>
            <a:off x="0" y="909681"/>
            <a:ext cx="3773850" cy="358118"/>
          </a:xfrm>
          <a:prstGeom prst="rect">
            <a:avLst/>
          </a:prstGeom>
          <a:solidFill>
            <a:srgbClr val="E3E7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E2C588-3A25-8123-7CE4-40F3B0BD9E04}"/>
              </a:ext>
            </a:extLst>
          </p:cNvPr>
          <p:cNvSpPr txBox="1"/>
          <p:nvPr/>
        </p:nvSpPr>
        <p:spPr>
          <a:xfrm>
            <a:off x="234133" y="148941"/>
            <a:ext cx="77320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«Бережная школа»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DB5A7C-EF0C-4D0E-B09B-C99EC5F2A28E}"/>
              </a:ext>
            </a:extLst>
          </p:cNvPr>
          <p:cNvSpPr txBox="1"/>
          <p:nvPr/>
        </p:nvSpPr>
        <p:spPr>
          <a:xfrm>
            <a:off x="4300772" y="1396164"/>
            <a:ext cx="4539405" cy="142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Задачи РЕГИОНАЛЬНОГО ЦЕНТРА КОМПЕТЕНЦИЙ:</a:t>
            </a:r>
          </a:p>
          <a:p>
            <a:pPr marL="135000" indent="-135000" defTabSz="68580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Обучение технологиям бережливого производства</a:t>
            </a:r>
          </a:p>
          <a:p>
            <a:pPr marL="135000" indent="-135000" defTabSz="68580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Сокращение бюрократической нагрузки</a:t>
            </a:r>
          </a:p>
          <a:p>
            <a:pPr marL="135000" indent="-135000" defTabSz="68580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Формирование бережного управления</a:t>
            </a:r>
          </a:p>
          <a:p>
            <a:pPr marL="135000" indent="-135000" defTabSz="68580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Содействие развитию  и обобщению «бережливых» практик в образовании</a:t>
            </a:r>
          </a:p>
          <a:p>
            <a:pPr marL="135000" indent="-135000" defTabSz="68580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Разработка организационно-методических комплектов (стандартизированных подходов) по направлениям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8F58FF5-2DA8-42F3-B840-01EF902FB31A}"/>
              </a:ext>
            </a:extLst>
          </p:cNvPr>
          <p:cNvSpPr/>
          <p:nvPr/>
        </p:nvSpPr>
        <p:spPr>
          <a:xfrm>
            <a:off x="4305223" y="969435"/>
            <a:ext cx="4837901" cy="25512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7494" tIns="33747" rIns="67494" bIns="33747">
            <a:spAutoFit/>
          </a:bodyPr>
          <a:lstStyle/>
          <a:p>
            <a:pPr defTabSz="685800">
              <a:lnSpc>
                <a:spcPct val="90000"/>
              </a:lnSpc>
              <a:defRPr/>
            </a:pPr>
            <a:r>
              <a:rPr lang="ru-RU" sz="1350" b="1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Созданы РЕГИОНАЛЬНЫЕ ЦЕНТРЫ КОМПЕТЕНЦИЙ </a:t>
            </a:r>
          </a:p>
        </p:txBody>
      </p:sp>
      <p:sp>
        <p:nvSpPr>
          <p:cNvPr id="191" name="Прямоугольник 190">
            <a:extLst>
              <a:ext uri="{FF2B5EF4-FFF2-40B4-BE49-F238E27FC236}">
                <a16:creationId xmlns:a16="http://schemas.microsoft.com/office/drawing/2014/main" id="{F295A1BE-07E7-4D7F-A81D-0DAA344F08F7}"/>
              </a:ext>
            </a:extLst>
          </p:cNvPr>
          <p:cNvSpPr/>
          <p:nvPr/>
        </p:nvSpPr>
        <p:spPr>
          <a:xfrm>
            <a:off x="234133" y="948660"/>
            <a:ext cx="3636733" cy="27590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7494" tIns="33747" rIns="67494" bIns="33747">
            <a:spAutoFit/>
          </a:bodyPr>
          <a:lstStyle/>
          <a:p>
            <a:pPr defTabSz="685800">
              <a:defRPr/>
            </a:pPr>
            <a:r>
              <a:rPr lang="ru-RU" sz="1350" b="1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7 регионов– участников проекта</a:t>
            </a:r>
          </a:p>
        </p:txBody>
      </p:sp>
      <p:pic>
        <p:nvPicPr>
          <p:cNvPr id="192" name="Picture 2" descr="Picture background">
            <a:extLst>
              <a:ext uri="{FF2B5EF4-FFF2-40B4-BE49-F238E27FC236}">
                <a16:creationId xmlns:a16="http://schemas.microsoft.com/office/drawing/2014/main" id="{A0EA3164-0FA5-42C0-8907-3916B9EC4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413" y="1382879"/>
            <a:ext cx="666386" cy="400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3" name="Picture 4">
            <a:extLst>
              <a:ext uri="{FF2B5EF4-FFF2-40B4-BE49-F238E27FC236}">
                <a16:creationId xmlns:a16="http://schemas.microsoft.com/office/drawing/2014/main" id="{18E091F3-F234-4A1E-8043-A4D0BE9929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10" y="1857565"/>
            <a:ext cx="519191" cy="456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" name="Рисунок 193">
            <a:extLst>
              <a:ext uri="{FF2B5EF4-FFF2-40B4-BE49-F238E27FC236}">
                <a16:creationId xmlns:a16="http://schemas.microsoft.com/office/drawing/2014/main" id="{B31F82FD-47A9-4182-AB21-4C922469D3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2342" y="2847255"/>
            <a:ext cx="432525" cy="456851"/>
          </a:xfrm>
          <a:prstGeom prst="rect">
            <a:avLst/>
          </a:prstGeom>
        </p:spPr>
      </p:pic>
      <p:pic>
        <p:nvPicPr>
          <p:cNvPr id="195" name="Picture 12" descr="Picture background">
            <a:extLst>
              <a:ext uri="{FF2B5EF4-FFF2-40B4-BE49-F238E27FC236}">
                <a16:creationId xmlns:a16="http://schemas.microsoft.com/office/drawing/2014/main" id="{C5875AB1-991C-4D21-A7D9-0C8000E7B6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265" y="2422742"/>
            <a:ext cx="372682" cy="378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8" name="Picture 10" descr="Image">
            <a:extLst>
              <a:ext uri="{FF2B5EF4-FFF2-40B4-BE49-F238E27FC236}">
                <a16:creationId xmlns:a16="http://schemas.microsoft.com/office/drawing/2014/main" id="{CDD5DA05-CB6B-45EC-A406-341DB3199D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91" y="4487162"/>
            <a:ext cx="425228" cy="425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9" name="TextBox 198">
            <a:extLst>
              <a:ext uri="{FF2B5EF4-FFF2-40B4-BE49-F238E27FC236}">
                <a16:creationId xmlns:a16="http://schemas.microsoft.com/office/drawing/2014/main" id="{3D0BBB85-8FC3-46DF-8270-1459202CB4D1}"/>
              </a:ext>
            </a:extLst>
          </p:cNvPr>
          <p:cNvSpPr txBox="1"/>
          <p:nvPr/>
        </p:nvSpPr>
        <p:spPr>
          <a:xfrm>
            <a:off x="772143" y="1422251"/>
            <a:ext cx="2612962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6313" defTabSz="685800">
              <a:lnSpc>
                <a:spcPct val="90000"/>
              </a:lnSpc>
              <a:buClr>
                <a:srgbClr val="816095"/>
              </a:buClr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Белгородская область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F22F94EB-DFC5-444C-A289-A90C7BB61286}"/>
              </a:ext>
            </a:extLst>
          </p:cNvPr>
          <p:cNvSpPr txBox="1"/>
          <p:nvPr/>
        </p:nvSpPr>
        <p:spPr>
          <a:xfrm>
            <a:off x="772143" y="1952046"/>
            <a:ext cx="2612962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6313" defTabSz="685800">
              <a:lnSpc>
                <a:spcPct val="90000"/>
              </a:lnSpc>
              <a:buClr>
                <a:srgbClr val="816095"/>
              </a:buClr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Владимирская область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B9103776-60F6-442A-825E-F32BB8CA0F3F}"/>
              </a:ext>
            </a:extLst>
          </p:cNvPr>
          <p:cNvSpPr txBox="1"/>
          <p:nvPr/>
        </p:nvSpPr>
        <p:spPr>
          <a:xfrm>
            <a:off x="772143" y="3011635"/>
            <a:ext cx="2612962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6313" defTabSz="685800">
              <a:lnSpc>
                <a:spcPct val="90000"/>
              </a:lnSpc>
              <a:buClr>
                <a:srgbClr val="816095"/>
              </a:buClr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Краснодарский край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E4A2CF74-56BD-4AD2-850E-72C5F0021379}"/>
              </a:ext>
            </a:extLst>
          </p:cNvPr>
          <p:cNvSpPr txBox="1"/>
          <p:nvPr/>
        </p:nvSpPr>
        <p:spPr>
          <a:xfrm>
            <a:off x="772143" y="2481841"/>
            <a:ext cx="2612962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6313" defTabSz="685800">
              <a:lnSpc>
                <a:spcPct val="90000"/>
              </a:lnSpc>
              <a:buClr>
                <a:srgbClr val="816095"/>
              </a:buClr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г. Севастополь 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9E0EEFE1-2F5A-414E-9292-7FD3090FD2D4}"/>
              </a:ext>
            </a:extLst>
          </p:cNvPr>
          <p:cNvSpPr txBox="1"/>
          <p:nvPr/>
        </p:nvSpPr>
        <p:spPr>
          <a:xfrm>
            <a:off x="772144" y="3541430"/>
            <a:ext cx="2612962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6313" defTabSz="685800">
              <a:lnSpc>
                <a:spcPct val="90000"/>
              </a:lnSpc>
              <a:buClr>
                <a:srgbClr val="816095"/>
              </a:buClr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Липецкая область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729024C4-538C-4622-8DC9-D677EC647743}"/>
              </a:ext>
            </a:extLst>
          </p:cNvPr>
          <p:cNvSpPr txBox="1"/>
          <p:nvPr/>
        </p:nvSpPr>
        <p:spPr>
          <a:xfrm>
            <a:off x="772144" y="4071225"/>
            <a:ext cx="2612962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6313" defTabSz="685800">
              <a:lnSpc>
                <a:spcPct val="90000"/>
              </a:lnSpc>
              <a:buClr>
                <a:srgbClr val="816095"/>
              </a:buClr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Нижегородская область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A8E1A182-6E0A-4AD2-889C-F62165070D97}"/>
              </a:ext>
            </a:extLst>
          </p:cNvPr>
          <p:cNvSpPr txBox="1"/>
          <p:nvPr/>
        </p:nvSpPr>
        <p:spPr>
          <a:xfrm>
            <a:off x="772144" y="4601020"/>
            <a:ext cx="2612962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6313" defTabSz="685800">
              <a:lnSpc>
                <a:spcPct val="90000"/>
              </a:lnSpc>
              <a:buClr>
                <a:srgbClr val="816095"/>
              </a:buClr>
              <a:defRPr/>
            </a:pPr>
            <a:r>
              <a:rPr lang="ru-RU" sz="1200" dirty="0">
                <a:solidFill>
                  <a:srgbClr val="1A316B"/>
                </a:solidFill>
                <a:latin typeface="Tahoma "/>
                <a:cs typeface="Arial" panose="020B0604020202020204" pitchFamily="34" charset="0"/>
              </a:rPr>
              <a:t>Сахалинская область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82D82E5-E9AD-4903-BE64-16D3C0AAE3F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8583" t="17640" r="27405" b="17640"/>
          <a:stretch/>
        </p:blipFill>
        <p:spPr>
          <a:xfrm>
            <a:off x="278337" y="3931983"/>
            <a:ext cx="480536" cy="47167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9DB1AE6-C8FF-44D8-8DB5-69758A6E3B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281" y="3352753"/>
            <a:ext cx="394649" cy="499153"/>
          </a:xfrm>
          <a:prstGeom prst="rect">
            <a:avLst/>
          </a:prstGeom>
        </p:spPr>
      </p:pic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67165C41-85CF-4D16-A1A6-6F7FB5FBC70E}"/>
              </a:ext>
            </a:extLst>
          </p:cNvPr>
          <p:cNvGrpSpPr/>
          <p:nvPr/>
        </p:nvGrpSpPr>
        <p:grpSpPr>
          <a:xfrm>
            <a:off x="4376647" y="2765278"/>
            <a:ext cx="4170397" cy="2305034"/>
            <a:chOff x="257865" y="152515"/>
            <a:chExt cx="11916883" cy="6586619"/>
          </a:xfrm>
          <a:solidFill>
            <a:srgbClr val="1A316B"/>
          </a:solidFill>
        </p:grpSpPr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946F6BE4-9B0D-4E65-A650-4CCABC04DCD5}"/>
                </a:ext>
              </a:extLst>
            </p:cNvPr>
            <p:cNvSpPr/>
            <p:nvPr/>
          </p:nvSpPr>
          <p:spPr>
            <a:xfrm>
              <a:off x="1933390" y="2242733"/>
              <a:ext cx="49995" cy="21934"/>
            </a:xfrm>
            <a:custGeom>
              <a:avLst/>
              <a:gdLst>
                <a:gd name="connsiteX0" fmla="*/ 39737 w 40088"/>
                <a:gd name="connsiteY0" fmla="*/ 250 h 17588"/>
                <a:gd name="connsiteX1" fmla="*/ 40088 w 40088"/>
                <a:gd name="connsiteY1" fmla="*/ 0 h 17588"/>
                <a:gd name="connsiteX2" fmla="*/ 0 w 40088"/>
                <a:gd name="connsiteY2" fmla="*/ 17589 h 17588"/>
                <a:gd name="connsiteX3" fmla="*/ 39737 w 40088"/>
                <a:gd name="connsiteY3" fmla="*/ 250 h 1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88" h="17588">
                  <a:moveTo>
                    <a:pt x="39737" y="250"/>
                  </a:moveTo>
                  <a:lnTo>
                    <a:pt x="40088" y="0"/>
                  </a:lnTo>
                  <a:lnTo>
                    <a:pt x="0" y="17589"/>
                  </a:lnTo>
                  <a:cubicBezTo>
                    <a:pt x="17388" y="15885"/>
                    <a:pt x="20996" y="13981"/>
                    <a:pt x="39737" y="25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1DE2C7DC-15B7-4C1A-AE75-F1E636F879F6}"/>
                </a:ext>
              </a:extLst>
            </p:cNvPr>
            <p:cNvSpPr/>
            <p:nvPr/>
          </p:nvSpPr>
          <p:spPr>
            <a:xfrm>
              <a:off x="661763" y="4292830"/>
              <a:ext cx="179804" cy="240912"/>
            </a:xfrm>
            <a:custGeom>
              <a:avLst/>
              <a:gdLst>
                <a:gd name="connsiteX0" fmla="*/ 7876 w 144175"/>
                <a:gd name="connsiteY0" fmla="*/ 167669 h 193174"/>
                <a:gd name="connsiteX1" fmla="*/ 7274 w 144175"/>
                <a:gd name="connsiteY1" fmla="*/ 148977 h 193174"/>
                <a:gd name="connsiteX2" fmla="*/ 7926 w 144175"/>
                <a:gd name="connsiteY2" fmla="*/ 144969 h 193174"/>
                <a:gd name="connsiteX3" fmla="*/ 11383 w 144175"/>
                <a:gd name="connsiteY3" fmla="*/ 147123 h 193174"/>
                <a:gd name="connsiteX4" fmla="*/ 13989 w 144175"/>
                <a:gd name="connsiteY4" fmla="*/ 148827 h 193174"/>
                <a:gd name="connsiteX5" fmla="*/ 18649 w 144175"/>
                <a:gd name="connsiteY5" fmla="*/ 151683 h 193174"/>
                <a:gd name="connsiteX6" fmla="*/ 40698 w 144175"/>
                <a:gd name="connsiteY6" fmla="*/ 148927 h 193174"/>
                <a:gd name="connsiteX7" fmla="*/ 44206 w 144175"/>
                <a:gd name="connsiteY7" fmla="*/ 141311 h 193174"/>
                <a:gd name="connsiteX8" fmla="*/ 51973 w 144175"/>
                <a:gd name="connsiteY8" fmla="*/ 111495 h 193174"/>
                <a:gd name="connsiteX9" fmla="*/ 53777 w 144175"/>
                <a:gd name="connsiteY9" fmla="*/ 109040 h 193174"/>
                <a:gd name="connsiteX10" fmla="*/ 78481 w 144175"/>
                <a:gd name="connsiteY10" fmla="*/ 97965 h 193174"/>
                <a:gd name="connsiteX11" fmla="*/ 80786 w 144175"/>
                <a:gd name="connsiteY11" fmla="*/ 97214 h 193174"/>
                <a:gd name="connsiteX12" fmla="*/ 81538 w 144175"/>
                <a:gd name="connsiteY12" fmla="*/ 96913 h 193174"/>
                <a:gd name="connsiteX13" fmla="*/ 83342 w 144175"/>
                <a:gd name="connsiteY13" fmla="*/ 52816 h 193174"/>
                <a:gd name="connsiteX14" fmla="*/ 80886 w 144175"/>
                <a:gd name="connsiteY14" fmla="*/ 36630 h 193174"/>
                <a:gd name="connsiteX15" fmla="*/ 80686 w 144175"/>
                <a:gd name="connsiteY15" fmla="*/ 34626 h 193174"/>
                <a:gd name="connsiteX16" fmla="*/ 96170 w 144175"/>
                <a:gd name="connsiteY16" fmla="*/ 28463 h 193174"/>
                <a:gd name="connsiteX17" fmla="*/ 97423 w 144175"/>
                <a:gd name="connsiteY17" fmla="*/ 29665 h 193174"/>
                <a:gd name="connsiteX18" fmla="*/ 99527 w 144175"/>
                <a:gd name="connsiteY18" fmla="*/ 31469 h 193174"/>
                <a:gd name="connsiteX19" fmla="*/ 102534 w 144175"/>
                <a:gd name="connsiteY19" fmla="*/ 35277 h 193174"/>
                <a:gd name="connsiteX20" fmla="*/ 114861 w 144175"/>
                <a:gd name="connsiteY20" fmla="*/ 60633 h 193174"/>
                <a:gd name="connsiteX21" fmla="*/ 137861 w 144175"/>
                <a:gd name="connsiteY21" fmla="*/ 107687 h 193174"/>
                <a:gd name="connsiteX22" fmla="*/ 139114 w 144175"/>
                <a:gd name="connsiteY22" fmla="*/ 115504 h 193174"/>
                <a:gd name="connsiteX23" fmla="*/ 139916 w 144175"/>
                <a:gd name="connsiteY23" fmla="*/ 119964 h 193174"/>
                <a:gd name="connsiteX24" fmla="*/ 140116 w 144175"/>
                <a:gd name="connsiteY24" fmla="*/ 121016 h 193174"/>
                <a:gd name="connsiteX25" fmla="*/ 139515 w 144175"/>
                <a:gd name="connsiteY25" fmla="*/ 121918 h 193174"/>
                <a:gd name="connsiteX26" fmla="*/ 112856 w 144175"/>
                <a:gd name="connsiteY26" fmla="*/ 154439 h 193174"/>
                <a:gd name="connsiteX27" fmla="*/ 107896 w 144175"/>
                <a:gd name="connsiteY27" fmla="*/ 159150 h 193174"/>
                <a:gd name="connsiteX28" fmla="*/ 110050 w 144175"/>
                <a:gd name="connsiteY28" fmla="*/ 125927 h 193174"/>
                <a:gd name="connsiteX29" fmla="*/ 82640 w 144175"/>
                <a:gd name="connsiteY29" fmla="*/ 139957 h 193174"/>
                <a:gd name="connsiteX30" fmla="*/ 79433 w 144175"/>
                <a:gd name="connsiteY30" fmla="*/ 144468 h 193174"/>
                <a:gd name="connsiteX31" fmla="*/ 60291 w 144175"/>
                <a:gd name="connsiteY31" fmla="*/ 162156 h 193174"/>
                <a:gd name="connsiteX32" fmla="*/ 54729 w 144175"/>
                <a:gd name="connsiteY32" fmla="*/ 168921 h 193174"/>
                <a:gd name="connsiteX33" fmla="*/ 52875 w 144175"/>
                <a:gd name="connsiteY33" fmla="*/ 171878 h 193174"/>
                <a:gd name="connsiteX34" fmla="*/ 52875 w 144175"/>
                <a:gd name="connsiteY34" fmla="*/ 171878 h 193174"/>
                <a:gd name="connsiteX35" fmla="*/ 35737 w 144175"/>
                <a:gd name="connsiteY35" fmla="*/ 190519 h 193174"/>
                <a:gd name="connsiteX36" fmla="*/ 36589 w 144175"/>
                <a:gd name="connsiteY36" fmla="*/ 191220 h 193174"/>
                <a:gd name="connsiteX37" fmla="*/ 38192 w 144175"/>
                <a:gd name="connsiteY37" fmla="*/ 193174 h 193174"/>
                <a:gd name="connsiteX38" fmla="*/ 51923 w 144175"/>
                <a:gd name="connsiteY38" fmla="*/ 177640 h 193174"/>
                <a:gd name="connsiteX39" fmla="*/ 61043 w 144175"/>
                <a:gd name="connsiteY39" fmla="*/ 166716 h 193174"/>
                <a:gd name="connsiteX40" fmla="*/ 61594 w 144175"/>
                <a:gd name="connsiteY40" fmla="*/ 166115 h 193174"/>
                <a:gd name="connsiteX41" fmla="*/ 62396 w 144175"/>
                <a:gd name="connsiteY41" fmla="*/ 165914 h 193174"/>
                <a:gd name="connsiteX42" fmla="*/ 78832 w 144175"/>
                <a:gd name="connsiteY42" fmla="*/ 151433 h 193174"/>
                <a:gd name="connsiteX43" fmla="*/ 99728 w 144175"/>
                <a:gd name="connsiteY43" fmla="*/ 133293 h 193174"/>
                <a:gd name="connsiteX44" fmla="*/ 103185 w 144175"/>
                <a:gd name="connsiteY44" fmla="*/ 132291 h 193174"/>
                <a:gd name="connsiteX45" fmla="*/ 103185 w 144175"/>
                <a:gd name="connsiteY45" fmla="*/ 161956 h 193174"/>
                <a:gd name="connsiteX46" fmla="*/ 122979 w 144175"/>
                <a:gd name="connsiteY46" fmla="*/ 154690 h 193174"/>
                <a:gd name="connsiteX47" fmla="*/ 137310 w 144175"/>
                <a:gd name="connsiteY47" fmla="*/ 132190 h 193174"/>
                <a:gd name="connsiteX48" fmla="*/ 144175 w 144175"/>
                <a:gd name="connsiteY48" fmla="*/ 122068 h 193174"/>
                <a:gd name="connsiteX49" fmla="*/ 142572 w 144175"/>
                <a:gd name="connsiteY49" fmla="*/ 114151 h 193174"/>
                <a:gd name="connsiteX50" fmla="*/ 138062 w 144175"/>
                <a:gd name="connsiteY50" fmla="*/ 90499 h 193174"/>
                <a:gd name="connsiteX51" fmla="*/ 125885 w 144175"/>
                <a:gd name="connsiteY51" fmla="*/ 67498 h 193174"/>
                <a:gd name="connsiteX52" fmla="*/ 105641 w 144175"/>
                <a:gd name="connsiteY52" fmla="*/ 29264 h 193174"/>
                <a:gd name="connsiteX53" fmla="*/ 103686 w 144175"/>
                <a:gd name="connsiteY53" fmla="*/ 25255 h 193174"/>
                <a:gd name="connsiteX54" fmla="*/ 102985 w 144175"/>
                <a:gd name="connsiteY54" fmla="*/ 24253 h 193174"/>
                <a:gd name="connsiteX55" fmla="*/ 101882 w 144175"/>
                <a:gd name="connsiteY55" fmla="*/ 23752 h 193174"/>
                <a:gd name="connsiteX56" fmla="*/ 101081 w 144175"/>
                <a:gd name="connsiteY56" fmla="*/ 23401 h 193174"/>
                <a:gd name="connsiteX57" fmla="*/ 99828 w 144175"/>
                <a:gd name="connsiteY57" fmla="*/ 23502 h 193174"/>
                <a:gd name="connsiteX58" fmla="*/ 95218 w 144175"/>
                <a:gd name="connsiteY58" fmla="*/ 24103 h 193174"/>
                <a:gd name="connsiteX59" fmla="*/ 72067 w 144175"/>
                <a:gd name="connsiteY59" fmla="*/ 27962 h 193174"/>
                <a:gd name="connsiteX60" fmla="*/ 56883 w 144175"/>
                <a:gd name="connsiteY60" fmla="*/ 55672 h 193174"/>
                <a:gd name="connsiteX61" fmla="*/ 54378 w 144175"/>
                <a:gd name="connsiteY61" fmla="*/ 53568 h 193174"/>
                <a:gd name="connsiteX62" fmla="*/ 23260 w 144175"/>
                <a:gd name="connsiteY62" fmla="*/ 18841 h 193174"/>
                <a:gd name="connsiteX63" fmla="*/ 20854 w 144175"/>
                <a:gd name="connsiteY63" fmla="*/ 11876 h 193174"/>
                <a:gd name="connsiteX64" fmla="*/ 19451 w 144175"/>
                <a:gd name="connsiteY64" fmla="*/ 5813 h 193174"/>
                <a:gd name="connsiteX65" fmla="*/ 17898 w 144175"/>
                <a:gd name="connsiteY65" fmla="*/ 0 h 193174"/>
                <a:gd name="connsiteX66" fmla="*/ 16344 w 144175"/>
                <a:gd name="connsiteY66" fmla="*/ 12728 h 193174"/>
                <a:gd name="connsiteX67" fmla="*/ 25765 w 144175"/>
                <a:gd name="connsiteY67" fmla="*/ 28262 h 193174"/>
                <a:gd name="connsiteX68" fmla="*/ 34083 w 144175"/>
                <a:gd name="connsiteY68" fmla="*/ 37933 h 193174"/>
                <a:gd name="connsiteX69" fmla="*/ 39595 w 144175"/>
                <a:gd name="connsiteY69" fmla="*/ 44147 h 193174"/>
                <a:gd name="connsiteX70" fmla="*/ 54929 w 144175"/>
                <a:gd name="connsiteY70" fmla="*/ 58579 h 193174"/>
                <a:gd name="connsiteX71" fmla="*/ 72067 w 144175"/>
                <a:gd name="connsiteY71" fmla="*/ 47755 h 193174"/>
                <a:gd name="connsiteX72" fmla="*/ 74572 w 144175"/>
                <a:gd name="connsiteY72" fmla="*/ 45700 h 193174"/>
                <a:gd name="connsiteX73" fmla="*/ 76126 w 144175"/>
                <a:gd name="connsiteY73" fmla="*/ 48507 h 193174"/>
                <a:gd name="connsiteX74" fmla="*/ 78681 w 144175"/>
                <a:gd name="connsiteY74" fmla="*/ 90549 h 193174"/>
                <a:gd name="connsiteX75" fmla="*/ 78280 w 144175"/>
                <a:gd name="connsiteY75" fmla="*/ 91401 h 193174"/>
                <a:gd name="connsiteX76" fmla="*/ 77429 w 144175"/>
                <a:gd name="connsiteY76" fmla="*/ 91852 h 193174"/>
                <a:gd name="connsiteX77" fmla="*/ 75725 w 144175"/>
                <a:gd name="connsiteY77" fmla="*/ 92854 h 193174"/>
                <a:gd name="connsiteX78" fmla="*/ 71465 w 144175"/>
                <a:gd name="connsiteY78" fmla="*/ 94558 h 193174"/>
                <a:gd name="connsiteX79" fmla="*/ 40347 w 144175"/>
                <a:gd name="connsiteY79" fmla="*/ 114051 h 193174"/>
                <a:gd name="connsiteX80" fmla="*/ 38593 w 144175"/>
                <a:gd name="connsiteY80" fmla="*/ 130286 h 193174"/>
                <a:gd name="connsiteX81" fmla="*/ 39545 w 144175"/>
                <a:gd name="connsiteY81" fmla="*/ 137302 h 193174"/>
                <a:gd name="connsiteX82" fmla="*/ 39094 w 144175"/>
                <a:gd name="connsiteY82" fmla="*/ 141210 h 193174"/>
                <a:gd name="connsiteX83" fmla="*/ 35537 w 144175"/>
                <a:gd name="connsiteY83" fmla="*/ 146522 h 193174"/>
                <a:gd name="connsiteX84" fmla="*/ 31227 w 144175"/>
                <a:gd name="connsiteY84" fmla="*/ 152786 h 193174"/>
                <a:gd name="connsiteX85" fmla="*/ 29072 w 144175"/>
                <a:gd name="connsiteY85" fmla="*/ 149228 h 193174"/>
                <a:gd name="connsiteX86" fmla="*/ 25966 w 144175"/>
                <a:gd name="connsiteY86" fmla="*/ 143766 h 193174"/>
                <a:gd name="connsiteX87" fmla="*/ 21005 w 144175"/>
                <a:gd name="connsiteY87" fmla="*/ 136450 h 193174"/>
                <a:gd name="connsiteX88" fmla="*/ 13238 w 144175"/>
                <a:gd name="connsiteY88" fmla="*/ 134796 h 193174"/>
                <a:gd name="connsiteX89" fmla="*/ 1061 w 144175"/>
                <a:gd name="connsiteY89" fmla="*/ 160352 h 193174"/>
                <a:gd name="connsiteX90" fmla="*/ 2113 w 144175"/>
                <a:gd name="connsiteY90" fmla="*/ 163459 h 193174"/>
                <a:gd name="connsiteX91" fmla="*/ 3115 w 144175"/>
                <a:gd name="connsiteY91" fmla="*/ 164010 h 193174"/>
                <a:gd name="connsiteX92" fmla="*/ 7776 w 144175"/>
                <a:gd name="connsiteY92" fmla="*/ 167819 h 193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44175" h="193174">
                  <a:moveTo>
                    <a:pt x="7876" y="167669"/>
                  </a:moveTo>
                  <a:cubicBezTo>
                    <a:pt x="6272" y="162206"/>
                    <a:pt x="6072" y="156093"/>
                    <a:pt x="7274" y="148977"/>
                  </a:cubicBezTo>
                  <a:lnTo>
                    <a:pt x="7926" y="144969"/>
                  </a:lnTo>
                  <a:lnTo>
                    <a:pt x="11383" y="147123"/>
                  </a:lnTo>
                  <a:cubicBezTo>
                    <a:pt x="12285" y="147724"/>
                    <a:pt x="13187" y="148276"/>
                    <a:pt x="13989" y="148827"/>
                  </a:cubicBezTo>
                  <a:cubicBezTo>
                    <a:pt x="15693" y="149929"/>
                    <a:pt x="17146" y="150932"/>
                    <a:pt x="18649" y="151683"/>
                  </a:cubicBezTo>
                  <a:cubicBezTo>
                    <a:pt x="28571" y="156494"/>
                    <a:pt x="34935" y="155692"/>
                    <a:pt x="40698" y="148927"/>
                  </a:cubicBezTo>
                  <a:cubicBezTo>
                    <a:pt x="43254" y="145921"/>
                    <a:pt x="44556" y="142263"/>
                    <a:pt x="44206" y="141311"/>
                  </a:cubicBezTo>
                  <a:cubicBezTo>
                    <a:pt x="39545" y="128432"/>
                    <a:pt x="45859" y="119813"/>
                    <a:pt x="51973" y="111495"/>
                  </a:cubicBezTo>
                  <a:lnTo>
                    <a:pt x="53777" y="109040"/>
                  </a:lnTo>
                  <a:cubicBezTo>
                    <a:pt x="60391" y="99869"/>
                    <a:pt x="69561" y="98917"/>
                    <a:pt x="78481" y="97965"/>
                  </a:cubicBezTo>
                  <a:cubicBezTo>
                    <a:pt x="79132" y="97915"/>
                    <a:pt x="79884" y="97564"/>
                    <a:pt x="80786" y="97214"/>
                  </a:cubicBezTo>
                  <a:cubicBezTo>
                    <a:pt x="81037" y="97113"/>
                    <a:pt x="81287" y="97013"/>
                    <a:pt x="81538" y="96913"/>
                  </a:cubicBezTo>
                  <a:cubicBezTo>
                    <a:pt x="88603" y="82782"/>
                    <a:pt x="86048" y="68200"/>
                    <a:pt x="83342" y="52816"/>
                  </a:cubicBezTo>
                  <a:cubicBezTo>
                    <a:pt x="82440" y="47554"/>
                    <a:pt x="81437" y="42093"/>
                    <a:pt x="80886" y="36630"/>
                  </a:cubicBezTo>
                  <a:lnTo>
                    <a:pt x="80686" y="34626"/>
                  </a:lnTo>
                  <a:lnTo>
                    <a:pt x="96170" y="28463"/>
                  </a:lnTo>
                  <a:lnTo>
                    <a:pt x="97423" y="29665"/>
                  </a:lnTo>
                  <a:cubicBezTo>
                    <a:pt x="98174" y="30417"/>
                    <a:pt x="98926" y="30968"/>
                    <a:pt x="99527" y="31469"/>
                  </a:cubicBezTo>
                  <a:cubicBezTo>
                    <a:pt x="100880" y="32572"/>
                    <a:pt x="102183" y="33624"/>
                    <a:pt x="102534" y="35277"/>
                  </a:cubicBezTo>
                  <a:cubicBezTo>
                    <a:pt x="104739" y="45550"/>
                    <a:pt x="107244" y="54520"/>
                    <a:pt x="114861" y="60633"/>
                  </a:cubicBezTo>
                  <a:cubicBezTo>
                    <a:pt x="128290" y="71457"/>
                    <a:pt x="135606" y="86390"/>
                    <a:pt x="137861" y="107687"/>
                  </a:cubicBezTo>
                  <a:cubicBezTo>
                    <a:pt x="138162" y="110192"/>
                    <a:pt x="138613" y="112698"/>
                    <a:pt x="139114" y="115504"/>
                  </a:cubicBezTo>
                  <a:cubicBezTo>
                    <a:pt x="139365" y="116907"/>
                    <a:pt x="139665" y="118410"/>
                    <a:pt x="139916" y="119964"/>
                  </a:cubicBezTo>
                  <a:lnTo>
                    <a:pt x="140116" y="121016"/>
                  </a:lnTo>
                  <a:lnTo>
                    <a:pt x="139515" y="121918"/>
                  </a:lnTo>
                  <a:cubicBezTo>
                    <a:pt x="130896" y="135047"/>
                    <a:pt x="122377" y="145420"/>
                    <a:pt x="112856" y="154439"/>
                  </a:cubicBezTo>
                  <a:lnTo>
                    <a:pt x="107896" y="159150"/>
                  </a:lnTo>
                  <a:lnTo>
                    <a:pt x="110050" y="125927"/>
                  </a:lnTo>
                  <a:cubicBezTo>
                    <a:pt x="95969" y="127079"/>
                    <a:pt x="89756" y="130387"/>
                    <a:pt x="82640" y="139957"/>
                  </a:cubicBezTo>
                  <a:cubicBezTo>
                    <a:pt x="81538" y="141461"/>
                    <a:pt x="80485" y="142964"/>
                    <a:pt x="79433" y="144468"/>
                  </a:cubicBezTo>
                  <a:cubicBezTo>
                    <a:pt x="74622" y="151383"/>
                    <a:pt x="69662" y="158498"/>
                    <a:pt x="60291" y="162156"/>
                  </a:cubicBezTo>
                  <a:cubicBezTo>
                    <a:pt x="58287" y="162958"/>
                    <a:pt x="56382" y="166115"/>
                    <a:pt x="54729" y="168921"/>
                  </a:cubicBezTo>
                  <a:cubicBezTo>
                    <a:pt x="54127" y="169973"/>
                    <a:pt x="53526" y="170976"/>
                    <a:pt x="52875" y="171878"/>
                  </a:cubicBezTo>
                  <a:lnTo>
                    <a:pt x="52875" y="171878"/>
                  </a:lnTo>
                  <a:cubicBezTo>
                    <a:pt x="48265" y="178743"/>
                    <a:pt x="43153" y="185808"/>
                    <a:pt x="35737" y="190519"/>
                  </a:cubicBezTo>
                  <a:lnTo>
                    <a:pt x="36589" y="191220"/>
                  </a:lnTo>
                  <a:cubicBezTo>
                    <a:pt x="37240" y="191771"/>
                    <a:pt x="37741" y="192473"/>
                    <a:pt x="38192" y="193174"/>
                  </a:cubicBezTo>
                  <a:cubicBezTo>
                    <a:pt x="43354" y="188414"/>
                    <a:pt x="47713" y="182952"/>
                    <a:pt x="51923" y="177640"/>
                  </a:cubicBezTo>
                  <a:cubicBezTo>
                    <a:pt x="54829" y="173982"/>
                    <a:pt x="57836" y="170224"/>
                    <a:pt x="61043" y="166716"/>
                  </a:cubicBezTo>
                  <a:lnTo>
                    <a:pt x="61594" y="166115"/>
                  </a:lnTo>
                  <a:lnTo>
                    <a:pt x="62396" y="165914"/>
                  </a:lnTo>
                  <a:cubicBezTo>
                    <a:pt x="70012" y="164161"/>
                    <a:pt x="74071" y="158248"/>
                    <a:pt x="78832" y="151433"/>
                  </a:cubicBezTo>
                  <a:cubicBezTo>
                    <a:pt x="83742" y="144367"/>
                    <a:pt x="89255" y="136400"/>
                    <a:pt x="99728" y="133293"/>
                  </a:cubicBezTo>
                  <a:lnTo>
                    <a:pt x="103185" y="132291"/>
                  </a:lnTo>
                  <a:lnTo>
                    <a:pt x="103185" y="161956"/>
                  </a:lnTo>
                  <a:cubicBezTo>
                    <a:pt x="112907" y="165213"/>
                    <a:pt x="118419" y="163158"/>
                    <a:pt x="122979" y="154690"/>
                  </a:cubicBezTo>
                  <a:cubicBezTo>
                    <a:pt x="127088" y="147073"/>
                    <a:pt x="132049" y="139857"/>
                    <a:pt x="137310" y="132190"/>
                  </a:cubicBezTo>
                  <a:cubicBezTo>
                    <a:pt x="139515" y="128933"/>
                    <a:pt x="141820" y="125626"/>
                    <a:pt x="144175" y="122068"/>
                  </a:cubicBezTo>
                  <a:cubicBezTo>
                    <a:pt x="143674" y="119563"/>
                    <a:pt x="143123" y="116907"/>
                    <a:pt x="142572" y="114151"/>
                  </a:cubicBezTo>
                  <a:cubicBezTo>
                    <a:pt x="141068" y="106885"/>
                    <a:pt x="139365" y="98667"/>
                    <a:pt x="138062" y="90499"/>
                  </a:cubicBezTo>
                  <a:cubicBezTo>
                    <a:pt x="136609" y="81429"/>
                    <a:pt x="132650" y="73912"/>
                    <a:pt x="125885" y="67498"/>
                  </a:cubicBezTo>
                  <a:cubicBezTo>
                    <a:pt x="116264" y="58328"/>
                    <a:pt x="106342" y="46602"/>
                    <a:pt x="105641" y="29264"/>
                  </a:cubicBezTo>
                  <a:cubicBezTo>
                    <a:pt x="105641" y="28062"/>
                    <a:pt x="104538" y="26508"/>
                    <a:pt x="103686" y="25255"/>
                  </a:cubicBezTo>
                  <a:cubicBezTo>
                    <a:pt x="103436" y="24905"/>
                    <a:pt x="103235" y="24554"/>
                    <a:pt x="102985" y="24253"/>
                  </a:cubicBezTo>
                  <a:cubicBezTo>
                    <a:pt x="102584" y="24053"/>
                    <a:pt x="102183" y="23903"/>
                    <a:pt x="101882" y="23752"/>
                  </a:cubicBezTo>
                  <a:cubicBezTo>
                    <a:pt x="101532" y="23602"/>
                    <a:pt x="101331" y="23451"/>
                    <a:pt x="101081" y="23401"/>
                  </a:cubicBezTo>
                  <a:lnTo>
                    <a:pt x="99828" y="23502"/>
                  </a:lnTo>
                  <a:cubicBezTo>
                    <a:pt x="98124" y="23552"/>
                    <a:pt x="96521" y="23652"/>
                    <a:pt x="95218" y="24103"/>
                  </a:cubicBezTo>
                  <a:cubicBezTo>
                    <a:pt x="87050" y="27109"/>
                    <a:pt x="79333" y="28362"/>
                    <a:pt x="72067" y="27962"/>
                  </a:cubicBezTo>
                  <a:lnTo>
                    <a:pt x="56883" y="55672"/>
                  </a:lnTo>
                  <a:lnTo>
                    <a:pt x="54378" y="53568"/>
                  </a:lnTo>
                  <a:cubicBezTo>
                    <a:pt x="41450" y="42694"/>
                    <a:pt x="32279" y="30918"/>
                    <a:pt x="23260" y="18841"/>
                  </a:cubicBezTo>
                  <a:cubicBezTo>
                    <a:pt x="21907" y="17038"/>
                    <a:pt x="21456" y="14883"/>
                    <a:pt x="20854" y="11876"/>
                  </a:cubicBezTo>
                  <a:cubicBezTo>
                    <a:pt x="20504" y="10222"/>
                    <a:pt x="20103" y="8268"/>
                    <a:pt x="19451" y="5813"/>
                  </a:cubicBezTo>
                  <a:lnTo>
                    <a:pt x="17898" y="0"/>
                  </a:lnTo>
                  <a:cubicBezTo>
                    <a:pt x="13037" y="5011"/>
                    <a:pt x="13689" y="6765"/>
                    <a:pt x="16344" y="12728"/>
                  </a:cubicBezTo>
                  <a:cubicBezTo>
                    <a:pt x="18549" y="17689"/>
                    <a:pt x="21656" y="22800"/>
                    <a:pt x="25765" y="28262"/>
                  </a:cubicBezTo>
                  <a:cubicBezTo>
                    <a:pt x="28271" y="31619"/>
                    <a:pt x="31227" y="34827"/>
                    <a:pt x="34083" y="37933"/>
                  </a:cubicBezTo>
                  <a:cubicBezTo>
                    <a:pt x="35937" y="39988"/>
                    <a:pt x="37842" y="42042"/>
                    <a:pt x="39595" y="44147"/>
                  </a:cubicBezTo>
                  <a:cubicBezTo>
                    <a:pt x="47262" y="53217"/>
                    <a:pt x="51472" y="58178"/>
                    <a:pt x="54929" y="58579"/>
                  </a:cubicBezTo>
                  <a:cubicBezTo>
                    <a:pt x="58337" y="58930"/>
                    <a:pt x="63197" y="54971"/>
                    <a:pt x="72067" y="47755"/>
                  </a:cubicBezTo>
                  <a:lnTo>
                    <a:pt x="74572" y="45700"/>
                  </a:lnTo>
                  <a:lnTo>
                    <a:pt x="76126" y="48507"/>
                  </a:lnTo>
                  <a:cubicBezTo>
                    <a:pt x="83943" y="62788"/>
                    <a:pt x="84795" y="76518"/>
                    <a:pt x="78681" y="90549"/>
                  </a:cubicBezTo>
                  <a:lnTo>
                    <a:pt x="78280" y="91401"/>
                  </a:lnTo>
                  <a:lnTo>
                    <a:pt x="77429" y="91852"/>
                  </a:lnTo>
                  <a:cubicBezTo>
                    <a:pt x="76827" y="92203"/>
                    <a:pt x="76226" y="92503"/>
                    <a:pt x="75725" y="92854"/>
                  </a:cubicBezTo>
                  <a:cubicBezTo>
                    <a:pt x="74422" y="93656"/>
                    <a:pt x="73119" y="94508"/>
                    <a:pt x="71465" y="94558"/>
                  </a:cubicBezTo>
                  <a:cubicBezTo>
                    <a:pt x="57685" y="95009"/>
                    <a:pt x="48866" y="104029"/>
                    <a:pt x="40347" y="114051"/>
                  </a:cubicBezTo>
                  <a:cubicBezTo>
                    <a:pt x="36589" y="118460"/>
                    <a:pt x="37541" y="124223"/>
                    <a:pt x="38593" y="130286"/>
                  </a:cubicBezTo>
                  <a:cubicBezTo>
                    <a:pt x="38994" y="132591"/>
                    <a:pt x="39395" y="134946"/>
                    <a:pt x="39545" y="137302"/>
                  </a:cubicBezTo>
                  <a:cubicBezTo>
                    <a:pt x="39696" y="138604"/>
                    <a:pt x="39846" y="139957"/>
                    <a:pt x="39094" y="141210"/>
                  </a:cubicBezTo>
                  <a:cubicBezTo>
                    <a:pt x="38092" y="142864"/>
                    <a:pt x="37040" y="144417"/>
                    <a:pt x="35537" y="146522"/>
                  </a:cubicBezTo>
                  <a:lnTo>
                    <a:pt x="31227" y="152786"/>
                  </a:lnTo>
                  <a:lnTo>
                    <a:pt x="29072" y="149228"/>
                  </a:lnTo>
                  <a:cubicBezTo>
                    <a:pt x="27870" y="147274"/>
                    <a:pt x="26868" y="145470"/>
                    <a:pt x="25966" y="143766"/>
                  </a:cubicBezTo>
                  <a:cubicBezTo>
                    <a:pt x="24262" y="140559"/>
                    <a:pt x="22859" y="138053"/>
                    <a:pt x="21005" y="136450"/>
                  </a:cubicBezTo>
                  <a:cubicBezTo>
                    <a:pt x="19201" y="134946"/>
                    <a:pt x="15042" y="133994"/>
                    <a:pt x="13238" y="134796"/>
                  </a:cubicBezTo>
                  <a:cubicBezTo>
                    <a:pt x="2464" y="139206"/>
                    <a:pt x="-2297" y="149228"/>
                    <a:pt x="1061" y="160352"/>
                  </a:cubicBezTo>
                  <a:cubicBezTo>
                    <a:pt x="1361" y="161405"/>
                    <a:pt x="1762" y="162457"/>
                    <a:pt x="2113" y="163459"/>
                  </a:cubicBezTo>
                  <a:cubicBezTo>
                    <a:pt x="2464" y="163659"/>
                    <a:pt x="2815" y="163810"/>
                    <a:pt x="3115" y="164010"/>
                  </a:cubicBezTo>
                  <a:lnTo>
                    <a:pt x="7776" y="167819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0755D4F2-7167-43BC-AFE2-8BDA73A15D8F}"/>
                </a:ext>
              </a:extLst>
            </p:cNvPr>
            <p:cNvSpPr/>
            <p:nvPr/>
          </p:nvSpPr>
          <p:spPr>
            <a:xfrm>
              <a:off x="684897" y="4287143"/>
              <a:ext cx="63305" cy="40746"/>
            </a:xfrm>
            <a:custGeom>
              <a:avLst/>
              <a:gdLst>
                <a:gd name="connsiteX0" fmla="*/ 18140 w 50761"/>
                <a:gd name="connsiteY0" fmla="*/ 18591 h 32672"/>
                <a:gd name="connsiteX1" fmla="*/ 48707 w 50761"/>
                <a:gd name="connsiteY1" fmla="*/ 32421 h 32672"/>
                <a:gd name="connsiteX2" fmla="*/ 50762 w 50761"/>
                <a:gd name="connsiteY2" fmla="*/ 32171 h 32672"/>
                <a:gd name="connsiteX3" fmla="*/ 17138 w 50761"/>
                <a:gd name="connsiteY3" fmla="*/ 11675 h 32672"/>
                <a:gd name="connsiteX4" fmla="*/ 15735 w 50761"/>
                <a:gd name="connsiteY4" fmla="*/ 9872 h 32672"/>
                <a:gd name="connsiteX5" fmla="*/ 4059 w 50761"/>
                <a:gd name="connsiteY5" fmla="*/ 0 h 32672"/>
                <a:gd name="connsiteX6" fmla="*/ 0 w 50761"/>
                <a:gd name="connsiteY6" fmla="*/ 3858 h 32672"/>
                <a:gd name="connsiteX7" fmla="*/ 5111 w 50761"/>
                <a:gd name="connsiteY7" fmla="*/ 7316 h 32672"/>
                <a:gd name="connsiteX8" fmla="*/ 18190 w 50761"/>
                <a:gd name="connsiteY8" fmla="*/ 18591 h 32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761" h="32672">
                  <a:moveTo>
                    <a:pt x="18140" y="18591"/>
                  </a:moveTo>
                  <a:cubicBezTo>
                    <a:pt x="26659" y="26909"/>
                    <a:pt x="34025" y="34125"/>
                    <a:pt x="48707" y="32421"/>
                  </a:cubicBezTo>
                  <a:lnTo>
                    <a:pt x="50762" y="32171"/>
                  </a:lnTo>
                  <a:cubicBezTo>
                    <a:pt x="38084" y="30667"/>
                    <a:pt x="26809" y="23852"/>
                    <a:pt x="17138" y="11675"/>
                  </a:cubicBezTo>
                  <a:lnTo>
                    <a:pt x="15735" y="9872"/>
                  </a:lnTo>
                  <a:cubicBezTo>
                    <a:pt x="12327" y="5512"/>
                    <a:pt x="9120" y="1353"/>
                    <a:pt x="4059" y="0"/>
                  </a:cubicBezTo>
                  <a:cubicBezTo>
                    <a:pt x="2405" y="1503"/>
                    <a:pt x="1102" y="2706"/>
                    <a:pt x="0" y="3858"/>
                  </a:cubicBezTo>
                  <a:lnTo>
                    <a:pt x="5111" y="7316"/>
                  </a:lnTo>
                  <a:cubicBezTo>
                    <a:pt x="10172" y="10723"/>
                    <a:pt x="14281" y="14732"/>
                    <a:pt x="18190" y="1859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849F5E81-27A3-4E03-B6AE-ABA18C564EC1}"/>
                </a:ext>
              </a:extLst>
            </p:cNvPr>
            <p:cNvSpPr/>
            <p:nvPr/>
          </p:nvSpPr>
          <p:spPr>
            <a:xfrm>
              <a:off x="9524773" y="5739007"/>
              <a:ext cx="418584" cy="283640"/>
            </a:xfrm>
            <a:custGeom>
              <a:avLst/>
              <a:gdLst>
                <a:gd name="connsiteX0" fmla="*/ 171380 w 335640"/>
                <a:gd name="connsiteY0" fmla="*/ 167906 h 227436"/>
                <a:gd name="connsiteX1" fmla="*/ 172733 w 335640"/>
                <a:gd name="connsiteY1" fmla="*/ 160039 h 227436"/>
                <a:gd name="connsiteX2" fmla="*/ 173184 w 335640"/>
                <a:gd name="connsiteY2" fmla="*/ 156982 h 227436"/>
                <a:gd name="connsiteX3" fmla="*/ 173384 w 335640"/>
                <a:gd name="connsiteY3" fmla="*/ 155880 h 227436"/>
                <a:gd name="connsiteX4" fmla="*/ 174286 w 335640"/>
                <a:gd name="connsiteY4" fmla="*/ 155228 h 227436"/>
                <a:gd name="connsiteX5" fmla="*/ 182605 w 335640"/>
                <a:gd name="connsiteY5" fmla="*/ 149516 h 227436"/>
                <a:gd name="connsiteX6" fmla="*/ 197838 w 335640"/>
                <a:gd name="connsiteY6" fmla="*/ 137740 h 227436"/>
                <a:gd name="connsiteX7" fmla="*/ 230710 w 335640"/>
                <a:gd name="connsiteY7" fmla="*/ 119650 h 227436"/>
                <a:gd name="connsiteX8" fmla="*/ 233817 w 335640"/>
                <a:gd name="connsiteY8" fmla="*/ 113687 h 227436"/>
                <a:gd name="connsiteX9" fmla="*/ 241384 w 335640"/>
                <a:gd name="connsiteY9" fmla="*/ 98704 h 227436"/>
                <a:gd name="connsiteX10" fmla="*/ 258722 w 335640"/>
                <a:gd name="connsiteY10" fmla="*/ 77257 h 227436"/>
                <a:gd name="connsiteX11" fmla="*/ 302218 w 335640"/>
                <a:gd name="connsiteY11" fmla="*/ 63026 h 227436"/>
                <a:gd name="connsiteX12" fmla="*/ 335641 w 335640"/>
                <a:gd name="connsiteY12" fmla="*/ 47041 h 227436"/>
                <a:gd name="connsiteX13" fmla="*/ 335140 w 335640"/>
                <a:gd name="connsiteY13" fmla="*/ 45437 h 227436"/>
                <a:gd name="connsiteX14" fmla="*/ 325568 w 335640"/>
                <a:gd name="connsiteY14" fmla="*/ 25744 h 227436"/>
                <a:gd name="connsiteX15" fmla="*/ 313743 w 335640"/>
                <a:gd name="connsiteY15" fmla="*/ 26997 h 227436"/>
                <a:gd name="connsiteX16" fmla="*/ 287385 w 335640"/>
                <a:gd name="connsiteY16" fmla="*/ 29352 h 227436"/>
                <a:gd name="connsiteX17" fmla="*/ 268092 w 335640"/>
                <a:gd name="connsiteY17" fmla="*/ 37169 h 227436"/>
                <a:gd name="connsiteX18" fmla="*/ 219636 w 335640"/>
                <a:gd name="connsiteY18" fmla="*/ 44736 h 227436"/>
                <a:gd name="connsiteX19" fmla="*/ 215227 w 335640"/>
                <a:gd name="connsiteY19" fmla="*/ 42330 h 227436"/>
                <a:gd name="connsiteX20" fmla="*/ 210165 w 335640"/>
                <a:gd name="connsiteY20" fmla="*/ 40075 h 227436"/>
                <a:gd name="connsiteX21" fmla="*/ 178445 w 335640"/>
                <a:gd name="connsiteY21" fmla="*/ 21886 h 227436"/>
                <a:gd name="connsiteX22" fmla="*/ 171129 w 335640"/>
                <a:gd name="connsiteY22" fmla="*/ 14219 h 227436"/>
                <a:gd name="connsiteX23" fmla="*/ 163262 w 335640"/>
                <a:gd name="connsiteY23" fmla="*/ 6000 h 227436"/>
                <a:gd name="connsiteX24" fmla="*/ 144170 w 335640"/>
                <a:gd name="connsiteY24" fmla="*/ 789 h 227436"/>
                <a:gd name="connsiteX25" fmla="*/ 130591 w 335640"/>
                <a:gd name="connsiteY25" fmla="*/ 5750 h 227436"/>
                <a:gd name="connsiteX26" fmla="*/ 124778 w 335640"/>
                <a:gd name="connsiteY26" fmla="*/ 8155 h 227436"/>
                <a:gd name="connsiteX27" fmla="*/ 124126 w 335640"/>
                <a:gd name="connsiteY27" fmla="*/ 8406 h 227436"/>
                <a:gd name="connsiteX28" fmla="*/ 123424 w 335640"/>
                <a:gd name="connsiteY28" fmla="*/ 8306 h 227436"/>
                <a:gd name="connsiteX29" fmla="*/ 111398 w 335640"/>
                <a:gd name="connsiteY29" fmla="*/ 4297 h 227436"/>
                <a:gd name="connsiteX30" fmla="*/ 90553 w 335640"/>
                <a:gd name="connsiteY30" fmla="*/ 2192 h 227436"/>
                <a:gd name="connsiteX31" fmla="*/ 89600 w 335640"/>
                <a:gd name="connsiteY31" fmla="*/ 3696 h 227436"/>
                <a:gd name="connsiteX32" fmla="*/ 84689 w 335640"/>
                <a:gd name="connsiteY32" fmla="*/ 10961 h 227436"/>
                <a:gd name="connsiteX33" fmla="*/ 81533 w 335640"/>
                <a:gd name="connsiteY33" fmla="*/ 15421 h 227436"/>
                <a:gd name="connsiteX34" fmla="*/ 70608 w 335640"/>
                <a:gd name="connsiteY34" fmla="*/ 25944 h 227436"/>
                <a:gd name="connsiteX35" fmla="*/ 49061 w 335640"/>
                <a:gd name="connsiteY35" fmla="*/ 37319 h 227436"/>
                <a:gd name="connsiteX36" fmla="*/ 29017 w 335640"/>
                <a:gd name="connsiteY36" fmla="*/ 48394 h 227436"/>
                <a:gd name="connsiteX37" fmla="*/ 15036 w 335640"/>
                <a:gd name="connsiteY37" fmla="*/ 63577 h 227436"/>
                <a:gd name="connsiteX38" fmla="*/ 13132 w 335640"/>
                <a:gd name="connsiteY38" fmla="*/ 69590 h 227436"/>
                <a:gd name="connsiteX39" fmla="*/ 6518 w 335640"/>
                <a:gd name="connsiteY39" fmla="*/ 87129 h 227436"/>
                <a:gd name="connsiteX40" fmla="*/ 3 w 335640"/>
                <a:gd name="connsiteY40" fmla="*/ 124411 h 227436"/>
                <a:gd name="connsiteX41" fmla="*/ 7670 w 335640"/>
                <a:gd name="connsiteY41" fmla="*/ 144655 h 227436"/>
                <a:gd name="connsiteX42" fmla="*/ 14786 w 335640"/>
                <a:gd name="connsiteY42" fmla="*/ 152172 h 227436"/>
                <a:gd name="connsiteX43" fmla="*/ 19346 w 335640"/>
                <a:gd name="connsiteY43" fmla="*/ 157082 h 227436"/>
                <a:gd name="connsiteX44" fmla="*/ 19346 w 335640"/>
                <a:gd name="connsiteY44" fmla="*/ 157082 h 227436"/>
                <a:gd name="connsiteX45" fmla="*/ 28065 w 335640"/>
                <a:gd name="connsiteY45" fmla="*/ 176174 h 227436"/>
                <a:gd name="connsiteX46" fmla="*/ 65197 w 335640"/>
                <a:gd name="connsiteY46" fmla="*/ 227437 h 227436"/>
                <a:gd name="connsiteX47" fmla="*/ 132093 w 335640"/>
                <a:gd name="connsiteY47" fmla="*/ 199826 h 227436"/>
                <a:gd name="connsiteX48" fmla="*/ 135451 w 335640"/>
                <a:gd name="connsiteY48" fmla="*/ 198073 h 227436"/>
                <a:gd name="connsiteX49" fmla="*/ 151085 w 335640"/>
                <a:gd name="connsiteY49" fmla="*/ 191308 h 227436"/>
                <a:gd name="connsiteX50" fmla="*/ 157299 w 335640"/>
                <a:gd name="connsiteY50" fmla="*/ 190255 h 227436"/>
                <a:gd name="connsiteX51" fmla="*/ 166219 w 335640"/>
                <a:gd name="connsiteY51" fmla="*/ 185946 h 227436"/>
                <a:gd name="connsiteX52" fmla="*/ 170378 w 335640"/>
                <a:gd name="connsiteY52" fmla="*/ 171865 h 227436"/>
                <a:gd name="connsiteX53" fmla="*/ 171330 w 335640"/>
                <a:gd name="connsiteY53" fmla="*/ 167756 h 227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35640" h="227436">
                  <a:moveTo>
                    <a:pt x="171380" y="167906"/>
                  </a:moveTo>
                  <a:cubicBezTo>
                    <a:pt x="171981" y="165301"/>
                    <a:pt x="172382" y="162494"/>
                    <a:pt x="172733" y="160039"/>
                  </a:cubicBezTo>
                  <a:cubicBezTo>
                    <a:pt x="172883" y="158987"/>
                    <a:pt x="173034" y="157934"/>
                    <a:pt x="173184" y="156982"/>
                  </a:cubicBezTo>
                  <a:lnTo>
                    <a:pt x="173384" y="155880"/>
                  </a:lnTo>
                  <a:lnTo>
                    <a:pt x="174286" y="155228"/>
                  </a:lnTo>
                  <a:cubicBezTo>
                    <a:pt x="177092" y="153174"/>
                    <a:pt x="179899" y="151320"/>
                    <a:pt x="182605" y="149516"/>
                  </a:cubicBezTo>
                  <a:cubicBezTo>
                    <a:pt x="188267" y="145758"/>
                    <a:pt x="193579" y="142200"/>
                    <a:pt x="197838" y="137740"/>
                  </a:cubicBezTo>
                  <a:cubicBezTo>
                    <a:pt x="208261" y="126716"/>
                    <a:pt x="218734" y="120953"/>
                    <a:pt x="230710" y="119650"/>
                  </a:cubicBezTo>
                  <a:cubicBezTo>
                    <a:pt x="231763" y="117596"/>
                    <a:pt x="232815" y="115641"/>
                    <a:pt x="233817" y="113687"/>
                  </a:cubicBezTo>
                  <a:cubicBezTo>
                    <a:pt x="236523" y="108526"/>
                    <a:pt x="239079" y="103665"/>
                    <a:pt x="241384" y="98704"/>
                  </a:cubicBezTo>
                  <a:cubicBezTo>
                    <a:pt x="245192" y="90386"/>
                    <a:pt x="250704" y="83571"/>
                    <a:pt x="258722" y="77257"/>
                  </a:cubicBezTo>
                  <a:cubicBezTo>
                    <a:pt x="272452" y="66483"/>
                    <a:pt x="286684" y="61873"/>
                    <a:pt x="302218" y="63026"/>
                  </a:cubicBezTo>
                  <a:cubicBezTo>
                    <a:pt x="315747" y="64078"/>
                    <a:pt x="326671" y="58866"/>
                    <a:pt x="335641" y="47041"/>
                  </a:cubicBezTo>
                  <a:lnTo>
                    <a:pt x="335140" y="45437"/>
                  </a:lnTo>
                  <a:cubicBezTo>
                    <a:pt x="332484" y="37169"/>
                    <a:pt x="330129" y="29953"/>
                    <a:pt x="325568" y="25744"/>
                  </a:cubicBezTo>
                  <a:cubicBezTo>
                    <a:pt x="321510" y="26145"/>
                    <a:pt x="317551" y="26596"/>
                    <a:pt x="313743" y="26997"/>
                  </a:cubicBezTo>
                  <a:cubicBezTo>
                    <a:pt x="304623" y="27999"/>
                    <a:pt x="296004" y="28951"/>
                    <a:pt x="287385" y="29352"/>
                  </a:cubicBezTo>
                  <a:cubicBezTo>
                    <a:pt x="278215" y="29803"/>
                    <a:pt x="272602" y="32058"/>
                    <a:pt x="268092" y="37169"/>
                  </a:cubicBezTo>
                  <a:cubicBezTo>
                    <a:pt x="252458" y="54858"/>
                    <a:pt x="234018" y="50498"/>
                    <a:pt x="219636" y="44736"/>
                  </a:cubicBezTo>
                  <a:cubicBezTo>
                    <a:pt x="218083" y="44084"/>
                    <a:pt x="216629" y="43182"/>
                    <a:pt x="215227" y="42330"/>
                  </a:cubicBezTo>
                  <a:cubicBezTo>
                    <a:pt x="213422" y="41178"/>
                    <a:pt x="211568" y="40025"/>
                    <a:pt x="210165" y="40075"/>
                  </a:cubicBezTo>
                  <a:cubicBezTo>
                    <a:pt x="195583" y="40727"/>
                    <a:pt x="186814" y="31106"/>
                    <a:pt x="178445" y="21886"/>
                  </a:cubicBezTo>
                  <a:cubicBezTo>
                    <a:pt x="175990" y="19179"/>
                    <a:pt x="173535" y="16674"/>
                    <a:pt x="171129" y="14219"/>
                  </a:cubicBezTo>
                  <a:cubicBezTo>
                    <a:pt x="168473" y="11513"/>
                    <a:pt x="165817" y="8807"/>
                    <a:pt x="163262" y="6000"/>
                  </a:cubicBezTo>
                  <a:cubicBezTo>
                    <a:pt x="158301" y="488"/>
                    <a:pt x="152037" y="-1165"/>
                    <a:pt x="144170" y="789"/>
                  </a:cubicBezTo>
                  <a:cubicBezTo>
                    <a:pt x="139610" y="1941"/>
                    <a:pt x="135000" y="3896"/>
                    <a:pt x="130591" y="5750"/>
                  </a:cubicBezTo>
                  <a:cubicBezTo>
                    <a:pt x="128636" y="6552"/>
                    <a:pt x="126732" y="7404"/>
                    <a:pt x="124778" y="8155"/>
                  </a:cubicBezTo>
                  <a:lnTo>
                    <a:pt x="124126" y="8406"/>
                  </a:lnTo>
                  <a:lnTo>
                    <a:pt x="123424" y="8306"/>
                  </a:lnTo>
                  <a:cubicBezTo>
                    <a:pt x="119165" y="7704"/>
                    <a:pt x="115206" y="5950"/>
                    <a:pt x="111398" y="4297"/>
                  </a:cubicBezTo>
                  <a:cubicBezTo>
                    <a:pt x="104333" y="1240"/>
                    <a:pt x="98169" y="-1466"/>
                    <a:pt x="90553" y="2192"/>
                  </a:cubicBezTo>
                  <a:cubicBezTo>
                    <a:pt x="90252" y="2693"/>
                    <a:pt x="89951" y="3194"/>
                    <a:pt x="89600" y="3696"/>
                  </a:cubicBezTo>
                  <a:cubicBezTo>
                    <a:pt x="88197" y="5950"/>
                    <a:pt x="86644" y="8556"/>
                    <a:pt x="84689" y="10961"/>
                  </a:cubicBezTo>
                  <a:cubicBezTo>
                    <a:pt x="83587" y="12314"/>
                    <a:pt x="82585" y="13868"/>
                    <a:pt x="81533" y="15421"/>
                  </a:cubicBezTo>
                  <a:cubicBezTo>
                    <a:pt x="78426" y="19981"/>
                    <a:pt x="75219" y="24692"/>
                    <a:pt x="70608" y="25944"/>
                  </a:cubicBezTo>
                  <a:cubicBezTo>
                    <a:pt x="62691" y="28049"/>
                    <a:pt x="56077" y="32559"/>
                    <a:pt x="49061" y="37319"/>
                  </a:cubicBezTo>
                  <a:cubicBezTo>
                    <a:pt x="42848" y="41529"/>
                    <a:pt x="36383" y="45938"/>
                    <a:pt x="29017" y="48394"/>
                  </a:cubicBezTo>
                  <a:cubicBezTo>
                    <a:pt x="21952" y="50749"/>
                    <a:pt x="17793" y="55309"/>
                    <a:pt x="15036" y="63577"/>
                  </a:cubicBezTo>
                  <a:cubicBezTo>
                    <a:pt x="14385" y="65581"/>
                    <a:pt x="13733" y="67586"/>
                    <a:pt x="13132" y="69590"/>
                  </a:cubicBezTo>
                  <a:cubicBezTo>
                    <a:pt x="11328" y="75503"/>
                    <a:pt x="9424" y="81617"/>
                    <a:pt x="6518" y="87129"/>
                  </a:cubicBezTo>
                  <a:cubicBezTo>
                    <a:pt x="405" y="98704"/>
                    <a:pt x="-47" y="110881"/>
                    <a:pt x="3" y="124411"/>
                  </a:cubicBezTo>
                  <a:cubicBezTo>
                    <a:pt x="3" y="133381"/>
                    <a:pt x="2408" y="139644"/>
                    <a:pt x="7670" y="144655"/>
                  </a:cubicBezTo>
                  <a:cubicBezTo>
                    <a:pt x="10176" y="147060"/>
                    <a:pt x="12531" y="149666"/>
                    <a:pt x="14786" y="152172"/>
                  </a:cubicBezTo>
                  <a:cubicBezTo>
                    <a:pt x="16289" y="153825"/>
                    <a:pt x="17793" y="155479"/>
                    <a:pt x="19346" y="157082"/>
                  </a:cubicBezTo>
                  <a:lnTo>
                    <a:pt x="19346" y="157082"/>
                  </a:lnTo>
                  <a:cubicBezTo>
                    <a:pt x="24958" y="162945"/>
                    <a:pt x="27714" y="169009"/>
                    <a:pt x="28065" y="176174"/>
                  </a:cubicBezTo>
                  <a:cubicBezTo>
                    <a:pt x="29118" y="199225"/>
                    <a:pt x="40943" y="215561"/>
                    <a:pt x="65197" y="227437"/>
                  </a:cubicBezTo>
                  <a:cubicBezTo>
                    <a:pt x="90201" y="222025"/>
                    <a:pt x="111498" y="210750"/>
                    <a:pt x="132093" y="199826"/>
                  </a:cubicBezTo>
                  <a:lnTo>
                    <a:pt x="135451" y="198073"/>
                  </a:lnTo>
                  <a:cubicBezTo>
                    <a:pt x="140913" y="195166"/>
                    <a:pt x="146074" y="192961"/>
                    <a:pt x="151085" y="191308"/>
                  </a:cubicBezTo>
                  <a:cubicBezTo>
                    <a:pt x="153140" y="190656"/>
                    <a:pt x="155244" y="190456"/>
                    <a:pt x="157299" y="190255"/>
                  </a:cubicBezTo>
                  <a:cubicBezTo>
                    <a:pt x="161959" y="189804"/>
                    <a:pt x="164665" y="189353"/>
                    <a:pt x="166219" y="185946"/>
                  </a:cubicBezTo>
                  <a:cubicBezTo>
                    <a:pt x="168223" y="181636"/>
                    <a:pt x="169275" y="176876"/>
                    <a:pt x="170378" y="171865"/>
                  </a:cubicBezTo>
                  <a:cubicBezTo>
                    <a:pt x="170679" y="170462"/>
                    <a:pt x="170979" y="169109"/>
                    <a:pt x="171330" y="16775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33" name="Полилиния: фигура 32">
              <a:extLst>
                <a:ext uri="{FF2B5EF4-FFF2-40B4-BE49-F238E27FC236}">
                  <a16:creationId xmlns:a16="http://schemas.microsoft.com/office/drawing/2014/main" id="{3DF7713E-CB35-4D57-A0C2-55BEE73F323C}"/>
                </a:ext>
              </a:extLst>
            </p:cNvPr>
            <p:cNvSpPr/>
            <p:nvPr/>
          </p:nvSpPr>
          <p:spPr>
            <a:xfrm>
              <a:off x="12163707" y="6190880"/>
              <a:ext cx="11041" cy="9686"/>
            </a:xfrm>
            <a:custGeom>
              <a:avLst/>
              <a:gdLst>
                <a:gd name="connsiteX0" fmla="*/ 8854 w 8853"/>
                <a:gd name="connsiteY0" fmla="*/ 0 h 7767"/>
                <a:gd name="connsiteX1" fmla="*/ 135 w 8853"/>
                <a:gd name="connsiteY1" fmla="*/ 1303 h 7767"/>
                <a:gd name="connsiteX2" fmla="*/ 1337 w 8853"/>
                <a:gd name="connsiteY2" fmla="*/ 7767 h 7767"/>
                <a:gd name="connsiteX3" fmla="*/ 8854 w 8853"/>
                <a:gd name="connsiteY3" fmla="*/ 0 h 7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53" h="7767">
                  <a:moveTo>
                    <a:pt x="8854" y="0"/>
                  </a:moveTo>
                  <a:cubicBezTo>
                    <a:pt x="4494" y="201"/>
                    <a:pt x="686" y="501"/>
                    <a:pt x="135" y="1303"/>
                  </a:cubicBezTo>
                  <a:cubicBezTo>
                    <a:pt x="-316" y="1954"/>
                    <a:pt x="435" y="4811"/>
                    <a:pt x="1337" y="7767"/>
                  </a:cubicBezTo>
                  <a:cubicBezTo>
                    <a:pt x="5597" y="5011"/>
                    <a:pt x="8102" y="3057"/>
                    <a:pt x="8854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id="{E020B8E0-BA3B-47F3-93D3-DBDFA261EB25}"/>
                </a:ext>
              </a:extLst>
            </p:cNvPr>
            <p:cNvSpPr/>
            <p:nvPr/>
          </p:nvSpPr>
          <p:spPr>
            <a:xfrm>
              <a:off x="5416811" y="1436505"/>
              <a:ext cx="2023427" cy="4250272"/>
            </a:xfrm>
            <a:custGeom>
              <a:avLst/>
              <a:gdLst>
                <a:gd name="connsiteX0" fmla="*/ 152505 w 1622477"/>
                <a:gd name="connsiteY0" fmla="*/ 648876 h 3408064"/>
                <a:gd name="connsiteX1" fmla="*/ 138173 w 1622477"/>
                <a:gd name="connsiteY1" fmla="*/ 645969 h 3408064"/>
                <a:gd name="connsiteX2" fmla="*/ 152755 w 1622477"/>
                <a:gd name="connsiteY2" fmla="*/ 675985 h 3408064"/>
                <a:gd name="connsiteX3" fmla="*/ 174302 w 1622477"/>
                <a:gd name="connsiteY3" fmla="*/ 697533 h 3408064"/>
                <a:gd name="connsiteX4" fmla="*/ 186129 w 1622477"/>
                <a:gd name="connsiteY4" fmla="*/ 726897 h 3408064"/>
                <a:gd name="connsiteX5" fmla="*/ 173751 w 1622477"/>
                <a:gd name="connsiteY5" fmla="*/ 756061 h 3408064"/>
                <a:gd name="connsiteX6" fmla="*/ 160773 w 1622477"/>
                <a:gd name="connsiteY6" fmla="*/ 768238 h 3408064"/>
                <a:gd name="connsiteX7" fmla="*/ 155461 w 1622477"/>
                <a:gd name="connsiteY7" fmla="*/ 773399 h 3408064"/>
                <a:gd name="connsiteX8" fmla="*/ 154158 w 1622477"/>
                <a:gd name="connsiteY8" fmla="*/ 774652 h 3408064"/>
                <a:gd name="connsiteX9" fmla="*/ 142082 w 1622477"/>
                <a:gd name="connsiteY9" fmla="*/ 769391 h 3408064"/>
                <a:gd name="connsiteX10" fmla="*/ 152104 w 1622477"/>
                <a:gd name="connsiteY10" fmla="*/ 806322 h 3408064"/>
                <a:gd name="connsiteX11" fmla="*/ 166385 w 1622477"/>
                <a:gd name="connsiteY11" fmla="*/ 816444 h 3408064"/>
                <a:gd name="connsiteX12" fmla="*/ 174302 w 1622477"/>
                <a:gd name="connsiteY12" fmla="*/ 821706 h 3408064"/>
                <a:gd name="connsiteX13" fmla="*/ 175405 w 1622477"/>
                <a:gd name="connsiteY13" fmla="*/ 822457 h 3408064"/>
                <a:gd name="connsiteX14" fmla="*/ 175655 w 1622477"/>
                <a:gd name="connsiteY14" fmla="*/ 827218 h 3408064"/>
                <a:gd name="connsiteX15" fmla="*/ 164381 w 1622477"/>
                <a:gd name="connsiteY15" fmla="*/ 930745 h 3408064"/>
                <a:gd name="connsiteX16" fmla="*/ 163980 w 1622477"/>
                <a:gd name="connsiteY16" fmla="*/ 931647 h 3408064"/>
                <a:gd name="connsiteX17" fmla="*/ 163078 w 1622477"/>
                <a:gd name="connsiteY17" fmla="*/ 932048 h 3408064"/>
                <a:gd name="connsiteX18" fmla="*/ 134866 w 1622477"/>
                <a:gd name="connsiteY18" fmla="*/ 931397 h 3408064"/>
                <a:gd name="connsiteX19" fmla="*/ 125295 w 1622477"/>
                <a:gd name="connsiteY19" fmla="*/ 928891 h 3408064"/>
                <a:gd name="connsiteX20" fmla="*/ 48376 w 1622477"/>
                <a:gd name="connsiteY20" fmla="*/ 988773 h 3408064"/>
                <a:gd name="connsiteX21" fmla="*/ 51633 w 1622477"/>
                <a:gd name="connsiteY21" fmla="*/ 1021495 h 3408064"/>
                <a:gd name="connsiteX22" fmla="*/ 52986 w 1622477"/>
                <a:gd name="connsiteY22" fmla="*/ 1024852 h 3408064"/>
                <a:gd name="connsiteX23" fmla="*/ 60202 w 1622477"/>
                <a:gd name="connsiteY23" fmla="*/ 1044044 h 3408064"/>
                <a:gd name="connsiteX24" fmla="*/ 73130 w 1622477"/>
                <a:gd name="connsiteY24" fmla="*/ 1060981 h 3408064"/>
                <a:gd name="connsiteX25" fmla="*/ 101092 w 1622477"/>
                <a:gd name="connsiteY25" fmla="*/ 1082980 h 3408064"/>
                <a:gd name="connsiteX26" fmla="*/ 136018 w 1622477"/>
                <a:gd name="connsiteY26" fmla="*/ 1083130 h 3408064"/>
                <a:gd name="connsiteX27" fmla="*/ 144337 w 1622477"/>
                <a:gd name="connsiteY27" fmla="*/ 1076315 h 3408064"/>
                <a:gd name="connsiteX28" fmla="*/ 148847 w 1622477"/>
                <a:gd name="connsiteY28" fmla="*/ 1072607 h 3408064"/>
                <a:gd name="connsiteX29" fmla="*/ 150049 w 1622477"/>
                <a:gd name="connsiteY29" fmla="*/ 1072807 h 3408064"/>
                <a:gd name="connsiteX30" fmla="*/ 166586 w 1622477"/>
                <a:gd name="connsiteY30" fmla="*/ 1086487 h 3408064"/>
                <a:gd name="connsiteX31" fmla="*/ 168039 w 1622477"/>
                <a:gd name="connsiteY31" fmla="*/ 1089594 h 3408064"/>
                <a:gd name="connsiteX32" fmla="*/ 174253 w 1622477"/>
                <a:gd name="connsiteY32" fmla="*/ 1099416 h 3408064"/>
                <a:gd name="connsiteX33" fmla="*/ 183322 w 1622477"/>
                <a:gd name="connsiteY33" fmla="*/ 1134292 h 3408064"/>
                <a:gd name="connsiteX34" fmla="*/ 180516 w 1622477"/>
                <a:gd name="connsiteY34" fmla="*/ 1149275 h 3408064"/>
                <a:gd name="connsiteX35" fmla="*/ 171947 w 1622477"/>
                <a:gd name="connsiteY35" fmla="*/ 1201741 h 3408064"/>
                <a:gd name="connsiteX36" fmla="*/ 152655 w 1622477"/>
                <a:gd name="connsiteY36" fmla="*/ 1266182 h 3408064"/>
                <a:gd name="connsiteX37" fmla="*/ 152004 w 1622477"/>
                <a:gd name="connsiteY37" fmla="*/ 1267786 h 3408064"/>
                <a:gd name="connsiteX38" fmla="*/ 136770 w 1622477"/>
                <a:gd name="connsiteY38" fmla="*/ 1284472 h 3408064"/>
                <a:gd name="connsiteX39" fmla="*/ 120785 w 1622477"/>
                <a:gd name="connsiteY39" fmla="*/ 1292841 h 3408064"/>
                <a:gd name="connsiteX40" fmla="*/ 113519 w 1622477"/>
                <a:gd name="connsiteY40" fmla="*/ 1296699 h 3408064"/>
                <a:gd name="connsiteX41" fmla="*/ 116676 w 1622477"/>
                <a:gd name="connsiteY41" fmla="*/ 1333731 h 3408064"/>
                <a:gd name="connsiteX42" fmla="*/ 113920 w 1622477"/>
                <a:gd name="connsiteY42" fmla="*/ 1358635 h 3408064"/>
                <a:gd name="connsiteX43" fmla="*/ 106103 w 1622477"/>
                <a:gd name="connsiteY43" fmla="*/ 1368557 h 3408064"/>
                <a:gd name="connsiteX44" fmla="*/ 103046 w 1622477"/>
                <a:gd name="connsiteY44" fmla="*/ 1372616 h 3408064"/>
                <a:gd name="connsiteX45" fmla="*/ 124994 w 1622477"/>
                <a:gd name="connsiteY45" fmla="*/ 1433750 h 3408064"/>
                <a:gd name="connsiteX46" fmla="*/ 126548 w 1622477"/>
                <a:gd name="connsiteY46" fmla="*/ 1440916 h 3408064"/>
                <a:gd name="connsiteX47" fmla="*/ 125395 w 1622477"/>
                <a:gd name="connsiteY47" fmla="*/ 1481906 h 3408064"/>
                <a:gd name="connsiteX48" fmla="*/ 120985 w 1622477"/>
                <a:gd name="connsiteY48" fmla="*/ 1547300 h 3408064"/>
                <a:gd name="connsiteX49" fmla="*/ 121486 w 1622477"/>
                <a:gd name="connsiteY49" fmla="*/ 1560980 h 3408064"/>
                <a:gd name="connsiteX50" fmla="*/ 122940 w 1622477"/>
                <a:gd name="connsiteY50" fmla="*/ 1568196 h 3408064"/>
                <a:gd name="connsiteX51" fmla="*/ 123942 w 1622477"/>
                <a:gd name="connsiteY51" fmla="*/ 1572004 h 3408064"/>
                <a:gd name="connsiteX52" fmla="*/ 141480 w 1622477"/>
                <a:gd name="connsiteY52" fmla="*/ 1591246 h 3408064"/>
                <a:gd name="connsiteX53" fmla="*/ 150851 w 1622477"/>
                <a:gd name="connsiteY53" fmla="*/ 1595406 h 3408064"/>
                <a:gd name="connsiteX54" fmla="*/ 154459 w 1622477"/>
                <a:gd name="connsiteY54" fmla="*/ 1597310 h 3408064"/>
                <a:gd name="connsiteX55" fmla="*/ 155712 w 1622477"/>
                <a:gd name="connsiteY55" fmla="*/ 1597911 h 3408064"/>
                <a:gd name="connsiteX56" fmla="*/ 155962 w 1622477"/>
                <a:gd name="connsiteY56" fmla="*/ 1599264 h 3408064"/>
                <a:gd name="connsiteX57" fmla="*/ 157766 w 1622477"/>
                <a:gd name="connsiteY57" fmla="*/ 1635944 h 3408064"/>
                <a:gd name="connsiteX58" fmla="*/ 157816 w 1622477"/>
                <a:gd name="connsiteY58" fmla="*/ 1654736 h 3408064"/>
                <a:gd name="connsiteX59" fmla="*/ 149799 w 1622477"/>
                <a:gd name="connsiteY59" fmla="*/ 1685503 h 3408064"/>
                <a:gd name="connsiteX60" fmla="*/ 143685 w 1622477"/>
                <a:gd name="connsiteY60" fmla="*/ 1695876 h 3408064"/>
                <a:gd name="connsiteX61" fmla="*/ 144738 w 1622477"/>
                <a:gd name="connsiteY61" fmla="*/ 1698682 h 3408064"/>
                <a:gd name="connsiteX62" fmla="*/ 146592 w 1622477"/>
                <a:gd name="connsiteY62" fmla="*/ 1702641 h 3408064"/>
                <a:gd name="connsiteX63" fmla="*/ 159570 w 1622477"/>
                <a:gd name="connsiteY63" fmla="*/ 1708504 h 3408064"/>
                <a:gd name="connsiteX64" fmla="*/ 165433 w 1622477"/>
                <a:gd name="connsiteY64" fmla="*/ 1710859 h 3408064"/>
                <a:gd name="connsiteX65" fmla="*/ 166235 w 1622477"/>
                <a:gd name="connsiteY65" fmla="*/ 1711210 h 3408064"/>
                <a:gd name="connsiteX66" fmla="*/ 166686 w 1622477"/>
                <a:gd name="connsiteY66" fmla="*/ 1711912 h 3408064"/>
                <a:gd name="connsiteX67" fmla="*/ 168891 w 1622477"/>
                <a:gd name="connsiteY67" fmla="*/ 1715570 h 3408064"/>
                <a:gd name="connsiteX68" fmla="*/ 173952 w 1622477"/>
                <a:gd name="connsiteY68" fmla="*/ 1723337 h 3408064"/>
                <a:gd name="connsiteX69" fmla="*/ 197854 w 1622477"/>
                <a:gd name="connsiteY69" fmla="*/ 1729851 h 3408064"/>
                <a:gd name="connsiteX70" fmla="*/ 205321 w 1622477"/>
                <a:gd name="connsiteY70" fmla="*/ 1727947 h 3408064"/>
                <a:gd name="connsiteX71" fmla="*/ 210382 w 1622477"/>
                <a:gd name="connsiteY71" fmla="*/ 1726744 h 3408064"/>
                <a:gd name="connsiteX72" fmla="*/ 211384 w 1622477"/>
                <a:gd name="connsiteY72" fmla="*/ 1728448 h 3408064"/>
                <a:gd name="connsiteX73" fmla="*/ 220554 w 1622477"/>
                <a:gd name="connsiteY73" fmla="*/ 1781615 h 3408064"/>
                <a:gd name="connsiteX74" fmla="*/ 218550 w 1622477"/>
                <a:gd name="connsiteY74" fmla="*/ 1793341 h 3408064"/>
                <a:gd name="connsiteX75" fmla="*/ 216595 w 1622477"/>
                <a:gd name="connsiteY75" fmla="*/ 1804866 h 3408064"/>
                <a:gd name="connsiteX76" fmla="*/ 216395 w 1622477"/>
                <a:gd name="connsiteY76" fmla="*/ 1805768 h 3408064"/>
                <a:gd name="connsiteX77" fmla="*/ 209530 w 1622477"/>
                <a:gd name="connsiteY77" fmla="*/ 1825561 h 3408064"/>
                <a:gd name="connsiteX78" fmla="*/ 189436 w 1622477"/>
                <a:gd name="connsiteY78" fmla="*/ 1856379 h 3408064"/>
                <a:gd name="connsiteX79" fmla="*/ 180867 w 1622477"/>
                <a:gd name="connsiteY79" fmla="*/ 1869107 h 3408064"/>
                <a:gd name="connsiteX80" fmla="*/ 165633 w 1622477"/>
                <a:gd name="connsiteY80" fmla="*/ 1879179 h 3408064"/>
                <a:gd name="connsiteX81" fmla="*/ 161324 w 1622477"/>
                <a:gd name="connsiteY81" fmla="*/ 1879730 h 3408064"/>
                <a:gd name="connsiteX82" fmla="*/ 158718 w 1622477"/>
                <a:gd name="connsiteY82" fmla="*/ 1880081 h 3408064"/>
                <a:gd name="connsiteX83" fmla="*/ 149749 w 1622477"/>
                <a:gd name="connsiteY83" fmla="*/ 1887297 h 3408064"/>
                <a:gd name="connsiteX84" fmla="*/ 153106 w 1622477"/>
                <a:gd name="connsiteY84" fmla="*/ 1901027 h 3408064"/>
                <a:gd name="connsiteX85" fmla="*/ 159620 w 1622477"/>
                <a:gd name="connsiteY85" fmla="*/ 1905838 h 3408064"/>
                <a:gd name="connsiteX86" fmla="*/ 164331 w 1622477"/>
                <a:gd name="connsiteY86" fmla="*/ 1909045 h 3408064"/>
                <a:gd name="connsiteX87" fmla="*/ 172098 w 1622477"/>
                <a:gd name="connsiteY87" fmla="*/ 1915358 h 3408064"/>
                <a:gd name="connsiteX88" fmla="*/ 176608 w 1622477"/>
                <a:gd name="connsiteY88" fmla="*/ 1919117 h 3408064"/>
                <a:gd name="connsiteX89" fmla="*/ 175906 w 1622477"/>
                <a:gd name="connsiteY89" fmla="*/ 1920921 h 3408064"/>
                <a:gd name="connsiteX90" fmla="*/ 174353 w 1622477"/>
                <a:gd name="connsiteY90" fmla="*/ 1925180 h 3408064"/>
                <a:gd name="connsiteX91" fmla="*/ 170895 w 1622477"/>
                <a:gd name="connsiteY91" fmla="*/ 1933148 h 3408064"/>
                <a:gd name="connsiteX92" fmla="*/ 153256 w 1622477"/>
                <a:gd name="connsiteY92" fmla="*/ 1968175 h 3408064"/>
                <a:gd name="connsiteX93" fmla="*/ 144888 w 1622477"/>
                <a:gd name="connsiteY93" fmla="*/ 1983258 h 3408064"/>
                <a:gd name="connsiteX94" fmla="*/ 96682 w 1622477"/>
                <a:gd name="connsiteY94" fmla="*/ 2035923 h 3408064"/>
                <a:gd name="connsiteX95" fmla="*/ 90719 w 1622477"/>
                <a:gd name="connsiteY95" fmla="*/ 2040383 h 3408064"/>
                <a:gd name="connsiteX96" fmla="*/ 77640 w 1622477"/>
                <a:gd name="connsiteY96" fmla="*/ 2074959 h 3408064"/>
                <a:gd name="connsiteX97" fmla="*/ 78191 w 1622477"/>
                <a:gd name="connsiteY97" fmla="*/ 2080672 h 3408064"/>
                <a:gd name="connsiteX98" fmla="*/ 108558 w 1622477"/>
                <a:gd name="connsiteY98" fmla="*/ 2124168 h 3408064"/>
                <a:gd name="connsiteX99" fmla="*/ 117778 w 1622477"/>
                <a:gd name="connsiteY99" fmla="*/ 2129579 h 3408064"/>
                <a:gd name="connsiteX100" fmla="*/ 122639 w 1622477"/>
                <a:gd name="connsiteY100" fmla="*/ 2133839 h 3408064"/>
                <a:gd name="connsiteX101" fmla="*/ 137572 w 1622477"/>
                <a:gd name="connsiteY101" fmla="*/ 2154484 h 3408064"/>
                <a:gd name="connsiteX102" fmla="*/ 137973 w 1622477"/>
                <a:gd name="connsiteY102" fmla="*/ 2156188 h 3408064"/>
                <a:gd name="connsiteX103" fmla="*/ 136570 w 1622477"/>
                <a:gd name="connsiteY103" fmla="*/ 2157240 h 3408064"/>
                <a:gd name="connsiteX104" fmla="*/ 77991 w 1622477"/>
                <a:gd name="connsiteY104" fmla="*/ 2192017 h 3408064"/>
                <a:gd name="connsiteX105" fmla="*/ 74734 w 1622477"/>
                <a:gd name="connsiteY105" fmla="*/ 2193720 h 3408064"/>
                <a:gd name="connsiteX106" fmla="*/ 52385 w 1622477"/>
                <a:gd name="connsiteY106" fmla="*/ 2201086 h 3408064"/>
                <a:gd name="connsiteX107" fmla="*/ 40559 w 1622477"/>
                <a:gd name="connsiteY107" fmla="*/ 2204193 h 3408064"/>
                <a:gd name="connsiteX108" fmla="*/ 25876 w 1622477"/>
                <a:gd name="connsiteY108" fmla="*/ 2207901 h 3408064"/>
                <a:gd name="connsiteX109" fmla="*/ 2575 w 1622477"/>
                <a:gd name="connsiteY109" fmla="*/ 2215218 h 3408064"/>
                <a:gd name="connsiteX110" fmla="*/ 2725 w 1622477"/>
                <a:gd name="connsiteY110" fmla="*/ 2326863 h 3408064"/>
                <a:gd name="connsiteX111" fmla="*/ 6835 w 1622477"/>
                <a:gd name="connsiteY111" fmla="*/ 2328717 h 3408064"/>
                <a:gd name="connsiteX112" fmla="*/ 19963 w 1622477"/>
                <a:gd name="connsiteY112" fmla="*/ 2334830 h 3408064"/>
                <a:gd name="connsiteX113" fmla="*/ 52234 w 1622477"/>
                <a:gd name="connsiteY113" fmla="*/ 2337586 h 3408064"/>
                <a:gd name="connsiteX114" fmla="*/ 74483 w 1622477"/>
                <a:gd name="connsiteY114" fmla="*/ 2335883 h 3408064"/>
                <a:gd name="connsiteX115" fmla="*/ 142884 w 1622477"/>
                <a:gd name="connsiteY115" fmla="*/ 2356378 h 3408064"/>
                <a:gd name="connsiteX116" fmla="*/ 158017 w 1622477"/>
                <a:gd name="connsiteY116" fmla="*/ 2370258 h 3408064"/>
                <a:gd name="connsiteX117" fmla="*/ 169692 w 1622477"/>
                <a:gd name="connsiteY117" fmla="*/ 2380932 h 3408064"/>
                <a:gd name="connsiteX118" fmla="*/ 195850 w 1622477"/>
                <a:gd name="connsiteY118" fmla="*/ 2422473 h 3408064"/>
                <a:gd name="connsiteX119" fmla="*/ 196251 w 1622477"/>
                <a:gd name="connsiteY119" fmla="*/ 2428737 h 3408064"/>
                <a:gd name="connsiteX120" fmla="*/ 213990 w 1622477"/>
                <a:gd name="connsiteY120" fmla="*/ 2450534 h 3408064"/>
                <a:gd name="connsiteX121" fmla="*/ 250720 w 1622477"/>
                <a:gd name="connsiteY121" fmla="*/ 2490222 h 3408064"/>
                <a:gd name="connsiteX122" fmla="*/ 251522 w 1622477"/>
                <a:gd name="connsiteY122" fmla="*/ 2492176 h 3408064"/>
                <a:gd name="connsiteX123" fmla="*/ 249818 w 1622477"/>
                <a:gd name="connsiteY123" fmla="*/ 2493429 h 3408064"/>
                <a:gd name="connsiteX124" fmla="*/ 246712 w 1622477"/>
                <a:gd name="connsiteY124" fmla="*/ 2495884 h 3408064"/>
                <a:gd name="connsiteX125" fmla="*/ 240999 w 1622477"/>
                <a:gd name="connsiteY125" fmla="*/ 2499843 h 3408064"/>
                <a:gd name="connsiteX126" fmla="*/ 200109 w 1622477"/>
                <a:gd name="connsiteY126" fmla="*/ 2542436 h 3408064"/>
                <a:gd name="connsiteX127" fmla="*/ 204719 w 1622477"/>
                <a:gd name="connsiteY127" fmla="*/ 2580219 h 3408064"/>
                <a:gd name="connsiteX128" fmla="*/ 214541 w 1622477"/>
                <a:gd name="connsiteY128" fmla="*/ 2590091 h 3408064"/>
                <a:gd name="connsiteX129" fmla="*/ 255681 w 1622477"/>
                <a:gd name="connsiteY129" fmla="*/ 2648369 h 3408064"/>
                <a:gd name="connsiteX130" fmla="*/ 260342 w 1622477"/>
                <a:gd name="connsiteY130" fmla="*/ 2657038 h 3408064"/>
                <a:gd name="connsiteX131" fmla="*/ 259891 w 1622477"/>
                <a:gd name="connsiteY131" fmla="*/ 2658191 h 3408064"/>
                <a:gd name="connsiteX132" fmla="*/ 259089 w 1622477"/>
                <a:gd name="connsiteY132" fmla="*/ 2660496 h 3408064"/>
                <a:gd name="connsiteX133" fmla="*/ 257385 w 1622477"/>
                <a:gd name="connsiteY133" fmla="*/ 2664254 h 3408064"/>
                <a:gd name="connsiteX134" fmla="*/ 251021 w 1622477"/>
                <a:gd name="connsiteY134" fmla="*/ 2671520 h 3408064"/>
                <a:gd name="connsiteX135" fmla="*/ 239897 w 1622477"/>
                <a:gd name="connsiteY135" fmla="*/ 2689710 h 3408064"/>
                <a:gd name="connsiteX136" fmla="*/ 225164 w 1622477"/>
                <a:gd name="connsiteY136" fmla="*/ 2701386 h 3408064"/>
                <a:gd name="connsiteX137" fmla="*/ 203717 w 1622477"/>
                <a:gd name="connsiteY137" fmla="*/ 2719476 h 3408064"/>
                <a:gd name="connsiteX138" fmla="*/ 198355 w 1622477"/>
                <a:gd name="connsiteY138" fmla="*/ 2731753 h 3408064"/>
                <a:gd name="connsiteX139" fmla="*/ 191590 w 1622477"/>
                <a:gd name="connsiteY139" fmla="*/ 2747587 h 3408064"/>
                <a:gd name="connsiteX140" fmla="*/ 187582 w 1622477"/>
                <a:gd name="connsiteY140" fmla="*/ 2764575 h 3408064"/>
                <a:gd name="connsiteX141" fmla="*/ 191841 w 1622477"/>
                <a:gd name="connsiteY141" fmla="*/ 2774847 h 3408064"/>
                <a:gd name="connsiteX142" fmla="*/ 194547 w 1622477"/>
                <a:gd name="connsiteY142" fmla="*/ 2779908 h 3408064"/>
                <a:gd name="connsiteX143" fmla="*/ 195549 w 1622477"/>
                <a:gd name="connsiteY143" fmla="*/ 2782063 h 3408064"/>
                <a:gd name="connsiteX144" fmla="*/ 191490 w 1622477"/>
                <a:gd name="connsiteY144" fmla="*/ 2784619 h 3408064"/>
                <a:gd name="connsiteX145" fmla="*/ 189185 w 1622477"/>
                <a:gd name="connsiteY145" fmla="*/ 2786072 h 3408064"/>
                <a:gd name="connsiteX146" fmla="*/ 180516 w 1622477"/>
                <a:gd name="connsiteY146" fmla="*/ 2795142 h 3408064"/>
                <a:gd name="connsiteX147" fmla="*/ 185828 w 1622477"/>
                <a:gd name="connsiteY147" fmla="*/ 2804161 h 3408064"/>
                <a:gd name="connsiteX148" fmla="*/ 197403 w 1622477"/>
                <a:gd name="connsiteY148" fmla="*/ 2831121 h 3408064"/>
                <a:gd name="connsiteX149" fmla="*/ 203968 w 1622477"/>
                <a:gd name="connsiteY149" fmla="*/ 2892355 h 3408064"/>
                <a:gd name="connsiteX150" fmla="*/ 203867 w 1622477"/>
                <a:gd name="connsiteY150" fmla="*/ 2906837 h 3408064"/>
                <a:gd name="connsiteX151" fmla="*/ 203567 w 1622477"/>
                <a:gd name="connsiteY151" fmla="*/ 2913652 h 3408064"/>
                <a:gd name="connsiteX152" fmla="*/ 203567 w 1622477"/>
                <a:gd name="connsiteY152" fmla="*/ 2915556 h 3408064"/>
                <a:gd name="connsiteX153" fmla="*/ 201713 w 1622477"/>
                <a:gd name="connsiteY153" fmla="*/ 2916158 h 3408064"/>
                <a:gd name="connsiteX154" fmla="*/ 153707 w 1622477"/>
                <a:gd name="connsiteY154" fmla="*/ 2949681 h 3408064"/>
                <a:gd name="connsiteX155" fmla="*/ 171597 w 1622477"/>
                <a:gd name="connsiteY155" fmla="*/ 2968172 h 3408064"/>
                <a:gd name="connsiteX156" fmla="*/ 189937 w 1622477"/>
                <a:gd name="connsiteY156" fmla="*/ 2987164 h 3408064"/>
                <a:gd name="connsiteX157" fmla="*/ 227970 w 1622477"/>
                <a:gd name="connsiteY157" fmla="*/ 2996133 h 3408064"/>
                <a:gd name="connsiteX158" fmla="*/ 239796 w 1622477"/>
                <a:gd name="connsiteY158" fmla="*/ 2991924 h 3408064"/>
                <a:gd name="connsiteX159" fmla="*/ 245910 w 1622477"/>
                <a:gd name="connsiteY159" fmla="*/ 2989519 h 3408064"/>
                <a:gd name="connsiteX160" fmla="*/ 247764 w 1622477"/>
                <a:gd name="connsiteY160" fmla="*/ 2988817 h 3408064"/>
                <a:gd name="connsiteX161" fmla="*/ 248967 w 1622477"/>
                <a:gd name="connsiteY161" fmla="*/ 2990371 h 3408064"/>
                <a:gd name="connsiteX162" fmla="*/ 291961 w 1622477"/>
                <a:gd name="connsiteY162" fmla="*/ 3017731 h 3408064"/>
                <a:gd name="connsiteX163" fmla="*/ 297122 w 1622477"/>
                <a:gd name="connsiteY163" fmla="*/ 3019886 h 3408064"/>
                <a:gd name="connsiteX164" fmla="*/ 297423 w 1622477"/>
                <a:gd name="connsiteY164" fmla="*/ 3021289 h 3408064"/>
                <a:gd name="connsiteX165" fmla="*/ 299377 w 1622477"/>
                <a:gd name="connsiteY165" fmla="*/ 3029958 h 3408064"/>
                <a:gd name="connsiteX166" fmla="*/ 302835 w 1622477"/>
                <a:gd name="connsiteY166" fmla="*/ 3047496 h 3408064"/>
                <a:gd name="connsiteX167" fmla="*/ 317417 w 1622477"/>
                <a:gd name="connsiteY167" fmla="*/ 3106476 h 3408064"/>
                <a:gd name="connsiteX168" fmla="*/ 319972 w 1622477"/>
                <a:gd name="connsiteY168" fmla="*/ 3114443 h 3408064"/>
                <a:gd name="connsiteX169" fmla="*/ 323280 w 1622477"/>
                <a:gd name="connsiteY169" fmla="*/ 3124365 h 3408064"/>
                <a:gd name="connsiteX170" fmla="*/ 322728 w 1622477"/>
                <a:gd name="connsiteY170" fmla="*/ 3147015 h 3408064"/>
                <a:gd name="connsiteX171" fmla="*/ 313909 w 1622477"/>
                <a:gd name="connsiteY171" fmla="*/ 3169614 h 3408064"/>
                <a:gd name="connsiteX172" fmla="*/ 310702 w 1622477"/>
                <a:gd name="connsiteY172" fmla="*/ 3178033 h 3408064"/>
                <a:gd name="connsiteX173" fmla="*/ 331247 w 1622477"/>
                <a:gd name="connsiteY173" fmla="*/ 3213361 h 3408064"/>
                <a:gd name="connsiteX174" fmla="*/ 331097 w 1622477"/>
                <a:gd name="connsiteY174" fmla="*/ 3236311 h 3408064"/>
                <a:gd name="connsiteX175" fmla="*/ 309550 w 1622477"/>
                <a:gd name="connsiteY175" fmla="*/ 3255453 h 3408064"/>
                <a:gd name="connsiteX176" fmla="*/ 296321 w 1622477"/>
                <a:gd name="connsiteY176" fmla="*/ 3271939 h 3408064"/>
                <a:gd name="connsiteX177" fmla="*/ 283643 w 1622477"/>
                <a:gd name="connsiteY177" fmla="*/ 3297646 h 3408064"/>
                <a:gd name="connsiteX178" fmla="*/ 277479 w 1622477"/>
                <a:gd name="connsiteY178" fmla="*/ 3309422 h 3408064"/>
                <a:gd name="connsiteX179" fmla="*/ 276527 w 1622477"/>
                <a:gd name="connsiteY179" fmla="*/ 3311276 h 3408064"/>
                <a:gd name="connsiteX180" fmla="*/ 274523 w 1622477"/>
                <a:gd name="connsiteY180" fmla="*/ 3310825 h 3408064"/>
                <a:gd name="connsiteX181" fmla="*/ 243956 w 1622477"/>
                <a:gd name="connsiteY181" fmla="*/ 3324104 h 3408064"/>
                <a:gd name="connsiteX182" fmla="*/ 227920 w 1622477"/>
                <a:gd name="connsiteY182" fmla="*/ 3354972 h 3408064"/>
                <a:gd name="connsiteX183" fmla="*/ 233182 w 1622477"/>
                <a:gd name="connsiteY183" fmla="*/ 3360334 h 3408064"/>
                <a:gd name="connsiteX184" fmla="*/ 245309 w 1622477"/>
                <a:gd name="connsiteY184" fmla="*/ 3374314 h 3408064"/>
                <a:gd name="connsiteX185" fmla="*/ 262296 w 1622477"/>
                <a:gd name="connsiteY185" fmla="*/ 3387092 h 3408064"/>
                <a:gd name="connsiteX186" fmla="*/ 351241 w 1622477"/>
                <a:gd name="connsiteY186" fmla="*/ 3407637 h 3408064"/>
                <a:gd name="connsiteX187" fmla="*/ 376697 w 1622477"/>
                <a:gd name="connsiteY187" fmla="*/ 3403278 h 3408064"/>
                <a:gd name="connsiteX188" fmla="*/ 377549 w 1622477"/>
                <a:gd name="connsiteY188" fmla="*/ 3402827 h 3408064"/>
                <a:gd name="connsiteX189" fmla="*/ 457625 w 1622477"/>
                <a:gd name="connsiteY189" fmla="*/ 3332222 h 3408064"/>
                <a:gd name="connsiteX190" fmla="*/ 457976 w 1622477"/>
                <a:gd name="connsiteY190" fmla="*/ 3331771 h 3408064"/>
                <a:gd name="connsiteX191" fmla="*/ 458878 w 1622477"/>
                <a:gd name="connsiteY191" fmla="*/ 3330468 h 3408064"/>
                <a:gd name="connsiteX192" fmla="*/ 496811 w 1622477"/>
                <a:gd name="connsiteY192" fmla="*/ 3297295 h 3408064"/>
                <a:gd name="connsiteX193" fmla="*/ 516254 w 1622477"/>
                <a:gd name="connsiteY193" fmla="*/ 3275648 h 3408064"/>
                <a:gd name="connsiteX194" fmla="*/ 533141 w 1622477"/>
                <a:gd name="connsiteY194" fmla="*/ 3243226 h 3408064"/>
                <a:gd name="connsiteX195" fmla="*/ 533692 w 1622477"/>
                <a:gd name="connsiteY195" fmla="*/ 3242675 h 3408064"/>
                <a:gd name="connsiteX196" fmla="*/ 534444 w 1622477"/>
                <a:gd name="connsiteY196" fmla="*/ 3242525 h 3408064"/>
                <a:gd name="connsiteX197" fmla="*/ 546721 w 1622477"/>
                <a:gd name="connsiteY197" fmla="*/ 3241071 h 3408064"/>
                <a:gd name="connsiteX198" fmla="*/ 571726 w 1622477"/>
                <a:gd name="connsiteY198" fmla="*/ 3233806 h 3408064"/>
                <a:gd name="connsiteX199" fmla="*/ 587911 w 1622477"/>
                <a:gd name="connsiteY199" fmla="*/ 3237464 h 3408064"/>
                <a:gd name="connsiteX200" fmla="*/ 599487 w 1622477"/>
                <a:gd name="connsiteY200" fmla="*/ 3238767 h 3408064"/>
                <a:gd name="connsiteX201" fmla="*/ 624442 w 1622477"/>
                <a:gd name="connsiteY201" fmla="*/ 3236461 h 3408064"/>
                <a:gd name="connsiteX202" fmla="*/ 649446 w 1622477"/>
                <a:gd name="connsiteY202" fmla="*/ 3236261 h 3408064"/>
                <a:gd name="connsiteX203" fmla="*/ 657364 w 1622477"/>
                <a:gd name="connsiteY203" fmla="*/ 3233004 h 3408064"/>
                <a:gd name="connsiteX204" fmla="*/ 672447 w 1622477"/>
                <a:gd name="connsiteY204" fmla="*/ 3223734 h 3408064"/>
                <a:gd name="connsiteX205" fmla="*/ 667737 w 1622477"/>
                <a:gd name="connsiteY205" fmla="*/ 3216417 h 3408064"/>
                <a:gd name="connsiteX206" fmla="*/ 655810 w 1622477"/>
                <a:gd name="connsiteY206" fmla="*/ 3197777 h 3408064"/>
                <a:gd name="connsiteX207" fmla="*/ 629152 w 1622477"/>
                <a:gd name="connsiteY207" fmla="*/ 3171018 h 3408064"/>
                <a:gd name="connsiteX208" fmla="*/ 619030 w 1622477"/>
                <a:gd name="connsiteY208" fmla="*/ 3163150 h 3408064"/>
                <a:gd name="connsiteX209" fmla="*/ 612114 w 1622477"/>
                <a:gd name="connsiteY209" fmla="*/ 3143808 h 3408064"/>
                <a:gd name="connsiteX210" fmla="*/ 622237 w 1622477"/>
                <a:gd name="connsiteY210" fmla="*/ 3126169 h 3408064"/>
                <a:gd name="connsiteX211" fmla="*/ 658166 w 1622477"/>
                <a:gd name="connsiteY211" fmla="*/ 3106576 h 3408064"/>
                <a:gd name="connsiteX212" fmla="*/ 673099 w 1622477"/>
                <a:gd name="connsiteY212" fmla="*/ 3101615 h 3408064"/>
                <a:gd name="connsiteX213" fmla="*/ 678811 w 1622477"/>
                <a:gd name="connsiteY213" fmla="*/ 3099561 h 3408064"/>
                <a:gd name="connsiteX214" fmla="*/ 687179 w 1622477"/>
                <a:gd name="connsiteY214" fmla="*/ 3069695 h 3408064"/>
                <a:gd name="connsiteX215" fmla="*/ 687230 w 1622477"/>
                <a:gd name="connsiteY215" fmla="*/ 3058320 h 3408064"/>
                <a:gd name="connsiteX216" fmla="*/ 687230 w 1622477"/>
                <a:gd name="connsiteY216" fmla="*/ 3043688 h 3408064"/>
                <a:gd name="connsiteX217" fmla="*/ 695548 w 1622477"/>
                <a:gd name="connsiteY217" fmla="*/ 3022391 h 3408064"/>
                <a:gd name="connsiteX218" fmla="*/ 706021 w 1622477"/>
                <a:gd name="connsiteY218" fmla="*/ 2992826 h 3408064"/>
                <a:gd name="connsiteX219" fmla="*/ 706422 w 1622477"/>
                <a:gd name="connsiteY219" fmla="*/ 2973434 h 3408064"/>
                <a:gd name="connsiteX220" fmla="*/ 712235 w 1622477"/>
                <a:gd name="connsiteY220" fmla="*/ 2959302 h 3408064"/>
                <a:gd name="connsiteX221" fmla="*/ 773870 w 1622477"/>
                <a:gd name="connsiteY221" fmla="*/ 2906887 h 3408064"/>
                <a:gd name="connsiteX222" fmla="*/ 782689 w 1622477"/>
                <a:gd name="connsiteY222" fmla="*/ 2902628 h 3408064"/>
                <a:gd name="connsiteX223" fmla="*/ 783240 w 1622477"/>
                <a:gd name="connsiteY223" fmla="*/ 2902377 h 3408064"/>
                <a:gd name="connsiteX224" fmla="*/ 782589 w 1622477"/>
                <a:gd name="connsiteY224" fmla="*/ 2893358 h 3408064"/>
                <a:gd name="connsiteX225" fmla="*/ 781136 w 1622477"/>
                <a:gd name="connsiteY225" fmla="*/ 2872011 h 3408064"/>
                <a:gd name="connsiteX226" fmla="*/ 781036 w 1622477"/>
                <a:gd name="connsiteY226" fmla="*/ 2862690 h 3408064"/>
                <a:gd name="connsiteX227" fmla="*/ 781036 w 1622477"/>
                <a:gd name="connsiteY227" fmla="*/ 2855424 h 3408064"/>
                <a:gd name="connsiteX228" fmla="*/ 766003 w 1622477"/>
                <a:gd name="connsiteY228" fmla="*/ 2828164 h 3408064"/>
                <a:gd name="connsiteX229" fmla="*/ 758286 w 1622477"/>
                <a:gd name="connsiteY229" fmla="*/ 2822402 h 3408064"/>
                <a:gd name="connsiteX230" fmla="*/ 754778 w 1622477"/>
                <a:gd name="connsiteY230" fmla="*/ 2819545 h 3408064"/>
                <a:gd name="connsiteX231" fmla="*/ 753275 w 1622477"/>
                <a:gd name="connsiteY231" fmla="*/ 2818393 h 3408064"/>
                <a:gd name="connsiteX232" fmla="*/ 753876 w 1622477"/>
                <a:gd name="connsiteY232" fmla="*/ 2816589 h 3408064"/>
                <a:gd name="connsiteX233" fmla="*/ 803435 w 1622477"/>
                <a:gd name="connsiteY233" fmla="*/ 2719776 h 3408064"/>
                <a:gd name="connsiteX234" fmla="*/ 804487 w 1622477"/>
                <a:gd name="connsiteY234" fmla="*/ 2718373 h 3408064"/>
                <a:gd name="connsiteX235" fmla="*/ 806191 w 1622477"/>
                <a:gd name="connsiteY235" fmla="*/ 2718824 h 3408064"/>
                <a:gd name="connsiteX236" fmla="*/ 815662 w 1622477"/>
                <a:gd name="connsiteY236" fmla="*/ 2721330 h 3408064"/>
                <a:gd name="connsiteX237" fmla="*/ 835806 w 1622477"/>
                <a:gd name="connsiteY237" fmla="*/ 2726140 h 3408064"/>
                <a:gd name="connsiteX238" fmla="*/ 853395 w 1622477"/>
                <a:gd name="connsiteY238" fmla="*/ 2727944 h 3408064"/>
                <a:gd name="connsiteX239" fmla="*/ 866223 w 1622477"/>
                <a:gd name="connsiteY239" fmla="*/ 2729097 h 3408064"/>
                <a:gd name="connsiteX240" fmla="*/ 873439 w 1622477"/>
                <a:gd name="connsiteY240" fmla="*/ 2731602 h 3408064"/>
                <a:gd name="connsiteX241" fmla="*/ 875744 w 1622477"/>
                <a:gd name="connsiteY241" fmla="*/ 2732655 h 3408064"/>
                <a:gd name="connsiteX242" fmla="*/ 911773 w 1622477"/>
                <a:gd name="connsiteY242" fmla="*/ 2734759 h 3408064"/>
                <a:gd name="connsiteX243" fmla="*/ 912575 w 1622477"/>
                <a:gd name="connsiteY243" fmla="*/ 2733707 h 3408064"/>
                <a:gd name="connsiteX244" fmla="*/ 913877 w 1622477"/>
                <a:gd name="connsiteY244" fmla="*/ 2731802 h 3408064"/>
                <a:gd name="connsiteX245" fmla="*/ 916984 w 1622477"/>
                <a:gd name="connsiteY245" fmla="*/ 2721530 h 3408064"/>
                <a:gd name="connsiteX246" fmla="*/ 919289 w 1622477"/>
                <a:gd name="connsiteY246" fmla="*/ 2713713 h 3408064"/>
                <a:gd name="connsiteX247" fmla="*/ 958325 w 1622477"/>
                <a:gd name="connsiteY247" fmla="*/ 2693368 h 3408064"/>
                <a:gd name="connsiteX248" fmla="*/ 959929 w 1622477"/>
                <a:gd name="connsiteY248" fmla="*/ 2693719 h 3408064"/>
                <a:gd name="connsiteX249" fmla="*/ 960380 w 1622477"/>
                <a:gd name="connsiteY249" fmla="*/ 2695272 h 3408064"/>
                <a:gd name="connsiteX250" fmla="*/ 965341 w 1622477"/>
                <a:gd name="connsiteY250" fmla="*/ 2713061 h 3408064"/>
                <a:gd name="connsiteX251" fmla="*/ 976966 w 1622477"/>
                <a:gd name="connsiteY251" fmla="*/ 2753751 h 3408064"/>
                <a:gd name="connsiteX252" fmla="*/ 1003875 w 1622477"/>
                <a:gd name="connsiteY252" fmla="*/ 2773494 h 3408064"/>
                <a:gd name="connsiteX253" fmla="*/ 997712 w 1622477"/>
                <a:gd name="connsiteY253" fmla="*/ 2742877 h 3408064"/>
                <a:gd name="connsiteX254" fmla="*/ 996509 w 1622477"/>
                <a:gd name="connsiteY254" fmla="*/ 2741524 h 3408064"/>
                <a:gd name="connsiteX255" fmla="*/ 997311 w 1622477"/>
                <a:gd name="connsiteY255" fmla="*/ 2739870 h 3408064"/>
                <a:gd name="connsiteX256" fmla="*/ 1007433 w 1622477"/>
                <a:gd name="connsiteY256" fmla="*/ 2719526 h 3408064"/>
                <a:gd name="connsiteX257" fmla="*/ 1027878 w 1622477"/>
                <a:gd name="connsiteY257" fmla="*/ 2677934 h 3408064"/>
                <a:gd name="connsiteX258" fmla="*/ 1049275 w 1622477"/>
                <a:gd name="connsiteY258" fmla="*/ 2654583 h 3408064"/>
                <a:gd name="connsiteX259" fmla="*/ 1082097 w 1622477"/>
                <a:gd name="connsiteY259" fmla="*/ 2634288 h 3408064"/>
                <a:gd name="connsiteX260" fmla="*/ 1097431 w 1622477"/>
                <a:gd name="connsiteY260" fmla="*/ 2624617 h 3408064"/>
                <a:gd name="connsiteX261" fmla="*/ 1109407 w 1622477"/>
                <a:gd name="connsiteY261" fmla="*/ 2610486 h 3408064"/>
                <a:gd name="connsiteX262" fmla="*/ 1145186 w 1622477"/>
                <a:gd name="connsiteY262" fmla="*/ 2571951 h 3408064"/>
                <a:gd name="connsiteX263" fmla="*/ 1173598 w 1622477"/>
                <a:gd name="connsiteY263" fmla="*/ 2569596 h 3408064"/>
                <a:gd name="connsiteX264" fmla="*/ 1187729 w 1622477"/>
                <a:gd name="connsiteY264" fmla="*/ 2594350 h 3408064"/>
                <a:gd name="connsiteX265" fmla="*/ 1187929 w 1622477"/>
                <a:gd name="connsiteY265" fmla="*/ 2599462 h 3408064"/>
                <a:gd name="connsiteX266" fmla="*/ 1199906 w 1622477"/>
                <a:gd name="connsiteY266" fmla="*/ 2613342 h 3408064"/>
                <a:gd name="connsiteX267" fmla="*/ 1213636 w 1622477"/>
                <a:gd name="connsiteY267" fmla="*/ 2615647 h 3408064"/>
                <a:gd name="connsiteX268" fmla="*/ 1220551 w 1622477"/>
                <a:gd name="connsiteY268" fmla="*/ 2616549 h 3408064"/>
                <a:gd name="connsiteX269" fmla="*/ 1223458 w 1622477"/>
                <a:gd name="connsiteY269" fmla="*/ 2617000 h 3408064"/>
                <a:gd name="connsiteX270" fmla="*/ 1222756 w 1622477"/>
                <a:gd name="connsiteY270" fmla="*/ 2619857 h 3408064"/>
                <a:gd name="connsiteX271" fmla="*/ 1219950 w 1622477"/>
                <a:gd name="connsiteY271" fmla="*/ 2631632 h 3408064"/>
                <a:gd name="connsiteX272" fmla="*/ 1223458 w 1622477"/>
                <a:gd name="connsiteY272" fmla="*/ 2633186 h 3408064"/>
                <a:gd name="connsiteX273" fmla="*/ 1235484 w 1622477"/>
                <a:gd name="connsiteY273" fmla="*/ 2639099 h 3408064"/>
                <a:gd name="connsiteX274" fmla="*/ 1241146 w 1622477"/>
                <a:gd name="connsiteY274" fmla="*/ 2643809 h 3408064"/>
                <a:gd name="connsiteX275" fmla="*/ 1251820 w 1622477"/>
                <a:gd name="connsiteY275" fmla="*/ 2650223 h 3408064"/>
                <a:gd name="connsiteX276" fmla="*/ 1254626 w 1622477"/>
                <a:gd name="connsiteY276" fmla="*/ 2646866 h 3408064"/>
                <a:gd name="connsiteX277" fmla="*/ 1262394 w 1622477"/>
                <a:gd name="connsiteY277" fmla="*/ 2635992 h 3408064"/>
                <a:gd name="connsiteX278" fmla="*/ 1285093 w 1622477"/>
                <a:gd name="connsiteY278" fmla="*/ 2599863 h 3408064"/>
                <a:gd name="connsiteX279" fmla="*/ 1284642 w 1622477"/>
                <a:gd name="connsiteY279" fmla="*/ 2560175 h 3408064"/>
                <a:gd name="connsiteX280" fmla="*/ 1274921 w 1622477"/>
                <a:gd name="connsiteY280" fmla="*/ 2547999 h 3408064"/>
                <a:gd name="connsiteX281" fmla="*/ 1269910 w 1622477"/>
                <a:gd name="connsiteY281" fmla="*/ 2542035 h 3408064"/>
                <a:gd name="connsiteX282" fmla="*/ 1259537 w 1622477"/>
                <a:gd name="connsiteY282" fmla="*/ 2529007 h 3408064"/>
                <a:gd name="connsiteX283" fmla="*/ 1258184 w 1622477"/>
                <a:gd name="connsiteY283" fmla="*/ 2527253 h 3408064"/>
                <a:gd name="connsiteX284" fmla="*/ 1259637 w 1622477"/>
                <a:gd name="connsiteY284" fmla="*/ 2525600 h 3408064"/>
                <a:gd name="connsiteX285" fmla="*/ 1264097 w 1622477"/>
                <a:gd name="connsiteY285" fmla="*/ 2520488 h 3408064"/>
                <a:gd name="connsiteX286" fmla="*/ 1272365 w 1622477"/>
                <a:gd name="connsiteY286" fmla="*/ 2510516 h 3408064"/>
                <a:gd name="connsiteX287" fmla="*/ 1278929 w 1622477"/>
                <a:gd name="connsiteY287" fmla="*/ 2500244 h 3408064"/>
                <a:gd name="connsiteX288" fmla="*/ 1281786 w 1622477"/>
                <a:gd name="connsiteY288" fmla="*/ 2495533 h 3408064"/>
                <a:gd name="connsiteX289" fmla="*/ 1282438 w 1622477"/>
                <a:gd name="connsiteY289" fmla="*/ 2494531 h 3408064"/>
                <a:gd name="connsiteX290" fmla="*/ 1302782 w 1622477"/>
                <a:gd name="connsiteY290" fmla="*/ 2490873 h 3408064"/>
                <a:gd name="connsiteX291" fmla="*/ 1282738 w 1622477"/>
                <a:gd name="connsiteY291" fmla="*/ 2447177 h 3408064"/>
                <a:gd name="connsiteX292" fmla="*/ 1274219 w 1622477"/>
                <a:gd name="connsiteY292" fmla="*/ 2444271 h 3408064"/>
                <a:gd name="connsiteX293" fmla="*/ 1255578 w 1622477"/>
                <a:gd name="connsiteY293" fmla="*/ 2424377 h 3408064"/>
                <a:gd name="connsiteX294" fmla="*/ 1249766 w 1622477"/>
                <a:gd name="connsiteY294" fmla="*/ 2400825 h 3408064"/>
                <a:gd name="connsiteX295" fmla="*/ 1242149 w 1622477"/>
                <a:gd name="connsiteY295" fmla="*/ 2369206 h 3408064"/>
                <a:gd name="connsiteX296" fmla="*/ 1241648 w 1622477"/>
                <a:gd name="connsiteY296" fmla="*/ 2349513 h 3408064"/>
                <a:gd name="connsiteX297" fmla="*/ 1248312 w 1622477"/>
                <a:gd name="connsiteY297" fmla="*/ 2315187 h 3408064"/>
                <a:gd name="connsiteX298" fmla="*/ 1250868 w 1622477"/>
                <a:gd name="connsiteY298" fmla="*/ 2302760 h 3408064"/>
                <a:gd name="connsiteX299" fmla="*/ 1251069 w 1622477"/>
                <a:gd name="connsiteY299" fmla="*/ 2301808 h 3408064"/>
                <a:gd name="connsiteX300" fmla="*/ 1251820 w 1622477"/>
                <a:gd name="connsiteY300" fmla="*/ 2301206 h 3408064"/>
                <a:gd name="connsiteX301" fmla="*/ 1266603 w 1622477"/>
                <a:gd name="connsiteY301" fmla="*/ 2289330 h 3408064"/>
                <a:gd name="connsiteX302" fmla="*/ 1297671 w 1622477"/>
                <a:gd name="connsiteY302" fmla="*/ 2264977 h 3408064"/>
                <a:gd name="connsiteX303" fmla="*/ 1351840 w 1622477"/>
                <a:gd name="connsiteY303" fmla="*/ 2210207 h 3408064"/>
                <a:gd name="connsiteX304" fmla="*/ 1354897 w 1622477"/>
                <a:gd name="connsiteY304" fmla="*/ 2175079 h 3408064"/>
                <a:gd name="connsiteX305" fmla="*/ 1354145 w 1622477"/>
                <a:gd name="connsiteY305" fmla="*/ 2170018 h 3408064"/>
                <a:gd name="connsiteX306" fmla="*/ 1354295 w 1622477"/>
                <a:gd name="connsiteY306" fmla="*/ 2166861 h 3408064"/>
                <a:gd name="connsiteX307" fmla="*/ 1354295 w 1622477"/>
                <a:gd name="connsiteY307" fmla="*/ 2166160 h 3408064"/>
                <a:gd name="connsiteX308" fmla="*/ 1368526 w 1622477"/>
                <a:gd name="connsiteY308" fmla="*/ 2139952 h 3408064"/>
                <a:gd name="connsiteX309" fmla="*/ 1366522 w 1622477"/>
                <a:gd name="connsiteY309" fmla="*/ 2133137 h 3408064"/>
                <a:gd name="connsiteX310" fmla="*/ 1360509 w 1622477"/>
                <a:gd name="connsiteY310" fmla="*/ 2115398 h 3408064"/>
                <a:gd name="connsiteX311" fmla="*/ 1359206 w 1622477"/>
                <a:gd name="connsiteY311" fmla="*/ 2058222 h 3408064"/>
                <a:gd name="connsiteX312" fmla="*/ 1369980 w 1622477"/>
                <a:gd name="connsiteY312" fmla="*/ 2034320 h 3408064"/>
                <a:gd name="connsiteX313" fmla="*/ 1381555 w 1622477"/>
                <a:gd name="connsiteY313" fmla="*/ 2014326 h 3408064"/>
                <a:gd name="connsiteX314" fmla="*/ 1385864 w 1622477"/>
                <a:gd name="connsiteY314" fmla="*/ 2007160 h 3408064"/>
                <a:gd name="connsiteX315" fmla="*/ 1381305 w 1622477"/>
                <a:gd name="connsiteY315" fmla="*/ 1993330 h 3408064"/>
                <a:gd name="connsiteX316" fmla="*/ 1380653 w 1622477"/>
                <a:gd name="connsiteY316" fmla="*/ 1991275 h 3408064"/>
                <a:gd name="connsiteX317" fmla="*/ 1382507 w 1622477"/>
                <a:gd name="connsiteY317" fmla="*/ 1990173 h 3408064"/>
                <a:gd name="connsiteX318" fmla="*/ 1387017 w 1622477"/>
                <a:gd name="connsiteY318" fmla="*/ 1987367 h 3408064"/>
                <a:gd name="connsiteX319" fmla="*/ 1406861 w 1622477"/>
                <a:gd name="connsiteY319" fmla="*/ 1980151 h 3408064"/>
                <a:gd name="connsiteX320" fmla="*/ 1407663 w 1622477"/>
                <a:gd name="connsiteY320" fmla="*/ 1980151 h 3408064"/>
                <a:gd name="connsiteX321" fmla="*/ 1423848 w 1622477"/>
                <a:gd name="connsiteY321" fmla="*/ 1991827 h 3408064"/>
                <a:gd name="connsiteX322" fmla="*/ 1462633 w 1622477"/>
                <a:gd name="connsiteY322" fmla="*/ 1965669 h 3408064"/>
                <a:gd name="connsiteX323" fmla="*/ 1462633 w 1622477"/>
                <a:gd name="connsiteY323" fmla="*/ 1965218 h 3408064"/>
                <a:gd name="connsiteX324" fmla="*/ 1459927 w 1622477"/>
                <a:gd name="connsiteY324" fmla="*/ 1945425 h 3408064"/>
                <a:gd name="connsiteX325" fmla="*/ 1454014 w 1622477"/>
                <a:gd name="connsiteY325" fmla="*/ 1945224 h 3408064"/>
                <a:gd name="connsiteX326" fmla="*/ 1436275 w 1622477"/>
                <a:gd name="connsiteY326" fmla="*/ 1944122 h 3408064"/>
                <a:gd name="connsiteX327" fmla="*/ 1430563 w 1622477"/>
                <a:gd name="connsiteY327" fmla="*/ 1943470 h 3408064"/>
                <a:gd name="connsiteX328" fmla="*/ 1388069 w 1622477"/>
                <a:gd name="connsiteY328" fmla="*/ 1929439 h 3408064"/>
                <a:gd name="connsiteX329" fmla="*/ 1355498 w 1622477"/>
                <a:gd name="connsiteY329" fmla="*/ 1914707 h 3408064"/>
                <a:gd name="connsiteX330" fmla="*/ 1353994 w 1622477"/>
                <a:gd name="connsiteY330" fmla="*/ 1914607 h 3408064"/>
                <a:gd name="connsiteX331" fmla="*/ 1353293 w 1622477"/>
                <a:gd name="connsiteY331" fmla="*/ 1913254 h 3408064"/>
                <a:gd name="connsiteX332" fmla="*/ 1349435 w 1622477"/>
                <a:gd name="connsiteY332" fmla="*/ 1905637 h 3408064"/>
                <a:gd name="connsiteX333" fmla="*/ 1340214 w 1622477"/>
                <a:gd name="connsiteY333" fmla="*/ 1888399 h 3408064"/>
                <a:gd name="connsiteX334" fmla="*/ 1342219 w 1622477"/>
                <a:gd name="connsiteY334" fmla="*/ 1857181 h 3408064"/>
                <a:gd name="connsiteX335" fmla="*/ 1352090 w 1622477"/>
                <a:gd name="connsiteY335" fmla="*/ 1833378 h 3408064"/>
                <a:gd name="connsiteX336" fmla="*/ 1366823 w 1622477"/>
                <a:gd name="connsiteY336" fmla="*/ 1792539 h 3408064"/>
                <a:gd name="connsiteX337" fmla="*/ 1372184 w 1622477"/>
                <a:gd name="connsiteY337" fmla="*/ 1785774 h 3408064"/>
                <a:gd name="connsiteX338" fmla="*/ 1379851 w 1622477"/>
                <a:gd name="connsiteY338" fmla="*/ 1775852 h 3408064"/>
                <a:gd name="connsiteX339" fmla="*/ 1380302 w 1622477"/>
                <a:gd name="connsiteY339" fmla="*/ 1775201 h 3408064"/>
                <a:gd name="connsiteX340" fmla="*/ 1385213 w 1622477"/>
                <a:gd name="connsiteY340" fmla="*/ 1759566 h 3408064"/>
                <a:gd name="connsiteX341" fmla="*/ 1380202 w 1622477"/>
                <a:gd name="connsiteY341" fmla="*/ 1754355 h 3408064"/>
                <a:gd name="connsiteX342" fmla="*/ 1365520 w 1622477"/>
                <a:gd name="connsiteY342" fmla="*/ 1739672 h 3408064"/>
                <a:gd name="connsiteX343" fmla="*/ 1342770 w 1622477"/>
                <a:gd name="connsiteY343" fmla="*/ 1685053 h 3408064"/>
                <a:gd name="connsiteX344" fmla="*/ 1342770 w 1622477"/>
                <a:gd name="connsiteY344" fmla="*/ 1684151 h 3408064"/>
                <a:gd name="connsiteX345" fmla="*/ 1340815 w 1622477"/>
                <a:gd name="connsiteY345" fmla="*/ 1658344 h 3408064"/>
                <a:gd name="connsiteX346" fmla="*/ 1333850 w 1622477"/>
                <a:gd name="connsiteY346" fmla="*/ 1606079 h 3408064"/>
                <a:gd name="connsiteX347" fmla="*/ 1318216 w 1622477"/>
                <a:gd name="connsiteY347" fmla="*/ 1558975 h 3408064"/>
                <a:gd name="connsiteX348" fmla="*/ 1316863 w 1622477"/>
                <a:gd name="connsiteY348" fmla="*/ 1555919 h 3408064"/>
                <a:gd name="connsiteX349" fmla="*/ 1316562 w 1622477"/>
                <a:gd name="connsiteY349" fmla="*/ 1554466 h 3408064"/>
                <a:gd name="connsiteX350" fmla="*/ 1316262 w 1622477"/>
                <a:gd name="connsiteY350" fmla="*/ 1553313 h 3408064"/>
                <a:gd name="connsiteX351" fmla="*/ 1316913 w 1622477"/>
                <a:gd name="connsiteY351" fmla="*/ 1552311 h 3408064"/>
                <a:gd name="connsiteX352" fmla="*/ 1317965 w 1622477"/>
                <a:gd name="connsiteY352" fmla="*/ 1550457 h 3408064"/>
                <a:gd name="connsiteX353" fmla="*/ 1322024 w 1622477"/>
                <a:gd name="connsiteY353" fmla="*/ 1544694 h 3408064"/>
                <a:gd name="connsiteX354" fmla="*/ 1327787 w 1622477"/>
                <a:gd name="connsiteY354" fmla="*/ 1539332 h 3408064"/>
                <a:gd name="connsiteX355" fmla="*/ 1347630 w 1622477"/>
                <a:gd name="connsiteY355" fmla="*/ 1523197 h 3408064"/>
                <a:gd name="connsiteX356" fmla="*/ 1363365 w 1622477"/>
                <a:gd name="connsiteY356" fmla="*/ 1494534 h 3408064"/>
                <a:gd name="connsiteX357" fmla="*/ 1364768 w 1622477"/>
                <a:gd name="connsiteY357" fmla="*/ 1475191 h 3408064"/>
                <a:gd name="connsiteX358" fmla="*/ 1370881 w 1622477"/>
                <a:gd name="connsiteY358" fmla="*/ 1332227 h 3408064"/>
                <a:gd name="connsiteX359" fmla="*/ 1370831 w 1622477"/>
                <a:gd name="connsiteY359" fmla="*/ 1298353 h 3408064"/>
                <a:gd name="connsiteX360" fmla="*/ 1364016 w 1622477"/>
                <a:gd name="connsiteY360" fmla="*/ 1275703 h 3408064"/>
                <a:gd name="connsiteX361" fmla="*/ 1346077 w 1622477"/>
                <a:gd name="connsiteY361" fmla="*/ 1233811 h 3408064"/>
                <a:gd name="connsiteX362" fmla="*/ 1368025 w 1622477"/>
                <a:gd name="connsiteY362" fmla="*/ 1175733 h 3408064"/>
                <a:gd name="connsiteX363" fmla="*/ 1369178 w 1622477"/>
                <a:gd name="connsiteY363" fmla="*/ 1175032 h 3408064"/>
                <a:gd name="connsiteX364" fmla="*/ 1370431 w 1622477"/>
                <a:gd name="connsiteY364" fmla="*/ 1175483 h 3408064"/>
                <a:gd name="connsiteX365" fmla="*/ 1374490 w 1622477"/>
                <a:gd name="connsiteY365" fmla="*/ 1177086 h 3408064"/>
                <a:gd name="connsiteX366" fmla="*/ 1383259 w 1622477"/>
                <a:gd name="connsiteY366" fmla="*/ 1180394 h 3408064"/>
                <a:gd name="connsiteX367" fmla="*/ 1410919 w 1622477"/>
                <a:gd name="connsiteY367" fmla="*/ 1175032 h 3408064"/>
                <a:gd name="connsiteX368" fmla="*/ 1472154 w 1622477"/>
                <a:gd name="connsiteY368" fmla="*/ 1161051 h 3408064"/>
                <a:gd name="connsiteX369" fmla="*/ 1506480 w 1622477"/>
                <a:gd name="connsiteY369" fmla="*/ 1146770 h 3408064"/>
                <a:gd name="connsiteX370" fmla="*/ 1508183 w 1622477"/>
                <a:gd name="connsiteY370" fmla="*/ 1143813 h 3408064"/>
                <a:gd name="connsiteX371" fmla="*/ 1510439 w 1622477"/>
                <a:gd name="connsiteY371" fmla="*/ 1131837 h 3408064"/>
                <a:gd name="connsiteX372" fmla="*/ 1510439 w 1622477"/>
                <a:gd name="connsiteY372" fmla="*/ 1131336 h 3408064"/>
                <a:gd name="connsiteX373" fmla="*/ 1510588 w 1622477"/>
                <a:gd name="connsiteY373" fmla="*/ 1113396 h 3408064"/>
                <a:gd name="connsiteX374" fmla="*/ 1510588 w 1622477"/>
                <a:gd name="connsiteY374" fmla="*/ 1106281 h 3408064"/>
                <a:gd name="connsiteX375" fmla="*/ 1510588 w 1622477"/>
                <a:gd name="connsiteY375" fmla="*/ 1105028 h 3408064"/>
                <a:gd name="connsiteX376" fmla="*/ 1511541 w 1622477"/>
                <a:gd name="connsiteY376" fmla="*/ 1104226 h 3408064"/>
                <a:gd name="connsiteX377" fmla="*/ 1514698 w 1622477"/>
                <a:gd name="connsiteY377" fmla="*/ 1101420 h 3408064"/>
                <a:gd name="connsiteX378" fmla="*/ 1520761 w 1622477"/>
                <a:gd name="connsiteY378" fmla="*/ 1096960 h 3408064"/>
                <a:gd name="connsiteX379" fmla="*/ 1539853 w 1622477"/>
                <a:gd name="connsiteY379" fmla="*/ 1068247 h 3408064"/>
                <a:gd name="connsiteX380" fmla="*/ 1568165 w 1622477"/>
                <a:gd name="connsiteY380" fmla="*/ 1021495 h 3408064"/>
                <a:gd name="connsiteX381" fmla="*/ 1602190 w 1622477"/>
                <a:gd name="connsiteY381" fmla="*/ 996590 h 3408064"/>
                <a:gd name="connsiteX382" fmla="*/ 1617273 w 1622477"/>
                <a:gd name="connsiteY382" fmla="*/ 984914 h 3408064"/>
                <a:gd name="connsiteX383" fmla="*/ 1621532 w 1622477"/>
                <a:gd name="connsiteY383" fmla="*/ 971434 h 3408064"/>
                <a:gd name="connsiteX384" fmla="*/ 1618075 w 1622477"/>
                <a:gd name="connsiteY384" fmla="*/ 962365 h 3408064"/>
                <a:gd name="connsiteX385" fmla="*/ 1604645 w 1622477"/>
                <a:gd name="connsiteY385" fmla="*/ 930144 h 3408064"/>
                <a:gd name="connsiteX386" fmla="*/ 1595074 w 1622477"/>
                <a:gd name="connsiteY386" fmla="*/ 890306 h 3408064"/>
                <a:gd name="connsiteX387" fmla="*/ 1591667 w 1622477"/>
                <a:gd name="connsiteY387" fmla="*/ 858637 h 3408064"/>
                <a:gd name="connsiteX388" fmla="*/ 1590664 w 1622477"/>
                <a:gd name="connsiteY388" fmla="*/ 853726 h 3408064"/>
                <a:gd name="connsiteX389" fmla="*/ 1564708 w 1622477"/>
                <a:gd name="connsiteY389" fmla="*/ 818699 h 3408064"/>
                <a:gd name="connsiteX390" fmla="*/ 1559246 w 1622477"/>
                <a:gd name="connsiteY390" fmla="*/ 815642 h 3408064"/>
                <a:gd name="connsiteX391" fmla="*/ 1554385 w 1622477"/>
                <a:gd name="connsiteY391" fmla="*/ 812986 h 3408064"/>
                <a:gd name="connsiteX392" fmla="*/ 1538651 w 1622477"/>
                <a:gd name="connsiteY392" fmla="*/ 785426 h 3408064"/>
                <a:gd name="connsiteX393" fmla="*/ 1534491 w 1622477"/>
                <a:gd name="connsiteY393" fmla="*/ 766584 h 3408064"/>
                <a:gd name="connsiteX394" fmla="*/ 1525672 w 1622477"/>
                <a:gd name="connsiteY394" fmla="*/ 698735 h 3408064"/>
                <a:gd name="connsiteX395" fmla="*/ 1527125 w 1622477"/>
                <a:gd name="connsiteY395" fmla="*/ 687661 h 3408064"/>
                <a:gd name="connsiteX396" fmla="*/ 1520059 w 1622477"/>
                <a:gd name="connsiteY396" fmla="*/ 665061 h 3408064"/>
                <a:gd name="connsiteX397" fmla="*/ 1518606 w 1622477"/>
                <a:gd name="connsiteY397" fmla="*/ 655440 h 3408064"/>
                <a:gd name="connsiteX398" fmla="*/ 1502271 w 1622477"/>
                <a:gd name="connsiteY398" fmla="*/ 643464 h 3408064"/>
                <a:gd name="connsiteX399" fmla="*/ 1498813 w 1622477"/>
                <a:gd name="connsiteY399" fmla="*/ 646471 h 3408064"/>
                <a:gd name="connsiteX400" fmla="*/ 1464487 w 1622477"/>
                <a:gd name="connsiteY400" fmla="*/ 661403 h 3408064"/>
                <a:gd name="connsiteX401" fmla="*/ 1460829 w 1622477"/>
                <a:gd name="connsiteY401" fmla="*/ 664109 h 3408064"/>
                <a:gd name="connsiteX402" fmla="*/ 1445546 w 1622477"/>
                <a:gd name="connsiteY402" fmla="*/ 677890 h 3408064"/>
                <a:gd name="connsiteX403" fmla="*/ 1441036 w 1622477"/>
                <a:gd name="connsiteY403" fmla="*/ 681999 h 3408064"/>
                <a:gd name="connsiteX404" fmla="*/ 1437327 w 1622477"/>
                <a:gd name="connsiteY404" fmla="*/ 708356 h 3408064"/>
                <a:gd name="connsiteX405" fmla="*/ 1434522 w 1622477"/>
                <a:gd name="connsiteY405" fmla="*/ 707805 h 3408064"/>
                <a:gd name="connsiteX406" fmla="*/ 1420240 w 1622477"/>
                <a:gd name="connsiteY406" fmla="*/ 704247 h 3408064"/>
                <a:gd name="connsiteX407" fmla="*/ 1391026 w 1622477"/>
                <a:gd name="connsiteY407" fmla="*/ 700038 h 3408064"/>
                <a:gd name="connsiteX408" fmla="*/ 1371884 w 1622477"/>
                <a:gd name="connsiteY408" fmla="*/ 700439 h 3408064"/>
                <a:gd name="connsiteX409" fmla="*/ 1345727 w 1622477"/>
                <a:gd name="connsiteY409" fmla="*/ 702193 h 3408064"/>
                <a:gd name="connsiteX410" fmla="*/ 1344374 w 1622477"/>
                <a:gd name="connsiteY410" fmla="*/ 704398 h 3408064"/>
                <a:gd name="connsiteX411" fmla="*/ 1341918 w 1622477"/>
                <a:gd name="connsiteY411" fmla="*/ 709308 h 3408064"/>
                <a:gd name="connsiteX412" fmla="*/ 1315309 w 1622477"/>
                <a:gd name="connsiteY412" fmla="*/ 746490 h 3408064"/>
                <a:gd name="connsiteX413" fmla="*/ 1310048 w 1622477"/>
                <a:gd name="connsiteY413" fmla="*/ 751301 h 3408064"/>
                <a:gd name="connsiteX414" fmla="*/ 1289102 w 1622477"/>
                <a:gd name="connsiteY414" fmla="*/ 751301 h 3408064"/>
                <a:gd name="connsiteX415" fmla="*/ 1287950 w 1622477"/>
                <a:gd name="connsiteY415" fmla="*/ 750249 h 3408064"/>
                <a:gd name="connsiteX416" fmla="*/ 1288250 w 1622477"/>
                <a:gd name="connsiteY416" fmla="*/ 748745 h 3408064"/>
                <a:gd name="connsiteX417" fmla="*/ 1303283 w 1622477"/>
                <a:gd name="connsiteY417" fmla="*/ 721135 h 3408064"/>
                <a:gd name="connsiteX418" fmla="*/ 1315560 w 1622477"/>
                <a:gd name="connsiteY418" fmla="*/ 696230 h 3408064"/>
                <a:gd name="connsiteX419" fmla="*/ 1341016 w 1622477"/>
                <a:gd name="connsiteY419" fmla="*/ 664711 h 3408064"/>
                <a:gd name="connsiteX420" fmla="*/ 1348933 w 1622477"/>
                <a:gd name="connsiteY420" fmla="*/ 661353 h 3408064"/>
                <a:gd name="connsiteX421" fmla="*/ 1357652 w 1622477"/>
                <a:gd name="connsiteY421" fmla="*/ 646671 h 3408064"/>
                <a:gd name="connsiteX422" fmla="*/ 1349184 w 1622477"/>
                <a:gd name="connsiteY422" fmla="*/ 631438 h 3408064"/>
                <a:gd name="connsiteX423" fmla="*/ 1344624 w 1622477"/>
                <a:gd name="connsiteY423" fmla="*/ 629483 h 3408064"/>
                <a:gd name="connsiteX424" fmla="*/ 1331946 w 1622477"/>
                <a:gd name="connsiteY424" fmla="*/ 619361 h 3408064"/>
                <a:gd name="connsiteX425" fmla="*/ 1330443 w 1622477"/>
                <a:gd name="connsiteY425" fmla="*/ 616104 h 3408064"/>
                <a:gd name="connsiteX426" fmla="*/ 1333950 w 1622477"/>
                <a:gd name="connsiteY426" fmla="*/ 615553 h 3408064"/>
                <a:gd name="connsiteX427" fmla="*/ 1337057 w 1622477"/>
                <a:gd name="connsiteY427" fmla="*/ 614951 h 3408064"/>
                <a:gd name="connsiteX428" fmla="*/ 1343622 w 1622477"/>
                <a:gd name="connsiteY428" fmla="*/ 614300 h 3408064"/>
                <a:gd name="connsiteX429" fmla="*/ 1344523 w 1622477"/>
                <a:gd name="connsiteY429" fmla="*/ 614450 h 3408064"/>
                <a:gd name="connsiteX430" fmla="*/ 1371784 w 1622477"/>
                <a:gd name="connsiteY430" fmla="*/ 619311 h 3408064"/>
                <a:gd name="connsiteX431" fmla="*/ 1394434 w 1622477"/>
                <a:gd name="connsiteY431" fmla="*/ 611343 h 3408064"/>
                <a:gd name="connsiteX432" fmla="*/ 1401699 w 1622477"/>
                <a:gd name="connsiteY432" fmla="*/ 603827 h 3408064"/>
                <a:gd name="connsiteX433" fmla="*/ 1427305 w 1622477"/>
                <a:gd name="connsiteY433" fmla="*/ 583231 h 3408064"/>
                <a:gd name="connsiteX434" fmla="*/ 1434321 w 1622477"/>
                <a:gd name="connsiteY434" fmla="*/ 573761 h 3408064"/>
                <a:gd name="connsiteX435" fmla="*/ 1470250 w 1622477"/>
                <a:gd name="connsiteY435" fmla="*/ 526006 h 3408064"/>
                <a:gd name="connsiteX436" fmla="*/ 1488490 w 1622477"/>
                <a:gd name="connsiteY436" fmla="*/ 498245 h 3408064"/>
                <a:gd name="connsiteX437" fmla="*/ 1506680 w 1622477"/>
                <a:gd name="connsiteY437" fmla="*/ 474944 h 3408064"/>
                <a:gd name="connsiteX438" fmla="*/ 1537999 w 1622477"/>
                <a:gd name="connsiteY438" fmla="*/ 453947 h 3408064"/>
                <a:gd name="connsiteX439" fmla="*/ 1547370 w 1622477"/>
                <a:gd name="connsiteY439" fmla="*/ 445078 h 3408064"/>
                <a:gd name="connsiteX440" fmla="*/ 1597830 w 1622477"/>
                <a:gd name="connsiteY440" fmla="*/ 379283 h 3408064"/>
                <a:gd name="connsiteX441" fmla="*/ 1605598 w 1622477"/>
                <a:gd name="connsiteY441" fmla="*/ 366606 h 3408064"/>
                <a:gd name="connsiteX442" fmla="*/ 1611160 w 1622477"/>
                <a:gd name="connsiteY442" fmla="*/ 333633 h 3408064"/>
                <a:gd name="connsiteX443" fmla="*/ 1594172 w 1622477"/>
                <a:gd name="connsiteY443" fmla="*/ 321907 h 3408064"/>
                <a:gd name="connsiteX444" fmla="*/ 1583599 w 1622477"/>
                <a:gd name="connsiteY444" fmla="*/ 324513 h 3408064"/>
                <a:gd name="connsiteX445" fmla="*/ 1578037 w 1622477"/>
                <a:gd name="connsiteY445" fmla="*/ 325866 h 3408064"/>
                <a:gd name="connsiteX446" fmla="*/ 1577586 w 1622477"/>
                <a:gd name="connsiteY446" fmla="*/ 322960 h 3408064"/>
                <a:gd name="connsiteX447" fmla="*/ 1578187 w 1622477"/>
                <a:gd name="connsiteY447" fmla="*/ 291691 h 3408064"/>
                <a:gd name="connsiteX448" fmla="*/ 1578438 w 1622477"/>
                <a:gd name="connsiteY448" fmla="*/ 290889 h 3408064"/>
                <a:gd name="connsiteX449" fmla="*/ 1579139 w 1622477"/>
                <a:gd name="connsiteY449" fmla="*/ 290388 h 3408064"/>
                <a:gd name="connsiteX450" fmla="*/ 1601689 w 1622477"/>
                <a:gd name="connsiteY450" fmla="*/ 289286 h 3408064"/>
                <a:gd name="connsiteX451" fmla="*/ 1612162 w 1622477"/>
                <a:gd name="connsiteY451" fmla="*/ 291741 h 3408064"/>
                <a:gd name="connsiteX452" fmla="*/ 1612763 w 1622477"/>
                <a:gd name="connsiteY452" fmla="*/ 265183 h 3408064"/>
                <a:gd name="connsiteX453" fmla="*/ 1612612 w 1622477"/>
                <a:gd name="connsiteY453" fmla="*/ 263980 h 3408064"/>
                <a:gd name="connsiteX454" fmla="*/ 1598281 w 1622477"/>
                <a:gd name="connsiteY454" fmla="*/ 256313 h 3408064"/>
                <a:gd name="connsiteX455" fmla="*/ 1597880 w 1622477"/>
                <a:gd name="connsiteY455" fmla="*/ 255511 h 3408064"/>
                <a:gd name="connsiteX456" fmla="*/ 1595325 w 1622477"/>
                <a:gd name="connsiteY456" fmla="*/ 240779 h 3408064"/>
                <a:gd name="connsiteX457" fmla="*/ 1591917 w 1622477"/>
                <a:gd name="connsiteY457" fmla="*/ 227750 h 3408064"/>
                <a:gd name="connsiteX458" fmla="*/ 1581444 w 1622477"/>
                <a:gd name="connsiteY458" fmla="*/ 239176 h 3408064"/>
                <a:gd name="connsiteX459" fmla="*/ 1579490 w 1622477"/>
                <a:gd name="connsiteY459" fmla="*/ 237372 h 3408064"/>
                <a:gd name="connsiteX460" fmla="*/ 1566511 w 1622477"/>
                <a:gd name="connsiteY460" fmla="*/ 206554 h 3408064"/>
                <a:gd name="connsiteX461" fmla="*/ 1557692 w 1622477"/>
                <a:gd name="connsiteY461" fmla="*/ 196632 h 3408064"/>
                <a:gd name="connsiteX462" fmla="*/ 1557491 w 1622477"/>
                <a:gd name="connsiteY462" fmla="*/ 196632 h 3408064"/>
                <a:gd name="connsiteX463" fmla="*/ 1529781 w 1622477"/>
                <a:gd name="connsiteY463" fmla="*/ 177490 h 3408064"/>
                <a:gd name="connsiteX464" fmla="*/ 1524318 w 1622477"/>
                <a:gd name="connsiteY464" fmla="*/ 168921 h 3408064"/>
                <a:gd name="connsiteX465" fmla="*/ 1508985 w 1622477"/>
                <a:gd name="connsiteY465" fmla="*/ 147224 h 3408064"/>
                <a:gd name="connsiteX466" fmla="*/ 1502521 w 1622477"/>
                <a:gd name="connsiteY466" fmla="*/ 146171 h 3408064"/>
                <a:gd name="connsiteX467" fmla="*/ 1492098 w 1622477"/>
                <a:gd name="connsiteY467" fmla="*/ 144518 h 3408064"/>
                <a:gd name="connsiteX468" fmla="*/ 1489593 w 1622477"/>
                <a:gd name="connsiteY468" fmla="*/ 143966 h 3408064"/>
                <a:gd name="connsiteX469" fmla="*/ 1487238 w 1622477"/>
                <a:gd name="connsiteY469" fmla="*/ 143465 h 3408064"/>
                <a:gd name="connsiteX470" fmla="*/ 1462233 w 1622477"/>
                <a:gd name="connsiteY470" fmla="*/ 149278 h 3408064"/>
                <a:gd name="connsiteX471" fmla="*/ 1454265 w 1622477"/>
                <a:gd name="connsiteY471" fmla="*/ 149078 h 3408064"/>
                <a:gd name="connsiteX472" fmla="*/ 1449103 w 1622477"/>
                <a:gd name="connsiteY472" fmla="*/ 149228 h 3408064"/>
                <a:gd name="connsiteX473" fmla="*/ 1423247 w 1622477"/>
                <a:gd name="connsiteY473" fmla="*/ 154289 h 3408064"/>
                <a:gd name="connsiteX474" fmla="*/ 1407412 w 1622477"/>
                <a:gd name="connsiteY474" fmla="*/ 153688 h 3408064"/>
                <a:gd name="connsiteX475" fmla="*/ 1391427 w 1622477"/>
                <a:gd name="connsiteY475" fmla="*/ 157697 h 3408064"/>
                <a:gd name="connsiteX476" fmla="*/ 1383860 w 1622477"/>
                <a:gd name="connsiteY476" fmla="*/ 171928 h 3408064"/>
                <a:gd name="connsiteX477" fmla="*/ 1377045 w 1622477"/>
                <a:gd name="connsiteY477" fmla="*/ 184806 h 3408064"/>
                <a:gd name="connsiteX478" fmla="*/ 1367474 w 1622477"/>
                <a:gd name="connsiteY478" fmla="*/ 194227 h 3408064"/>
                <a:gd name="connsiteX479" fmla="*/ 1335153 w 1622477"/>
                <a:gd name="connsiteY479" fmla="*/ 190569 h 3408064"/>
                <a:gd name="connsiteX480" fmla="*/ 1333650 w 1622477"/>
                <a:gd name="connsiteY480" fmla="*/ 189466 h 3408064"/>
                <a:gd name="connsiteX481" fmla="*/ 1334101 w 1622477"/>
                <a:gd name="connsiteY481" fmla="*/ 187662 h 3408064"/>
                <a:gd name="connsiteX482" fmla="*/ 1343822 w 1622477"/>
                <a:gd name="connsiteY482" fmla="*/ 160503 h 3408064"/>
                <a:gd name="connsiteX483" fmla="*/ 1347430 w 1622477"/>
                <a:gd name="connsiteY483" fmla="*/ 151633 h 3408064"/>
                <a:gd name="connsiteX484" fmla="*/ 1349234 w 1622477"/>
                <a:gd name="connsiteY484" fmla="*/ 112748 h 3408064"/>
                <a:gd name="connsiteX485" fmla="*/ 1297721 w 1622477"/>
                <a:gd name="connsiteY485" fmla="*/ 110593 h 3408064"/>
                <a:gd name="connsiteX486" fmla="*/ 1296669 w 1622477"/>
                <a:gd name="connsiteY486" fmla="*/ 99719 h 3408064"/>
                <a:gd name="connsiteX487" fmla="*/ 1293061 w 1622477"/>
                <a:gd name="connsiteY487" fmla="*/ 99920 h 3408064"/>
                <a:gd name="connsiteX488" fmla="*/ 1278078 w 1622477"/>
                <a:gd name="connsiteY488" fmla="*/ 99218 h 3408064"/>
                <a:gd name="connsiteX489" fmla="*/ 1277576 w 1622477"/>
                <a:gd name="connsiteY489" fmla="*/ 99068 h 3408064"/>
                <a:gd name="connsiteX490" fmla="*/ 1260790 w 1622477"/>
                <a:gd name="connsiteY490" fmla="*/ 84987 h 3408064"/>
                <a:gd name="connsiteX491" fmla="*/ 1260539 w 1622477"/>
                <a:gd name="connsiteY491" fmla="*/ 83383 h 3408064"/>
                <a:gd name="connsiteX492" fmla="*/ 1261842 w 1622477"/>
                <a:gd name="connsiteY492" fmla="*/ 82431 h 3408064"/>
                <a:gd name="connsiteX493" fmla="*/ 1270010 w 1622477"/>
                <a:gd name="connsiteY493" fmla="*/ 76568 h 3408064"/>
                <a:gd name="connsiteX494" fmla="*/ 1286546 w 1622477"/>
                <a:gd name="connsiteY494" fmla="*/ 63991 h 3408064"/>
                <a:gd name="connsiteX495" fmla="*/ 1294413 w 1622477"/>
                <a:gd name="connsiteY495" fmla="*/ 56524 h 3408064"/>
                <a:gd name="connsiteX496" fmla="*/ 1317164 w 1622477"/>
                <a:gd name="connsiteY496" fmla="*/ 39387 h 3408064"/>
                <a:gd name="connsiteX497" fmla="*/ 1316061 w 1622477"/>
                <a:gd name="connsiteY497" fmla="*/ 37583 h 3408064"/>
                <a:gd name="connsiteX498" fmla="*/ 1302130 w 1622477"/>
                <a:gd name="connsiteY498" fmla="*/ 24754 h 3408064"/>
                <a:gd name="connsiteX499" fmla="*/ 1264498 w 1622477"/>
                <a:gd name="connsiteY499" fmla="*/ 0 h 3408064"/>
                <a:gd name="connsiteX500" fmla="*/ 1217394 w 1622477"/>
                <a:gd name="connsiteY500" fmla="*/ 23602 h 3408064"/>
                <a:gd name="connsiteX501" fmla="*/ 1207623 w 1622477"/>
                <a:gd name="connsiteY501" fmla="*/ 35077 h 3408064"/>
                <a:gd name="connsiteX502" fmla="*/ 1191136 w 1622477"/>
                <a:gd name="connsiteY502" fmla="*/ 54119 h 3408064"/>
                <a:gd name="connsiteX503" fmla="*/ 1153504 w 1622477"/>
                <a:gd name="connsiteY503" fmla="*/ 111946 h 3408064"/>
                <a:gd name="connsiteX504" fmla="*/ 1143582 w 1622477"/>
                <a:gd name="connsiteY504" fmla="*/ 129986 h 3408064"/>
                <a:gd name="connsiteX505" fmla="*/ 1147641 w 1622477"/>
                <a:gd name="connsiteY505" fmla="*/ 173281 h 3408064"/>
                <a:gd name="connsiteX506" fmla="*/ 1147340 w 1622477"/>
                <a:gd name="connsiteY506" fmla="*/ 174584 h 3408064"/>
                <a:gd name="connsiteX507" fmla="*/ 1146138 w 1622477"/>
                <a:gd name="connsiteY507" fmla="*/ 175135 h 3408064"/>
                <a:gd name="connsiteX508" fmla="*/ 1106852 w 1622477"/>
                <a:gd name="connsiteY508" fmla="*/ 189216 h 3408064"/>
                <a:gd name="connsiteX509" fmla="*/ 1096880 w 1622477"/>
                <a:gd name="connsiteY509" fmla="*/ 192373 h 3408064"/>
                <a:gd name="connsiteX510" fmla="*/ 1078890 w 1622477"/>
                <a:gd name="connsiteY510" fmla="*/ 190268 h 3408064"/>
                <a:gd name="connsiteX511" fmla="*/ 1071123 w 1622477"/>
                <a:gd name="connsiteY511" fmla="*/ 188514 h 3408064"/>
                <a:gd name="connsiteX512" fmla="*/ 1069369 w 1622477"/>
                <a:gd name="connsiteY512" fmla="*/ 188314 h 3408064"/>
                <a:gd name="connsiteX513" fmla="*/ 1075984 w 1622477"/>
                <a:gd name="connsiteY513" fmla="*/ 202495 h 3408064"/>
                <a:gd name="connsiteX514" fmla="*/ 1079842 w 1622477"/>
                <a:gd name="connsiteY514" fmla="*/ 208408 h 3408064"/>
                <a:gd name="connsiteX515" fmla="*/ 1082548 w 1622477"/>
                <a:gd name="connsiteY515" fmla="*/ 213068 h 3408064"/>
                <a:gd name="connsiteX516" fmla="*/ 1091618 w 1622477"/>
                <a:gd name="connsiteY516" fmla="*/ 235016 h 3408064"/>
                <a:gd name="connsiteX517" fmla="*/ 1091819 w 1622477"/>
                <a:gd name="connsiteY517" fmla="*/ 236720 h 3408064"/>
                <a:gd name="connsiteX518" fmla="*/ 1090315 w 1622477"/>
                <a:gd name="connsiteY518" fmla="*/ 237622 h 3408064"/>
                <a:gd name="connsiteX519" fmla="*/ 1054586 w 1622477"/>
                <a:gd name="connsiteY519" fmla="*/ 228101 h 3408064"/>
                <a:gd name="connsiteX520" fmla="*/ 1033189 w 1622477"/>
                <a:gd name="connsiteY520" fmla="*/ 241581 h 3408064"/>
                <a:gd name="connsiteX521" fmla="*/ 994755 w 1622477"/>
                <a:gd name="connsiteY521" fmla="*/ 261174 h 3408064"/>
                <a:gd name="connsiteX522" fmla="*/ 986186 w 1622477"/>
                <a:gd name="connsiteY522" fmla="*/ 263830 h 3408064"/>
                <a:gd name="connsiteX523" fmla="*/ 980524 w 1622477"/>
                <a:gd name="connsiteY523" fmla="*/ 266235 h 3408064"/>
                <a:gd name="connsiteX524" fmla="*/ 979522 w 1622477"/>
                <a:gd name="connsiteY524" fmla="*/ 266586 h 3408064"/>
                <a:gd name="connsiteX525" fmla="*/ 968648 w 1622477"/>
                <a:gd name="connsiteY525" fmla="*/ 269192 h 3408064"/>
                <a:gd name="connsiteX526" fmla="*/ 955719 w 1622477"/>
                <a:gd name="connsiteY526" fmla="*/ 259520 h 3408064"/>
                <a:gd name="connsiteX527" fmla="*/ 953314 w 1622477"/>
                <a:gd name="connsiteY527" fmla="*/ 255762 h 3408064"/>
                <a:gd name="connsiteX528" fmla="*/ 952412 w 1622477"/>
                <a:gd name="connsiteY528" fmla="*/ 254660 h 3408064"/>
                <a:gd name="connsiteX529" fmla="*/ 949305 w 1622477"/>
                <a:gd name="connsiteY529" fmla="*/ 256463 h 3408064"/>
                <a:gd name="connsiteX530" fmla="*/ 936928 w 1622477"/>
                <a:gd name="connsiteY530" fmla="*/ 263329 h 3408064"/>
                <a:gd name="connsiteX531" fmla="*/ 930414 w 1622477"/>
                <a:gd name="connsiteY531" fmla="*/ 264631 h 3408064"/>
                <a:gd name="connsiteX532" fmla="*/ 926205 w 1622477"/>
                <a:gd name="connsiteY532" fmla="*/ 265082 h 3408064"/>
                <a:gd name="connsiteX533" fmla="*/ 921795 w 1622477"/>
                <a:gd name="connsiteY533" fmla="*/ 265684 h 3408064"/>
                <a:gd name="connsiteX534" fmla="*/ 923298 w 1622477"/>
                <a:gd name="connsiteY534" fmla="*/ 261474 h 3408064"/>
                <a:gd name="connsiteX535" fmla="*/ 929963 w 1622477"/>
                <a:gd name="connsiteY535" fmla="*/ 243134 h 3408064"/>
                <a:gd name="connsiteX536" fmla="*/ 931065 w 1622477"/>
                <a:gd name="connsiteY536" fmla="*/ 240128 h 3408064"/>
                <a:gd name="connsiteX537" fmla="*/ 842019 w 1622477"/>
                <a:gd name="connsiteY537" fmla="*/ 235067 h 3408064"/>
                <a:gd name="connsiteX538" fmla="*/ 852543 w 1622477"/>
                <a:gd name="connsiteY538" fmla="*/ 238474 h 3408064"/>
                <a:gd name="connsiteX539" fmla="*/ 860059 w 1622477"/>
                <a:gd name="connsiteY539" fmla="*/ 239677 h 3408064"/>
                <a:gd name="connsiteX540" fmla="*/ 867826 w 1622477"/>
                <a:gd name="connsiteY540" fmla="*/ 247744 h 3408064"/>
                <a:gd name="connsiteX541" fmla="*/ 864619 w 1622477"/>
                <a:gd name="connsiteY541" fmla="*/ 258719 h 3408064"/>
                <a:gd name="connsiteX542" fmla="*/ 839915 w 1622477"/>
                <a:gd name="connsiteY542" fmla="*/ 269743 h 3408064"/>
                <a:gd name="connsiteX543" fmla="*/ 831847 w 1622477"/>
                <a:gd name="connsiteY543" fmla="*/ 271096 h 3408064"/>
                <a:gd name="connsiteX544" fmla="*/ 787199 w 1622477"/>
                <a:gd name="connsiteY544" fmla="*/ 280667 h 3408064"/>
                <a:gd name="connsiteX545" fmla="*/ 730525 w 1622477"/>
                <a:gd name="connsiteY545" fmla="*/ 288634 h 3408064"/>
                <a:gd name="connsiteX546" fmla="*/ 725313 w 1622477"/>
                <a:gd name="connsiteY546" fmla="*/ 288384 h 3408064"/>
                <a:gd name="connsiteX547" fmla="*/ 705870 w 1622477"/>
                <a:gd name="connsiteY547" fmla="*/ 289937 h 3408064"/>
                <a:gd name="connsiteX548" fmla="*/ 665532 w 1622477"/>
                <a:gd name="connsiteY548" fmla="*/ 309630 h 3408064"/>
                <a:gd name="connsiteX549" fmla="*/ 649547 w 1622477"/>
                <a:gd name="connsiteY549" fmla="*/ 317899 h 3408064"/>
                <a:gd name="connsiteX550" fmla="*/ 601341 w 1622477"/>
                <a:gd name="connsiteY550" fmla="*/ 335487 h 3408064"/>
                <a:gd name="connsiteX551" fmla="*/ 595378 w 1622477"/>
                <a:gd name="connsiteY551" fmla="*/ 336038 h 3408064"/>
                <a:gd name="connsiteX552" fmla="*/ 595378 w 1622477"/>
                <a:gd name="connsiteY552" fmla="*/ 336289 h 3408064"/>
                <a:gd name="connsiteX553" fmla="*/ 602092 w 1622477"/>
                <a:gd name="connsiteY553" fmla="*/ 343154 h 3408064"/>
                <a:gd name="connsiteX554" fmla="*/ 606252 w 1622477"/>
                <a:gd name="connsiteY554" fmla="*/ 347413 h 3408064"/>
                <a:gd name="connsiteX555" fmla="*/ 605400 w 1622477"/>
                <a:gd name="connsiteY555" fmla="*/ 349117 h 3408064"/>
                <a:gd name="connsiteX556" fmla="*/ 588412 w 1622477"/>
                <a:gd name="connsiteY556" fmla="*/ 365754 h 3408064"/>
                <a:gd name="connsiteX557" fmla="*/ 569170 w 1622477"/>
                <a:gd name="connsiteY557" fmla="*/ 395369 h 3408064"/>
                <a:gd name="connsiteX558" fmla="*/ 569120 w 1622477"/>
                <a:gd name="connsiteY558" fmla="*/ 396922 h 3408064"/>
                <a:gd name="connsiteX559" fmla="*/ 561754 w 1622477"/>
                <a:gd name="connsiteY559" fmla="*/ 407896 h 3408064"/>
                <a:gd name="connsiteX560" fmla="*/ 560351 w 1622477"/>
                <a:gd name="connsiteY560" fmla="*/ 408397 h 3408064"/>
                <a:gd name="connsiteX561" fmla="*/ 559198 w 1622477"/>
                <a:gd name="connsiteY561" fmla="*/ 407445 h 3408064"/>
                <a:gd name="connsiteX562" fmla="*/ 556091 w 1622477"/>
                <a:gd name="connsiteY562" fmla="*/ 404890 h 3408064"/>
                <a:gd name="connsiteX563" fmla="*/ 549176 w 1622477"/>
                <a:gd name="connsiteY563" fmla="*/ 399378 h 3408064"/>
                <a:gd name="connsiteX564" fmla="*/ 533893 w 1622477"/>
                <a:gd name="connsiteY564" fmla="*/ 389055 h 3408064"/>
                <a:gd name="connsiteX565" fmla="*/ 531437 w 1622477"/>
                <a:gd name="connsiteY565" fmla="*/ 388303 h 3408064"/>
                <a:gd name="connsiteX566" fmla="*/ 530736 w 1622477"/>
                <a:gd name="connsiteY566" fmla="*/ 389055 h 3408064"/>
                <a:gd name="connsiteX567" fmla="*/ 546671 w 1622477"/>
                <a:gd name="connsiteY567" fmla="*/ 406293 h 3408064"/>
                <a:gd name="connsiteX568" fmla="*/ 568368 w 1622477"/>
                <a:gd name="connsiteY568" fmla="*/ 432500 h 3408064"/>
                <a:gd name="connsiteX569" fmla="*/ 569270 w 1622477"/>
                <a:gd name="connsiteY569" fmla="*/ 434354 h 3408064"/>
                <a:gd name="connsiteX570" fmla="*/ 565211 w 1622477"/>
                <a:gd name="connsiteY570" fmla="*/ 437862 h 3408064"/>
                <a:gd name="connsiteX571" fmla="*/ 555189 w 1622477"/>
                <a:gd name="connsiteY571" fmla="*/ 446531 h 3408064"/>
                <a:gd name="connsiteX572" fmla="*/ 553536 w 1622477"/>
                <a:gd name="connsiteY572" fmla="*/ 447934 h 3408064"/>
                <a:gd name="connsiteX573" fmla="*/ 534995 w 1622477"/>
                <a:gd name="connsiteY573" fmla="*/ 433954 h 3408064"/>
                <a:gd name="connsiteX574" fmla="*/ 525674 w 1622477"/>
                <a:gd name="connsiteY574" fmla="*/ 439315 h 3408064"/>
                <a:gd name="connsiteX575" fmla="*/ 540607 w 1622477"/>
                <a:gd name="connsiteY575" fmla="*/ 456403 h 3408064"/>
                <a:gd name="connsiteX576" fmla="*/ 558998 w 1622477"/>
                <a:gd name="connsiteY576" fmla="*/ 478802 h 3408064"/>
                <a:gd name="connsiteX577" fmla="*/ 560000 w 1622477"/>
                <a:gd name="connsiteY577" fmla="*/ 480706 h 3408064"/>
                <a:gd name="connsiteX578" fmla="*/ 558346 w 1622477"/>
                <a:gd name="connsiteY578" fmla="*/ 482109 h 3408064"/>
                <a:gd name="connsiteX579" fmla="*/ 550579 w 1622477"/>
                <a:gd name="connsiteY579" fmla="*/ 506964 h 3408064"/>
                <a:gd name="connsiteX580" fmla="*/ 550479 w 1622477"/>
                <a:gd name="connsiteY580" fmla="*/ 512326 h 3408064"/>
                <a:gd name="connsiteX581" fmla="*/ 550579 w 1622477"/>
                <a:gd name="connsiteY581" fmla="*/ 521496 h 3408064"/>
                <a:gd name="connsiteX582" fmla="*/ 547923 w 1622477"/>
                <a:gd name="connsiteY582" fmla="*/ 546300 h 3408064"/>
                <a:gd name="connsiteX583" fmla="*/ 547523 w 1622477"/>
                <a:gd name="connsiteY583" fmla="*/ 547403 h 3408064"/>
                <a:gd name="connsiteX584" fmla="*/ 546420 w 1622477"/>
                <a:gd name="connsiteY584" fmla="*/ 547854 h 3408064"/>
                <a:gd name="connsiteX585" fmla="*/ 538152 w 1622477"/>
                <a:gd name="connsiteY585" fmla="*/ 551261 h 3408064"/>
                <a:gd name="connsiteX586" fmla="*/ 517807 w 1622477"/>
                <a:gd name="connsiteY586" fmla="*/ 559179 h 3408064"/>
                <a:gd name="connsiteX587" fmla="*/ 501622 w 1622477"/>
                <a:gd name="connsiteY587" fmla="*/ 554268 h 3408064"/>
                <a:gd name="connsiteX588" fmla="*/ 500920 w 1622477"/>
                <a:gd name="connsiteY588" fmla="*/ 553015 h 3408064"/>
                <a:gd name="connsiteX589" fmla="*/ 501571 w 1622477"/>
                <a:gd name="connsiteY589" fmla="*/ 551762 h 3408064"/>
                <a:gd name="connsiteX590" fmla="*/ 514149 w 1622477"/>
                <a:gd name="connsiteY590" fmla="*/ 536880 h 3408064"/>
                <a:gd name="connsiteX591" fmla="*/ 521716 w 1622477"/>
                <a:gd name="connsiteY591" fmla="*/ 529163 h 3408064"/>
                <a:gd name="connsiteX592" fmla="*/ 522468 w 1622477"/>
                <a:gd name="connsiteY592" fmla="*/ 528311 h 3408064"/>
                <a:gd name="connsiteX593" fmla="*/ 525123 w 1622477"/>
                <a:gd name="connsiteY593" fmla="*/ 522699 h 3408064"/>
                <a:gd name="connsiteX594" fmla="*/ 489896 w 1622477"/>
                <a:gd name="connsiteY594" fmla="*/ 516585 h 3408064"/>
                <a:gd name="connsiteX595" fmla="*/ 406914 w 1622477"/>
                <a:gd name="connsiteY595" fmla="*/ 520043 h 3408064"/>
                <a:gd name="connsiteX596" fmla="*/ 371586 w 1622477"/>
                <a:gd name="connsiteY596" fmla="*/ 514280 h 3408064"/>
                <a:gd name="connsiteX597" fmla="*/ 269612 w 1622477"/>
                <a:gd name="connsiteY597" fmla="*/ 502404 h 3408064"/>
                <a:gd name="connsiteX598" fmla="*/ 267558 w 1622477"/>
                <a:gd name="connsiteY598" fmla="*/ 505912 h 3408064"/>
                <a:gd name="connsiteX599" fmla="*/ 257986 w 1622477"/>
                <a:gd name="connsiteY599" fmla="*/ 522448 h 3408064"/>
                <a:gd name="connsiteX600" fmla="*/ 257034 w 1622477"/>
                <a:gd name="connsiteY600" fmla="*/ 526557 h 3408064"/>
                <a:gd name="connsiteX601" fmla="*/ 251522 w 1622477"/>
                <a:gd name="connsiteY601" fmla="*/ 555521 h 3408064"/>
                <a:gd name="connsiteX602" fmla="*/ 260191 w 1622477"/>
                <a:gd name="connsiteY602" fmla="*/ 573961 h 3408064"/>
                <a:gd name="connsiteX603" fmla="*/ 259941 w 1622477"/>
                <a:gd name="connsiteY603" fmla="*/ 574913 h 3408064"/>
                <a:gd name="connsiteX604" fmla="*/ 250921 w 1622477"/>
                <a:gd name="connsiteY604" fmla="*/ 601321 h 3408064"/>
                <a:gd name="connsiteX605" fmla="*/ 239045 w 1622477"/>
                <a:gd name="connsiteY605" fmla="*/ 649227 h 3408064"/>
                <a:gd name="connsiteX606" fmla="*/ 269462 w 1622477"/>
                <a:gd name="connsiteY606" fmla="*/ 677388 h 3408064"/>
                <a:gd name="connsiteX607" fmla="*/ 288002 w 1622477"/>
                <a:gd name="connsiteY607" fmla="*/ 691519 h 3408064"/>
                <a:gd name="connsiteX608" fmla="*/ 288904 w 1622477"/>
                <a:gd name="connsiteY608" fmla="*/ 692321 h 3408064"/>
                <a:gd name="connsiteX609" fmla="*/ 288904 w 1622477"/>
                <a:gd name="connsiteY609" fmla="*/ 693524 h 3408064"/>
                <a:gd name="connsiteX610" fmla="*/ 288954 w 1622477"/>
                <a:gd name="connsiteY610" fmla="*/ 705751 h 3408064"/>
                <a:gd name="connsiteX611" fmla="*/ 288804 w 1622477"/>
                <a:gd name="connsiteY611" fmla="*/ 733712 h 3408064"/>
                <a:gd name="connsiteX612" fmla="*/ 298475 w 1622477"/>
                <a:gd name="connsiteY612" fmla="*/ 752704 h 3408064"/>
                <a:gd name="connsiteX613" fmla="*/ 322378 w 1622477"/>
                <a:gd name="connsiteY613" fmla="*/ 788382 h 3408064"/>
                <a:gd name="connsiteX614" fmla="*/ 316164 w 1622477"/>
                <a:gd name="connsiteY614" fmla="*/ 823760 h 3408064"/>
                <a:gd name="connsiteX615" fmla="*/ 297924 w 1622477"/>
                <a:gd name="connsiteY615" fmla="*/ 851120 h 3408064"/>
                <a:gd name="connsiteX616" fmla="*/ 290358 w 1622477"/>
                <a:gd name="connsiteY616" fmla="*/ 862946 h 3408064"/>
                <a:gd name="connsiteX617" fmla="*/ 295770 w 1622477"/>
                <a:gd name="connsiteY617" fmla="*/ 902984 h 3408064"/>
                <a:gd name="connsiteX618" fmla="*/ 294917 w 1622477"/>
                <a:gd name="connsiteY618" fmla="*/ 908747 h 3408064"/>
                <a:gd name="connsiteX619" fmla="*/ 293965 w 1622477"/>
                <a:gd name="connsiteY619" fmla="*/ 918518 h 3408064"/>
                <a:gd name="connsiteX620" fmla="*/ 293114 w 1622477"/>
                <a:gd name="connsiteY620" fmla="*/ 927538 h 3408064"/>
                <a:gd name="connsiteX621" fmla="*/ 289606 w 1622477"/>
                <a:gd name="connsiteY621" fmla="*/ 953846 h 3408064"/>
                <a:gd name="connsiteX622" fmla="*/ 287952 w 1622477"/>
                <a:gd name="connsiteY622" fmla="*/ 965972 h 3408064"/>
                <a:gd name="connsiteX623" fmla="*/ 287401 w 1622477"/>
                <a:gd name="connsiteY623" fmla="*/ 966574 h 3408064"/>
                <a:gd name="connsiteX624" fmla="*/ 270514 w 1622477"/>
                <a:gd name="connsiteY624" fmla="*/ 978300 h 3408064"/>
                <a:gd name="connsiteX625" fmla="*/ 255280 w 1622477"/>
                <a:gd name="connsiteY625" fmla="*/ 989224 h 3408064"/>
                <a:gd name="connsiteX626" fmla="*/ 267558 w 1622477"/>
                <a:gd name="connsiteY626" fmla="*/ 1020242 h 3408064"/>
                <a:gd name="connsiteX627" fmla="*/ 286399 w 1622477"/>
                <a:gd name="connsiteY627" fmla="*/ 1088943 h 3408064"/>
                <a:gd name="connsiteX628" fmla="*/ 286399 w 1622477"/>
                <a:gd name="connsiteY628" fmla="*/ 1091799 h 3408064"/>
                <a:gd name="connsiteX629" fmla="*/ 283543 w 1622477"/>
                <a:gd name="connsiteY629" fmla="*/ 1091649 h 3408064"/>
                <a:gd name="connsiteX630" fmla="*/ 279133 w 1622477"/>
                <a:gd name="connsiteY630" fmla="*/ 1091649 h 3408064"/>
                <a:gd name="connsiteX631" fmla="*/ 271115 w 1622477"/>
                <a:gd name="connsiteY631" fmla="*/ 1089694 h 3408064"/>
                <a:gd name="connsiteX632" fmla="*/ 255832 w 1622477"/>
                <a:gd name="connsiteY632" fmla="*/ 1076315 h 3408064"/>
                <a:gd name="connsiteX633" fmla="*/ 246461 w 1622477"/>
                <a:gd name="connsiteY633" fmla="*/ 1069300 h 3408064"/>
                <a:gd name="connsiteX634" fmla="*/ 237792 w 1622477"/>
                <a:gd name="connsiteY634" fmla="*/ 1050659 h 3408064"/>
                <a:gd name="connsiteX635" fmla="*/ 237692 w 1622477"/>
                <a:gd name="connsiteY635" fmla="*/ 1045898 h 3408064"/>
                <a:gd name="connsiteX636" fmla="*/ 237692 w 1622477"/>
                <a:gd name="connsiteY636" fmla="*/ 1038732 h 3408064"/>
                <a:gd name="connsiteX637" fmla="*/ 225365 w 1622477"/>
                <a:gd name="connsiteY637" fmla="*/ 1001400 h 3408064"/>
                <a:gd name="connsiteX638" fmla="*/ 221907 w 1622477"/>
                <a:gd name="connsiteY638" fmla="*/ 995337 h 3408064"/>
                <a:gd name="connsiteX639" fmla="*/ 220805 w 1622477"/>
                <a:gd name="connsiteY639" fmla="*/ 992932 h 3408064"/>
                <a:gd name="connsiteX640" fmla="*/ 220254 w 1622477"/>
                <a:gd name="connsiteY640" fmla="*/ 991930 h 3408064"/>
                <a:gd name="connsiteX641" fmla="*/ 220604 w 1622477"/>
                <a:gd name="connsiteY641" fmla="*/ 990827 h 3408064"/>
                <a:gd name="connsiteX642" fmla="*/ 222208 w 1622477"/>
                <a:gd name="connsiteY642" fmla="*/ 986067 h 3408064"/>
                <a:gd name="connsiteX643" fmla="*/ 225465 w 1622477"/>
                <a:gd name="connsiteY643" fmla="*/ 976746 h 3408064"/>
                <a:gd name="connsiteX644" fmla="*/ 235287 w 1622477"/>
                <a:gd name="connsiteY644" fmla="*/ 952092 h 3408064"/>
                <a:gd name="connsiteX645" fmla="*/ 251572 w 1622477"/>
                <a:gd name="connsiteY645" fmla="*/ 910801 h 3408064"/>
                <a:gd name="connsiteX646" fmla="*/ 243705 w 1622477"/>
                <a:gd name="connsiteY646" fmla="*/ 883341 h 3408064"/>
                <a:gd name="connsiteX647" fmla="*/ 235838 w 1622477"/>
                <a:gd name="connsiteY647" fmla="*/ 878330 h 3408064"/>
                <a:gd name="connsiteX648" fmla="*/ 231228 w 1622477"/>
                <a:gd name="connsiteY648" fmla="*/ 875524 h 3408064"/>
                <a:gd name="connsiteX649" fmla="*/ 229223 w 1622477"/>
                <a:gd name="connsiteY649" fmla="*/ 874271 h 3408064"/>
                <a:gd name="connsiteX650" fmla="*/ 230225 w 1622477"/>
                <a:gd name="connsiteY650" fmla="*/ 872116 h 3408064"/>
                <a:gd name="connsiteX651" fmla="*/ 233182 w 1622477"/>
                <a:gd name="connsiteY651" fmla="*/ 866554 h 3408064"/>
                <a:gd name="connsiteX652" fmla="*/ 236639 w 1622477"/>
                <a:gd name="connsiteY652" fmla="*/ 857935 h 3408064"/>
                <a:gd name="connsiteX653" fmla="*/ 258087 w 1622477"/>
                <a:gd name="connsiteY653" fmla="*/ 826366 h 3408064"/>
                <a:gd name="connsiteX654" fmla="*/ 288604 w 1622477"/>
                <a:gd name="connsiteY654" fmla="*/ 789284 h 3408064"/>
                <a:gd name="connsiteX655" fmla="*/ 258788 w 1622477"/>
                <a:gd name="connsiteY655" fmla="*/ 772447 h 3408064"/>
                <a:gd name="connsiteX656" fmla="*/ 248265 w 1622477"/>
                <a:gd name="connsiteY656" fmla="*/ 770493 h 3408064"/>
                <a:gd name="connsiteX657" fmla="*/ 220855 w 1622477"/>
                <a:gd name="connsiteY657" fmla="*/ 761623 h 3408064"/>
                <a:gd name="connsiteX658" fmla="*/ 220103 w 1622477"/>
                <a:gd name="connsiteY658" fmla="*/ 761122 h 3408064"/>
                <a:gd name="connsiteX659" fmla="*/ 219802 w 1622477"/>
                <a:gd name="connsiteY659" fmla="*/ 760271 h 3408064"/>
                <a:gd name="connsiteX660" fmla="*/ 216495 w 1622477"/>
                <a:gd name="connsiteY660" fmla="*/ 751100 h 3408064"/>
                <a:gd name="connsiteX661" fmla="*/ 209179 w 1622477"/>
                <a:gd name="connsiteY661" fmla="*/ 729453 h 3408064"/>
                <a:gd name="connsiteX662" fmla="*/ 152354 w 1622477"/>
                <a:gd name="connsiteY662" fmla="*/ 648475 h 3408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</a:cxnLst>
              <a:rect l="l" t="t" r="r" b="b"/>
              <a:pathLst>
                <a:path w="1622477" h="3408064">
                  <a:moveTo>
                    <a:pt x="152505" y="648876"/>
                  </a:moveTo>
                  <a:cubicBezTo>
                    <a:pt x="147995" y="644466"/>
                    <a:pt x="143184" y="643514"/>
                    <a:pt x="138173" y="645969"/>
                  </a:cubicBezTo>
                  <a:cubicBezTo>
                    <a:pt x="141130" y="660401"/>
                    <a:pt x="144437" y="667066"/>
                    <a:pt x="152755" y="675985"/>
                  </a:cubicBezTo>
                  <a:cubicBezTo>
                    <a:pt x="160221" y="683953"/>
                    <a:pt x="166987" y="691068"/>
                    <a:pt x="174302" y="697533"/>
                  </a:cubicBezTo>
                  <a:cubicBezTo>
                    <a:pt x="184675" y="706653"/>
                    <a:pt x="186078" y="717978"/>
                    <a:pt x="186129" y="726897"/>
                  </a:cubicBezTo>
                  <a:cubicBezTo>
                    <a:pt x="186178" y="739525"/>
                    <a:pt x="182270" y="748795"/>
                    <a:pt x="173751" y="756061"/>
                  </a:cubicBezTo>
                  <a:cubicBezTo>
                    <a:pt x="169242" y="759920"/>
                    <a:pt x="164932" y="764129"/>
                    <a:pt x="160773" y="768238"/>
                  </a:cubicBezTo>
                  <a:cubicBezTo>
                    <a:pt x="158969" y="769992"/>
                    <a:pt x="157215" y="771696"/>
                    <a:pt x="155461" y="773399"/>
                  </a:cubicBezTo>
                  <a:lnTo>
                    <a:pt x="154158" y="774652"/>
                  </a:lnTo>
                  <a:lnTo>
                    <a:pt x="142082" y="769391"/>
                  </a:lnTo>
                  <a:cubicBezTo>
                    <a:pt x="136720" y="789284"/>
                    <a:pt x="138524" y="794897"/>
                    <a:pt x="152104" y="806322"/>
                  </a:cubicBezTo>
                  <a:cubicBezTo>
                    <a:pt x="156413" y="809930"/>
                    <a:pt x="161224" y="813087"/>
                    <a:pt x="166385" y="816444"/>
                  </a:cubicBezTo>
                  <a:cubicBezTo>
                    <a:pt x="168941" y="818098"/>
                    <a:pt x="171597" y="819851"/>
                    <a:pt x="174302" y="821706"/>
                  </a:cubicBezTo>
                  <a:lnTo>
                    <a:pt x="175405" y="822457"/>
                  </a:lnTo>
                  <a:lnTo>
                    <a:pt x="175655" y="827218"/>
                  </a:lnTo>
                  <a:cubicBezTo>
                    <a:pt x="177409" y="862094"/>
                    <a:pt x="179213" y="898173"/>
                    <a:pt x="164381" y="930745"/>
                  </a:cubicBezTo>
                  <a:lnTo>
                    <a:pt x="163980" y="931647"/>
                  </a:lnTo>
                  <a:lnTo>
                    <a:pt x="163078" y="932048"/>
                  </a:lnTo>
                  <a:cubicBezTo>
                    <a:pt x="151903" y="937109"/>
                    <a:pt x="142833" y="934052"/>
                    <a:pt x="134866" y="931397"/>
                  </a:cubicBezTo>
                  <a:cubicBezTo>
                    <a:pt x="131508" y="930244"/>
                    <a:pt x="128301" y="929192"/>
                    <a:pt x="125295" y="928891"/>
                  </a:cubicBezTo>
                  <a:lnTo>
                    <a:pt x="48376" y="988773"/>
                  </a:lnTo>
                  <a:cubicBezTo>
                    <a:pt x="46021" y="1007865"/>
                    <a:pt x="46121" y="1008115"/>
                    <a:pt x="51633" y="1021495"/>
                  </a:cubicBezTo>
                  <a:lnTo>
                    <a:pt x="52986" y="1024852"/>
                  </a:lnTo>
                  <a:cubicBezTo>
                    <a:pt x="55542" y="1031066"/>
                    <a:pt x="58197" y="1037530"/>
                    <a:pt x="60202" y="1044044"/>
                  </a:cubicBezTo>
                  <a:cubicBezTo>
                    <a:pt x="62306" y="1050909"/>
                    <a:pt x="66315" y="1056121"/>
                    <a:pt x="73130" y="1060981"/>
                  </a:cubicBezTo>
                  <a:cubicBezTo>
                    <a:pt x="82952" y="1067947"/>
                    <a:pt x="92172" y="1075613"/>
                    <a:pt x="101092" y="1082980"/>
                  </a:cubicBezTo>
                  <a:cubicBezTo>
                    <a:pt x="112617" y="1092450"/>
                    <a:pt x="124343" y="1092501"/>
                    <a:pt x="136018" y="1083130"/>
                  </a:cubicBezTo>
                  <a:cubicBezTo>
                    <a:pt x="138875" y="1080825"/>
                    <a:pt x="141731" y="1078470"/>
                    <a:pt x="144337" y="1076315"/>
                  </a:cubicBezTo>
                  <a:lnTo>
                    <a:pt x="148847" y="1072607"/>
                  </a:lnTo>
                  <a:lnTo>
                    <a:pt x="150049" y="1072807"/>
                  </a:lnTo>
                  <a:cubicBezTo>
                    <a:pt x="159821" y="1074311"/>
                    <a:pt x="163729" y="1080675"/>
                    <a:pt x="166586" y="1086487"/>
                  </a:cubicBezTo>
                  <a:cubicBezTo>
                    <a:pt x="167087" y="1087489"/>
                    <a:pt x="167538" y="1088542"/>
                    <a:pt x="168039" y="1089594"/>
                  </a:cubicBezTo>
                  <a:cubicBezTo>
                    <a:pt x="169793" y="1093403"/>
                    <a:pt x="171597" y="1097311"/>
                    <a:pt x="174253" y="1099416"/>
                  </a:cubicBezTo>
                  <a:cubicBezTo>
                    <a:pt x="186680" y="1109237"/>
                    <a:pt x="185627" y="1121514"/>
                    <a:pt x="183322" y="1134292"/>
                  </a:cubicBezTo>
                  <a:cubicBezTo>
                    <a:pt x="182420" y="1139303"/>
                    <a:pt x="181468" y="1144264"/>
                    <a:pt x="180516" y="1149275"/>
                  </a:cubicBezTo>
                  <a:cubicBezTo>
                    <a:pt x="177259" y="1166413"/>
                    <a:pt x="173902" y="1184202"/>
                    <a:pt x="171947" y="1201741"/>
                  </a:cubicBezTo>
                  <a:cubicBezTo>
                    <a:pt x="169342" y="1224691"/>
                    <a:pt x="160873" y="1245787"/>
                    <a:pt x="152655" y="1266182"/>
                  </a:cubicBezTo>
                  <a:lnTo>
                    <a:pt x="152004" y="1267786"/>
                  </a:lnTo>
                  <a:cubicBezTo>
                    <a:pt x="148897" y="1275453"/>
                    <a:pt x="143936" y="1280915"/>
                    <a:pt x="136770" y="1284472"/>
                  </a:cubicBezTo>
                  <a:cubicBezTo>
                    <a:pt x="131358" y="1287178"/>
                    <a:pt x="125996" y="1290035"/>
                    <a:pt x="120785" y="1292841"/>
                  </a:cubicBezTo>
                  <a:cubicBezTo>
                    <a:pt x="118329" y="1294144"/>
                    <a:pt x="115924" y="1295446"/>
                    <a:pt x="113519" y="1296699"/>
                  </a:cubicBezTo>
                  <a:cubicBezTo>
                    <a:pt x="110863" y="1310129"/>
                    <a:pt x="109510" y="1322205"/>
                    <a:pt x="116676" y="1333731"/>
                  </a:cubicBezTo>
                  <a:cubicBezTo>
                    <a:pt x="121837" y="1341999"/>
                    <a:pt x="120885" y="1350618"/>
                    <a:pt x="113920" y="1358635"/>
                  </a:cubicBezTo>
                  <a:cubicBezTo>
                    <a:pt x="111264" y="1361692"/>
                    <a:pt x="108859" y="1364849"/>
                    <a:pt x="106103" y="1368557"/>
                  </a:cubicBezTo>
                  <a:cubicBezTo>
                    <a:pt x="105100" y="1369860"/>
                    <a:pt x="104098" y="1371213"/>
                    <a:pt x="103046" y="1372616"/>
                  </a:cubicBezTo>
                  <a:cubicBezTo>
                    <a:pt x="116024" y="1391508"/>
                    <a:pt x="120584" y="1413005"/>
                    <a:pt x="124994" y="1433750"/>
                  </a:cubicBezTo>
                  <a:lnTo>
                    <a:pt x="126548" y="1440916"/>
                  </a:lnTo>
                  <a:cubicBezTo>
                    <a:pt x="129654" y="1455147"/>
                    <a:pt x="129304" y="1468577"/>
                    <a:pt x="125395" y="1481906"/>
                  </a:cubicBezTo>
                  <a:cubicBezTo>
                    <a:pt x="119131" y="1503303"/>
                    <a:pt x="120083" y="1525652"/>
                    <a:pt x="120985" y="1547300"/>
                  </a:cubicBezTo>
                  <a:cubicBezTo>
                    <a:pt x="121186" y="1551860"/>
                    <a:pt x="121386" y="1556420"/>
                    <a:pt x="121486" y="1560980"/>
                  </a:cubicBezTo>
                  <a:cubicBezTo>
                    <a:pt x="121537" y="1563285"/>
                    <a:pt x="122238" y="1565640"/>
                    <a:pt x="122940" y="1568196"/>
                  </a:cubicBezTo>
                  <a:cubicBezTo>
                    <a:pt x="123290" y="1569449"/>
                    <a:pt x="123641" y="1570752"/>
                    <a:pt x="123942" y="1572004"/>
                  </a:cubicBezTo>
                  <a:cubicBezTo>
                    <a:pt x="126447" y="1582778"/>
                    <a:pt x="132009" y="1588891"/>
                    <a:pt x="141480" y="1591246"/>
                  </a:cubicBezTo>
                  <a:cubicBezTo>
                    <a:pt x="144838" y="1592098"/>
                    <a:pt x="147895" y="1593752"/>
                    <a:pt x="150851" y="1595406"/>
                  </a:cubicBezTo>
                  <a:cubicBezTo>
                    <a:pt x="152053" y="1596057"/>
                    <a:pt x="153256" y="1596709"/>
                    <a:pt x="154459" y="1597310"/>
                  </a:cubicBezTo>
                  <a:lnTo>
                    <a:pt x="155712" y="1597911"/>
                  </a:lnTo>
                  <a:lnTo>
                    <a:pt x="155962" y="1599264"/>
                  </a:lnTo>
                  <a:cubicBezTo>
                    <a:pt x="158117" y="1611842"/>
                    <a:pt x="157967" y="1624119"/>
                    <a:pt x="157766" y="1635944"/>
                  </a:cubicBezTo>
                  <a:cubicBezTo>
                    <a:pt x="157666" y="1642108"/>
                    <a:pt x="157566" y="1648522"/>
                    <a:pt x="157816" y="1654736"/>
                  </a:cubicBezTo>
                  <a:cubicBezTo>
                    <a:pt x="158267" y="1665660"/>
                    <a:pt x="155662" y="1675732"/>
                    <a:pt x="149799" y="1685503"/>
                  </a:cubicBezTo>
                  <a:cubicBezTo>
                    <a:pt x="147694" y="1689011"/>
                    <a:pt x="145640" y="1692569"/>
                    <a:pt x="143685" y="1695876"/>
                  </a:cubicBezTo>
                  <a:cubicBezTo>
                    <a:pt x="144086" y="1696828"/>
                    <a:pt x="144387" y="1697780"/>
                    <a:pt x="144738" y="1698682"/>
                  </a:cubicBezTo>
                  <a:cubicBezTo>
                    <a:pt x="145289" y="1700236"/>
                    <a:pt x="145990" y="1702340"/>
                    <a:pt x="146592" y="1702641"/>
                  </a:cubicBezTo>
                  <a:cubicBezTo>
                    <a:pt x="150600" y="1704946"/>
                    <a:pt x="154960" y="1706700"/>
                    <a:pt x="159570" y="1708504"/>
                  </a:cubicBezTo>
                  <a:cubicBezTo>
                    <a:pt x="161524" y="1709256"/>
                    <a:pt x="163479" y="1710058"/>
                    <a:pt x="165433" y="1710859"/>
                  </a:cubicBezTo>
                  <a:lnTo>
                    <a:pt x="166235" y="1711210"/>
                  </a:lnTo>
                  <a:lnTo>
                    <a:pt x="166686" y="1711912"/>
                  </a:lnTo>
                  <a:cubicBezTo>
                    <a:pt x="167437" y="1713114"/>
                    <a:pt x="168139" y="1714317"/>
                    <a:pt x="168891" y="1715570"/>
                  </a:cubicBezTo>
                  <a:cubicBezTo>
                    <a:pt x="170444" y="1718226"/>
                    <a:pt x="172048" y="1720981"/>
                    <a:pt x="173952" y="1723337"/>
                  </a:cubicBezTo>
                  <a:cubicBezTo>
                    <a:pt x="180917" y="1732106"/>
                    <a:pt x="185828" y="1733459"/>
                    <a:pt x="197854" y="1729851"/>
                  </a:cubicBezTo>
                  <a:cubicBezTo>
                    <a:pt x="200310" y="1729099"/>
                    <a:pt x="202865" y="1728548"/>
                    <a:pt x="205321" y="1727947"/>
                  </a:cubicBezTo>
                  <a:lnTo>
                    <a:pt x="210382" y="1726744"/>
                  </a:lnTo>
                  <a:lnTo>
                    <a:pt x="211384" y="1728448"/>
                  </a:lnTo>
                  <a:cubicBezTo>
                    <a:pt x="222208" y="1746588"/>
                    <a:pt x="225114" y="1763475"/>
                    <a:pt x="220554" y="1781615"/>
                  </a:cubicBezTo>
                  <a:cubicBezTo>
                    <a:pt x="219602" y="1785423"/>
                    <a:pt x="219101" y="1789282"/>
                    <a:pt x="218550" y="1793341"/>
                  </a:cubicBezTo>
                  <a:cubicBezTo>
                    <a:pt x="218049" y="1797149"/>
                    <a:pt x="217497" y="1801057"/>
                    <a:pt x="216595" y="1804866"/>
                  </a:cubicBezTo>
                  <a:lnTo>
                    <a:pt x="216395" y="1805768"/>
                  </a:lnTo>
                  <a:cubicBezTo>
                    <a:pt x="214791" y="1812583"/>
                    <a:pt x="213088" y="1819598"/>
                    <a:pt x="209530" y="1825561"/>
                  </a:cubicBezTo>
                  <a:cubicBezTo>
                    <a:pt x="203166" y="1836084"/>
                    <a:pt x="196151" y="1846407"/>
                    <a:pt x="189436" y="1856379"/>
                  </a:cubicBezTo>
                  <a:cubicBezTo>
                    <a:pt x="186579" y="1860638"/>
                    <a:pt x="183673" y="1864848"/>
                    <a:pt x="180867" y="1869107"/>
                  </a:cubicBezTo>
                  <a:cubicBezTo>
                    <a:pt x="176658" y="1875421"/>
                    <a:pt x="171797" y="1878628"/>
                    <a:pt x="165633" y="1879179"/>
                  </a:cubicBezTo>
                  <a:cubicBezTo>
                    <a:pt x="164180" y="1879329"/>
                    <a:pt x="162777" y="1879530"/>
                    <a:pt x="161324" y="1879730"/>
                  </a:cubicBezTo>
                  <a:lnTo>
                    <a:pt x="158718" y="1880081"/>
                  </a:lnTo>
                  <a:cubicBezTo>
                    <a:pt x="152755" y="1880833"/>
                    <a:pt x="150550" y="1884892"/>
                    <a:pt x="149749" y="1887297"/>
                  </a:cubicBezTo>
                  <a:cubicBezTo>
                    <a:pt x="148195" y="1892057"/>
                    <a:pt x="149548" y="1897569"/>
                    <a:pt x="153106" y="1901027"/>
                  </a:cubicBezTo>
                  <a:cubicBezTo>
                    <a:pt x="154960" y="1902831"/>
                    <a:pt x="157215" y="1904284"/>
                    <a:pt x="159620" y="1905838"/>
                  </a:cubicBezTo>
                  <a:cubicBezTo>
                    <a:pt x="161224" y="1906890"/>
                    <a:pt x="162827" y="1907942"/>
                    <a:pt x="164331" y="1909045"/>
                  </a:cubicBezTo>
                  <a:cubicBezTo>
                    <a:pt x="166936" y="1911049"/>
                    <a:pt x="169492" y="1913154"/>
                    <a:pt x="172098" y="1915358"/>
                  </a:cubicBezTo>
                  <a:lnTo>
                    <a:pt x="176608" y="1919117"/>
                  </a:lnTo>
                  <a:lnTo>
                    <a:pt x="175906" y="1920921"/>
                  </a:lnTo>
                  <a:cubicBezTo>
                    <a:pt x="175305" y="1922424"/>
                    <a:pt x="174804" y="1923827"/>
                    <a:pt x="174353" y="1925180"/>
                  </a:cubicBezTo>
                  <a:cubicBezTo>
                    <a:pt x="173350" y="1928036"/>
                    <a:pt x="172398" y="1930742"/>
                    <a:pt x="170895" y="1933148"/>
                  </a:cubicBezTo>
                  <a:cubicBezTo>
                    <a:pt x="164280" y="1943721"/>
                    <a:pt x="157566" y="1955296"/>
                    <a:pt x="153256" y="1968175"/>
                  </a:cubicBezTo>
                  <a:cubicBezTo>
                    <a:pt x="151452" y="1973737"/>
                    <a:pt x="148095" y="1978648"/>
                    <a:pt x="144888" y="1983258"/>
                  </a:cubicBezTo>
                  <a:cubicBezTo>
                    <a:pt x="132661" y="2000546"/>
                    <a:pt x="117428" y="2020339"/>
                    <a:pt x="96682" y="2035923"/>
                  </a:cubicBezTo>
                  <a:cubicBezTo>
                    <a:pt x="94477" y="2037577"/>
                    <a:pt x="92523" y="2039030"/>
                    <a:pt x="90719" y="2040383"/>
                  </a:cubicBezTo>
                  <a:cubicBezTo>
                    <a:pt x="80431" y="2047965"/>
                    <a:pt x="76072" y="2059490"/>
                    <a:pt x="77640" y="2074959"/>
                  </a:cubicBezTo>
                  <a:lnTo>
                    <a:pt x="78191" y="2080672"/>
                  </a:lnTo>
                  <a:cubicBezTo>
                    <a:pt x="80296" y="2102369"/>
                    <a:pt x="86309" y="2118054"/>
                    <a:pt x="108558" y="2124168"/>
                  </a:cubicBezTo>
                  <a:cubicBezTo>
                    <a:pt x="111665" y="2125070"/>
                    <a:pt x="115022" y="2127024"/>
                    <a:pt x="117778" y="2129579"/>
                  </a:cubicBezTo>
                  <a:cubicBezTo>
                    <a:pt x="119332" y="2131033"/>
                    <a:pt x="120985" y="2132436"/>
                    <a:pt x="122639" y="2133839"/>
                  </a:cubicBezTo>
                  <a:cubicBezTo>
                    <a:pt x="128903" y="2139150"/>
                    <a:pt x="135417" y="2144662"/>
                    <a:pt x="137572" y="2154484"/>
                  </a:cubicBezTo>
                  <a:lnTo>
                    <a:pt x="137973" y="2156188"/>
                  </a:lnTo>
                  <a:lnTo>
                    <a:pt x="136570" y="2157240"/>
                  </a:lnTo>
                  <a:cubicBezTo>
                    <a:pt x="117778" y="2171121"/>
                    <a:pt x="97584" y="2181744"/>
                    <a:pt x="77991" y="2192017"/>
                  </a:cubicBezTo>
                  <a:lnTo>
                    <a:pt x="74734" y="2193720"/>
                  </a:lnTo>
                  <a:cubicBezTo>
                    <a:pt x="67769" y="2197378"/>
                    <a:pt x="59951" y="2199232"/>
                    <a:pt x="52385" y="2201086"/>
                  </a:cubicBezTo>
                  <a:cubicBezTo>
                    <a:pt x="48476" y="2202039"/>
                    <a:pt x="44417" y="2202991"/>
                    <a:pt x="40559" y="2204193"/>
                  </a:cubicBezTo>
                  <a:cubicBezTo>
                    <a:pt x="35698" y="2205697"/>
                    <a:pt x="30687" y="2206849"/>
                    <a:pt x="25876" y="2207901"/>
                  </a:cubicBezTo>
                  <a:cubicBezTo>
                    <a:pt x="17508" y="2209755"/>
                    <a:pt x="9590" y="2211509"/>
                    <a:pt x="2575" y="2215218"/>
                  </a:cubicBezTo>
                  <a:cubicBezTo>
                    <a:pt x="-933" y="2237667"/>
                    <a:pt x="-832" y="2305416"/>
                    <a:pt x="2725" y="2326863"/>
                  </a:cubicBezTo>
                  <a:lnTo>
                    <a:pt x="6835" y="2328717"/>
                  </a:lnTo>
                  <a:cubicBezTo>
                    <a:pt x="11094" y="2330621"/>
                    <a:pt x="15554" y="2332625"/>
                    <a:pt x="19963" y="2334830"/>
                  </a:cubicBezTo>
                  <a:cubicBezTo>
                    <a:pt x="30937" y="2340242"/>
                    <a:pt x="41210" y="2341094"/>
                    <a:pt x="52234" y="2337586"/>
                  </a:cubicBezTo>
                  <a:cubicBezTo>
                    <a:pt x="59601" y="2335231"/>
                    <a:pt x="67668" y="2334630"/>
                    <a:pt x="74483" y="2335883"/>
                  </a:cubicBezTo>
                  <a:cubicBezTo>
                    <a:pt x="100741" y="2340793"/>
                    <a:pt x="123090" y="2347508"/>
                    <a:pt x="142884" y="2356378"/>
                  </a:cubicBezTo>
                  <a:cubicBezTo>
                    <a:pt x="148997" y="2359134"/>
                    <a:pt x="155712" y="2362140"/>
                    <a:pt x="158017" y="2370258"/>
                  </a:cubicBezTo>
                  <a:cubicBezTo>
                    <a:pt x="159520" y="2375620"/>
                    <a:pt x="163429" y="2377875"/>
                    <a:pt x="169692" y="2380932"/>
                  </a:cubicBezTo>
                  <a:cubicBezTo>
                    <a:pt x="189286" y="2390553"/>
                    <a:pt x="197854" y="2404133"/>
                    <a:pt x="195850" y="2422473"/>
                  </a:cubicBezTo>
                  <a:cubicBezTo>
                    <a:pt x="195649" y="2424277"/>
                    <a:pt x="195750" y="2426382"/>
                    <a:pt x="196251" y="2428737"/>
                  </a:cubicBezTo>
                  <a:cubicBezTo>
                    <a:pt x="198656" y="2441565"/>
                    <a:pt x="203968" y="2448079"/>
                    <a:pt x="213990" y="2450534"/>
                  </a:cubicBezTo>
                  <a:cubicBezTo>
                    <a:pt x="235136" y="2455746"/>
                    <a:pt x="243455" y="2472282"/>
                    <a:pt x="250720" y="2490222"/>
                  </a:cubicBezTo>
                  <a:lnTo>
                    <a:pt x="251522" y="2492176"/>
                  </a:lnTo>
                  <a:lnTo>
                    <a:pt x="249818" y="2493429"/>
                  </a:lnTo>
                  <a:cubicBezTo>
                    <a:pt x="248666" y="2494281"/>
                    <a:pt x="247664" y="2495082"/>
                    <a:pt x="246712" y="2495884"/>
                  </a:cubicBezTo>
                  <a:cubicBezTo>
                    <a:pt x="244807" y="2497388"/>
                    <a:pt x="243054" y="2498841"/>
                    <a:pt x="240999" y="2499843"/>
                  </a:cubicBezTo>
                  <a:cubicBezTo>
                    <a:pt x="221656" y="2509163"/>
                    <a:pt x="209931" y="2525800"/>
                    <a:pt x="200109" y="2542436"/>
                  </a:cubicBezTo>
                  <a:cubicBezTo>
                    <a:pt x="192442" y="2555365"/>
                    <a:pt x="194096" y="2568794"/>
                    <a:pt x="204719" y="2580219"/>
                  </a:cubicBezTo>
                  <a:cubicBezTo>
                    <a:pt x="208127" y="2583878"/>
                    <a:pt x="211233" y="2587135"/>
                    <a:pt x="214541" y="2590091"/>
                  </a:cubicBezTo>
                  <a:cubicBezTo>
                    <a:pt x="233232" y="2606577"/>
                    <a:pt x="244657" y="2627824"/>
                    <a:pt x="255681" y="2648369"/>
                  </a:cubicBezTo>
                  <a:lnTo>
                    <a:pt x="260342" y="2657038"/>
                  </a:lnTo>
                  <a:lnTo>
                    <a:pt x="259891" y="2658191"/>
                  </a:lnTo>
                  <a:cubicBezTo>
                    <a:pt x="259540" y="2659043"/>
                    <a:pt x="259289" y="2659794"/>
                    <a:pt x="259089" y="2660496"/>
                  </a:cubicBezTo>
                  <a:cubicBezTo>
                    <a:pt x="258638" y="2661899"/>
                    <a:pt x="258187" y="2663152"/>
                    <a:pt x="257385" y="2664254"/>
                  </a:cubicBezTo>
                  <a:cubicBezTo>
                    <a:pt x="255431" y="2666860"/>
                    <a:pt x="253176" y="2669215"/>
                    <a:pt x="251021" y="2671520"/>
                  </a:cubicBezTo>
                  <a:cubicBezTo>
                    <a:pt x="245960" y="2676882"/>
                    <a:pt x="241200" y="2681943"/>
                    <a:pt x="239897" y="2689710"/>
                  </a:cubicBezTo>
                  <a:cubicBezTo>
                    <a:pt x="238995" y="2695022"/>
                    <a:pt x="230726" y="2700935"/>
                    <a:pt x="225164" y="2701386"/>
                  </a:cubicBezTo>
                  <a:cubicBezTo>
                    <a:pt x="214791" y="2702288"/>
                    <a:pt x="208578" y="2707549"/>
                    <a:pt x="203717" y="2719476"/>
                  </a:cubicBezTo>
                  <a:cubicBezTo>
                    <a:pt x="202013" y="2723634"/>
                    <a:pt x="200159" y="2727694"/>
                    <a:pt x="198355" y="2731753"/>
                  </a:cubicBezTo>
                  <a:cubicBezTo>
                    <a:pt x="196000" y="2736914"/>
                    <a:pt x="193595" y="2742276"/>
                    <a:pt x="191590" y="2747587"/>
                  </a:cubicBezTo>
                  <a:cubicBezTo>
                    <a:pt x="189486" y="2753149"/>
                    <a:pt x="187131" y="2759313"/>
                    <a:pt x="187582" y="2764575"/>
                  </a:cubicBezTo>
                  <a:cubicBezTo>
                    <a:pt x="187882" y="2767882"/>
                    <a:pt x="189787" y="2771289"/>
                    <a:pt x="191841" y="2774847"/>
                  </a:cubicBezTo>
                  <a:cubicBezTo>
                    <a:pt x="192793" y="2776551"/>
                    <a:pt x="193745" y="2778204"/>
                    <a:pt x="194547" y="2779908"/>
                  </a:cubicBezTo>
                  <a:lnTo>
                    <a:pt x="195549" y="2782063"/>
                  </a:lnTo>
                  <a:lnTo>
                    <a:pt x="191490" y="2784619"/>
                  </a:lnTo>
                  <a:cubicBezTo>
                    <a:pt x="190638" y="2785120"/>
                    <a:pt x="189887" y="2785571"/>
                    <a:pt x="189185" y="2786072"/>
                  </a:cubicBezTo>
                  <a:cubicBezTo>
                    <a:pt x="183272" y="2790281"/>
                    <a:pt x="180767" y="2792887"/>
                    <a:pt x="180516" y="2795142"/>
                  </a:cubicBezTo>
                  <a:cubicBezTo>
                    <a:pt x="180316" y="2797146"/>
                    <a:pt x="181969" y="2799952"/>
                    <a:pt x="185828" y="2804161"/>
                  </a:cubicBezTo>
                  <a:cubicBezTo>
                    <a:pt x="192492" y="2811427"/>
                    <a:pt x="196050" y="2819746"/>
                    <a:pt x="197403" y="2831121"/>
                  </a:cubicBezTo>
                  <a:cubicBezTo>
                    <a:pt x="199959" y="2852919"/>
                    <a:pt x="202164" y="2872612"/>
                    <a:pt x="203968" y="2892355"/>
                  </a:cubicBezTo>
                  <a:cubicBezTo>
                    <a:pt x="204419" y="2897166"/>
                    <a:pt x="204118" y="2902077"/>
                    <a:pt x="203867" y="2906837"/>
                  </a:cubicBezTo>
                  <a:cubicBezTo>
                    <a:pt x="203717" y="2909092"/>
                    <a:pt x="203617" y="2911397"/>
                    <a:pt x="203567" y="2913652"/>
                  </a:cubicBezTo>
                  <a:lnTo>
                    <a:pt x="203567" y="2915556"/>
                  </a:lnTo>
                  <a:cubicBezTo>
                    <a:pt x="203567" y="2915556"/>
                    <a:pt x="201713" y="2916158"/>
                    <a:pt x="201713" y="2916158"/>
                  </a:cubicBezTo>
                  <a:cubicBezTo>
                    <a:pt x="181669" y="2922872"/>
                    <a:pt x="164130" y="2930088"/>
                    <a:pt x="153707" y="2949681"/>
                  </a:cubicBezTo>
                  <a:cubicBezTo>
                    <a:pt x="159320" y="2956145"/>
                    <a:pt x="165533" y="2962259"/>
                    <a:pt x="171597" y="2968172"/>
                  </a:cubicBezTo>
                  <a:cubicBezTo>
                    <a:pt x="177810" y="2974235"/>
                    <a:pt x="184174" y="2980499"/>
                    <a:pt x="189937" y="2987164"/>
                  </a:cubicBezTo>
                  <a:cubicBezTo>
                    <a:pt x="199408" y="2998138"/>
                    <a:pt x="210783" y="3000844"/>
                    <a:pt x="227970" y="2996133"/>
                  </a:cubicBezTo>
                  <a:cubicBezTo>
                    <a:pt x="231879" y="2995081"/>
                    <a:pt x="235737" y="2993528"/>
                    <a:pt x="239796" y="2991924"/>
                  </a:cubicBezTo>
                  <a:cubicBezTo>
                    <a:pt x="241751" y="2991122"/>
                    <a:pt x="243755" y="2990321"/>
                    <a:pt x="245910" y="2989519"/>
                  </a:cubicBezTo>
                  <a:lnTo>
                    <a:pt x="247764" y="2988817"/>
                  </a:lnTo>
                  <a:lnTo>
                    <a:pt x="248967" y="2990371"/>
                  </a:lnTo>
                  <a:cubicBezTo>
                    <a:pt x="260091" y="3004652"/>
                    <a:pt x="275575" y="3011016"/>
                    <a:pt x="291961" y="3017731"/>
                  </a:cubicBezTo>
                  <a:lnTo>
                    <a:pt x="297122" y="3019886"/>
                  </a:lnTo>
                  <a:lnTo>
                    <a:pt x="297423" y="3021289"/>
                  </a:lnTo>
                  <a:cubicBezTo>
                    <a:pt x="298024" y="3024245"/>
                    <a:pt x="298726" y="3027151"/>
                    <a:pt x="299377" y="3029958"/>
                  </a:cubicBezTo>
                  <a:cubicBezTo>
                    <a:pt x="300781" y="3035971"/>
                    <a:pt x="302083" y="3041633"/>
                    <a:pt x="302835" y="3047496"/>
                  </a:cubicBezTo>
                  <a:cubicBezTo>
                    <a:pt x="305290" y="3066939"/>
                    <a:pt x="310201" y="3086783"/>
                    <a:pt x="317417" y="3106476"/>
                  </a:cubicBezTo>
                  <a:cubicBezTo>
                    <a:pt x="318369" y="3109132"/>
                    <a:pt x="319171" y="3111787"/>
                    <a:pt x="319972" y="3114443"/>
                  </a:cubicBezTo>
                  <a:cubicBezTo>
                    <a:pt x="320975" y="3117751"/>
                    <a:pt x="322027" y="3121158"/>
                    <a:pt x="323280" y="3124365"/>
                  </a:cubicBezTo>
                  <a:cubicBezTo>
                    <a:pt x="326286" y="3131831"/>
                    <a:pt x="326136" y="3139047"/>
                    <a:pt x="322728" y="3147015"/>
                  </a:cubicBezTo>
                  <a:cubicBezTo>
                    <a:pt x="319572" y="3154581"/>
                    <a:pt x="316716" y="3162248"/>
                    <a:pt x="313909" y="3169614"/>
                  </a:cubicBezTo>
                  <a:cubicBezTo>
                    <a:pt x="312857" y="3172471"/>
                    <a:pt x="311754" y="3175277"/>
                    <a:pt x="310702" y="3178033"/>
                  </a:cubicBezTo>
                  <a:cubicBezTo>
                    <a:pt x="315713" y="3193317"/>
                    <a:pt x="322077" y="3204241"/>
                    <a:pt x="331247" y="3213361"/>
                  </a:cubicBezTo>
                  <a:cubicBezTo>
                    <a:pt x="337912" y="3220025"/>
                    <a:pt x="337862" y="3228995"/>
                    <a:pt x="331097" y="3236311"/>
                  </a:cubicBezTo>
                  <a:cubicBezTo>
                    <a:pt x="324733" y="3243126"/>
                    <a:pt x="317717" y="3250192"/>
                    <a:pt x="309550" y="3255453"/>
                  </a:cubicBezTo>
                  <a:cubicBezTo>
                    <a:pt x="303336" y="3259462"/>
                    <a:pt x="299478" y="3264222"/>
                    <a:pt x="296321" y="3271939"/>
                  </a:cubicBezTo>
                  <a:cubicBezTo>
                    <a:pt x="292713" y="3280608"/>
                    <a:pt x="288303" y="3288877"/>
                    <a:pt x="283643" y="3297646"/>
                  </a:cubicBezTo>
                  <a:cubicBezTo>
                    <a:pt x="281638" y="3301454"/>
                    <a:pt x="279534" y="3305313"/>
                    <a:pt x="277479" y="3309422"/>
                  </a:cubicBezTo>
                  <a:lnTo>
                    <a:pt x="276527" y="3311276"/>
                  </a:lnTo>
                  <a:lnTo>
                    <a:pt x="274523" y="3310825"/>
                  </a:lnTo>
                  <a:cubicBezTo>
                    <a:pt x="261093" y="3307818"/>
                    <a:pt x="252374" y="3315385"/>
                    <a:pt x="243956" y="3324104"/>
                  </a:cubicBezTo>
                  <a:cubicBezTo>
                    <a:pt x="235136" y="3333174"/>
                    <a:pt x="227269" y="3342394"/>
                    <a:pt x="227920" y="3354972"/>
                  </a:cubicBezTo>
                  <a:cubicBezTo>
                    <a:pt x="229674" y="3356826"/>
                    <a:pt x="231428" y="3358630"/>
                    <a:pt x="233182" y="3360334"/>
                  </a:cubicBezTo>
                  <a:cubicBezTo>
                    <a:pt x="237692" y="3364894"/>
                    <a:pt x="242001" y="3369203"/>
                    <a:pt x="245309" y="3374314"/>
                  </a:cubicBezTo>
                  <a:cubicBezTo>
                    <a:pt x="249217" y="3380277"/>
                    <a:pt x="254128" y="3383986"/>
                    <a:pt x="262296" y="3387092"/>
                  </a:cubicBezTo>
                  <a:cubicBezTo>
                    <a:pt x="287602" y="3396814"/>
                    <a:pt x="315012" y="3403128"/>
                    <a:pt x="351241" y="3407637"/>
                  </a:cubicBezTo>
                  <a:cubicBezTo>
                    <a:pt x="361063" y="3408840"/>
                    <a:pt x="368730" y="3407537"/>
                    <a:pt x="376697" y="3403278"/>
                  </a:cubicBezTo>
                  <a:lnTo>
                    <a:pt x="377549" y="3402827"/>
                  </a:lnTo>
                  <a:cubicBezTo>
                    <a:pt x="409484" y="3385789"/>
                    <a:pt x="436178" y="3362253"/>
                    <a:pt x="457625" y="3332222"/>
                  </a:cubicBezTo>
                  <a:lnTo>
                    <a:pt x="457976" y="3331771"/>
                  </a:lnTo>
                  <a:cubicBezTo>
                    <a:pt x="458326" y="3331370"/>
                    <a:pt x="458627" y="3330919"/>
                    <a:pt x="458878" y="3330468"/>
                  </a:cubicBezTo>
                  <a:cubicBezTo>
                    <a:pt x="469401" y="3313230"/>
                    <a:pt x="481427" y="3302707"/>
                    <a:pt x="496811" y="3297295"/>
                  </a:cubicBezTo>
                  <a:cubicBezTo>
                    <a:pt x="506883" y="3293737"/>
                    <a:pt x="513097" y="3286872"/>
                    <a:pt x="516254" y="3275648"/>
                  </a:cubicBezTo>
                  <a:cubicBezTo>
                    <a:pt x="519311" y="3264874"/>
                    <a:pt x="523420" y="3252597"/>
                    <a:pt x="533141" y="3243226"/>
                  </a:cubicBezTo>
                  <a:lnTo>
                    <a:pt x="533692" y="3242675"/>
                  </a:lnTo>
                  <a:lnTo>
                    <a:pt x="534444" y="3242525"/>
                  </a:lnTo>
                  <a:cubicBezTo>
                    <a:pt x="538503" y="3241723"/>
                    <a:pt x="542662" y="3241372"/>
                    <a:pt x="546721" y="3241071"/>
                  </a:cubicBezTo>
                  <a:cubicBezTo>
                    <a:pt x="555791" y="3240370"/>
                    <a:pt x="564309" y="3239669"/>
                    <a:pt x="571726" y="3233806"/>
                  </a:cubicBezTo>
                  <a:cubicBezTo>
                    <a:pt x="576035" y="3230398"/>
                    <a:pt x="582249" y="3231801"/>
                    <a:pt x="587911" y="3237464"/>
                  </a:cubicBezTo>
                  <a:cubicBezTo>
                    <a:pt x="591569" y="3241021"/>
                    <a:pt x="595879" y="3241523"/>
                    <a:pt x="599487" y="3238767"/>
                  </a:cubicBezTo>
                  <a:cubicBezTo>
                    <a:pt x="606753" y="3233254"/>
                    <a:pt x="614920" y="3232503"/>
                    <a:pt x="624442" y="3236461"/>
                  </a:cubicBezTo>
                  <a:cubicBezTo>
                    <a:pt x="633862" y="3240420"/>
                    <a:pt x="641780" y="3240370"/>
                    <a:pt x="649446" y="3236261"/>
                  </a:cubicBezTo>
                  <a:cubicBezTo>
                    <a:pt x="652002" y="3234908"/>
                    <a:pt x="654758" y="3233956"/>
                    <a:pt x="657364" y="3233004"/>
                  </a:cubicBezTo>
                  <a:cubicBezTo>
                    <a:pt x="663026" y="3230999"/>
                    <a:pt x="668388" y="3229045"/>
                    <a:pt x="672447" y="3223734"/>
                  </a:cubicBezTo>
                  <a:lnTo>
                    <a:pt x="667737" y="3216417"/>
                  </a:lnTo>
                  <a:cubicBezTo>
                    <a:pt x="663778" y="3210254"/>
                    <a:pt x="659769" y="3204040"/>
                    <a:pt x="655810" y="3197777"/>
                  </a:cubicBezTo>
                  <a:cubicBezTo>
                    <a:pt x="648845" y="3186602"/>
                    <a:pt x="641579" y="3176129"/>
                    <a:pt x="629152" y="3171018"/>
                  </a:cubicBezTo>
                  <a:cubicBezTo>
                    <a:pt x="625143" y="3169364"/>
                    <a:pt x="621786" y="3166057"/>
                    <a:pt x="619030" y="3163150"/>
                  </a:cubicBezTo>
                  <a:cubicBezTo>
                    <a:pt x="613919" y="3157738"/>
                    <a:pt x="611513" y="3150873"/>
                    <a:pt x="612114" y="3143808"/>
                  </a:cubicBezTo>
                  <a:cubicBezTo>
                    <a:pt x="612766" y="3136792"/>
                    <a:pt x="616324" y="3130529"/>
                    <a:pt x="622237" y="3126169"/>
                  </a:cubicBezTo>
                  <a:cubicBezTo>
                    <a:pt x="632860" y="3118302"/>
                    <a:pt x="644385" y="3110334"/>
                    <a:pt x="658166" y="3106576"/>
                  </a:cubicBezTo>
                  <a:cubicBezTo>
                    <a:pt x="663227" y="3105173"/>
                    <a:pt x="668238" y="3103369"/>
                    <a:pt x="673099" y="3101615"/>
                  </a:cubicBezTo>
                  <a:cubicBezTo>
                    <a:pt x="675053" y="3100914"/>
                    <a:pt x="676957" y="3100212"/>
                    <a:pt x="678811" y="3099561"/>
                  </a:cubicBezTo>
                  <a:cubicBezTo>
                    <a:pt x="684523" y="3090791"/>
                    <a:pt x="687179" y="3081271"/>
                    <a:pt x="687179" y="3069695"/>
                  </a:cubicBezTo>
                  <a:cubicBezTo>
                    <a:pt x="687179" y="3065887"/>
                    <a:pt x="687179" y="3062128"/>
                    <a:pt x="687230" y="3058320"/>
                  </a:cubicBezTo>
                  <a:cubicBezTo>
                    <a:pt x="687230" y="3053459"/>
                    <a:pt x="687330" y="3048599"/>
                    <a:pt x="687230" y="3043688"/>
                  </a:cubicBezTo>
                  <a:cubicBezTo>
                    <a:pt x="687129" y="3037424"/>
                    <a:pt x="687881" y="3028404"/>
                    <a:pt x="695548" y="3022391"/>
                  </a:cubicBezTo>
                  <a:cubicBezTo>
                    <a:pt x="705019" y="3014925"/>
                    <a:pt x="706572" y="3005153"/>
                    <a:pt x="706021" y="2992826"/>
                  </a:cubicBezTo>
                  <a:cubicBezTo>
                    <a:pt x="705720" y="2985911"/>
                    <a:pt x="705520" y="2979647"/>
                    <a:pt x="706422" y="2973434"/>
                  </a:cubicBezTo>
                  <a:cubicBezTo>
                    <a:pt x="706923" y="2969976"/>
                    <a:pt x="708326" y="2963512"/>
                    <a:pt x="712235" y="2959302"/>
                  </a:cubicBezTo>
                  <a:cubicBezTo>
                    <a:pt x="730775" y="2939008"/>
                    <a:pt x="749466" y="2919765"/>
                    <a:pt x="773870" y="2906887"/>
                  </a:cubicBezTo>
                  <a:cubicBezTo>
                    <a:pt x="776977" y="2905284"/>
                    <a:pt x="780134" y="2903831"/>
                    <a:pt x="782689" y="2902628"/>
                  </a:cubicBezTo>
                  <a:lnTo>
                    <a:pt x="783240" y="2902377"/>
                  </a:lnTo>
                  <a:lnTo>
                    <a:pt x="782589" y="2893358"/>
                  </a:lnTo>
                  <a:cubicBezTo>
                    <a:pt x="782038" y="2885841"/>
                    <a:pt x="781537" y="2878926"/>
                    <a:pt x="781136" y="2872011"/>
                  </a:cubicBezTo>
                  <a:cubicBezTo>
                    <a:pt x="780985" y="2868904"/>
                    <a:pt x="780985" y="2865797"/>
                    <a:pt x="781036" y="2862690"/>
                  </a:cubicBezTo>
                  <a:cubicBezTo>
                    <a:pt x="781036" y="2860235"/>
                    <a:pt x="781036" y="2857829"/>
                    <a:pt x="781036" y="2855424"/>
                  </a:cubicBezTo>
                  <a:cubicBezTo>
                    <a:pt x="780585" y="2842546"/>
                    <a:pt x="775824" y="2833877"/>
                    <a:pt x="766003" y="2828164"/>
                  </a:cubicBezTo>
                  <a:cubicBezTo>
                    <a:pt x="763196" y="2826511"/>
                    <a:pt x="760691" y="2824406"/>
                    <a:pt x="758286" y="2822402"/>
                  </a:cubicBezTo>
                  <a:cubicBezTo>
                    <a:pt x="757133" y="2821449"/>
                    <a:pt x="755981" y="2820497"/>
                    <a:pt x="754778" y="2819545"/>
                  </a:cubicBezTo>
                  <a:lnTo>
                    <a:pt x="753275" y="2818393"/>
                  </a:lnTo>
                  <a:lnTo>
                    <a:pt x="753876" y="2816589"/>
                  </a:lnTo>
                  <a:cubicBezTo>
                    <a:pt x="766504" y="2777754"/>
                    <a:pt x="782288" y="2746986"/>
                    <a:pt x="803435" y="2719776"/>
                  </a:cubicBezTo>
                  <a:lnTo>
                    <a:pt x="804487" y="2718373"/>
                  </a:lnTo>
                  <a:lnTo>
                    <a:pt x="806191" y="2718824"/>
                  </a:lnTo>
                  <a:cubicBezTo>
                    <a:pt x="809398" y="2719626"/>
                    <a:pt x="812505" y="2720478"/>
                    <a:pt x="815662" y="2721330"/>
                  </a:cubicBezTo>
                  <a:cubicBezTo>
                    <a:pt x="822577" y="2723234"/>
                    <a:pt x="829091" y="2724988"/>
                    <a:pt x="835806" y="2726140"/>
                  </a:cubicBezTo>
                  <a:cubicBezTo>
                    <a:pt x="841569" y="2727092"/>
                    <a:pt x="847582" y="2727543"/>
                    <a:pt x="853395" y="2727944"/>
                  </a:cubicBezTo>
                  <a:cubicBezTo>
                    <a:pt x="857654" y="2728245"/>
                    <a:pt x="861964" y="2728545"/>
                    <a:pt x="866223" y="2729097"/>
                  </a:cubicBezTo>
                  <a:cubicBezTo>
                    <a:pt x="868829" y="2729397"/>
                    <a:pt x="871184" y="2730550"/>
                    <a:pt x="873439" y="2731602"/>
                  </a:cubicBezTo>
                  <a:cubicBezTo>
                    <a:pt x="874190" y="2731953"/>
                    <a:pt x="874942" y="2732354"/>
                    <a:pt x="875744" y="2732655"/>
                  </a:cubicBezTo>
                  <a:cubicBezTo>
                    <a:pt x="887119" y="2737465"/>
                    <a:pt x="899245" y="2738167"/>
                    <a:pt x="911773" y="2734759"/>
                  </a:cubicBezTo>
                  <a:cubicBezTo>
                    <a:pt x="912074" y="2734358"/>
                    <a:pt x="912324" y="2734007"/>
                    <a:pt x="912575" y="2733707"/>
                  </a:cubicBezTo>
                  <a:cubicBezTo>
                    <a:pt x="913176" y="2732955"/>
                    <a:pt x="913677" y="2732254"/>
                    <a:pt x="913877" y="2731802"/>
                  </a:cubicBezTo>
                  <a:cubicBezTo>
                    <a:pt x="914980" y="2728395"/>
                    <a:pt x="915982" y="2724988"/>
                    <a:pt x="916984" y="2721530"/>
                  </a:cubicBezTo>
                  <a:cubicBezTo>
                    <a:pt x="917736" y="2718924"/>
                    <a:pt x="918488" y="2716319"/>
                    <a:pt x="919289" y="2713713"/>
                  </a:cubicBezTo>
                  <a:cubicBezTo>
                    <a:pt x="925854" y="2692065"/>
                    <a:pt x="933521" y="2688056"/>
                    <a:pt x="958325" y="2693368"/>
                  </a:cubicBezTo>
                  <a:lnTo>
                    <a:pt x="959929" y="2693719"/>
                  </a:lnTo>
                  <a:lnTo>
                    <a:pt x="960380" y="2695272"/>
                  </a:lnTo>
                  <a:cubicBezTo>
                    <a:pt x="962033" y="2701185"/>
                    <a:pt x="963687" y="2707098"/>
                    <a:pt x="965341" y="2713061"/>
                  </a:cubicBezTo>
                  <a:cubicBezTo>
                    <a:pt x="969049" y="2726391"/>
                    <a:pt x="972907" y="2740221"/>
                    <a:pt x="976966" y="2753751"/>
                  </a:cubicBezTo>
                  <a:cubicBezTo>
                    <a:pt x="981376" y="2768333"/>
                    <a:pt x="986788" y="2772492"/>
                    <a:pt x="1003875" y="2773494"/>
                  </a:cubicBezTo>
                  <a:cubicBezTo>
                    <a:pt x="1006982" y="2760315"/>
                    <a:pt x="1005078" y="2751045"/>
                    <a:pt x="997712" y="2742877"/>
                  </a:cubicBezTo>
                  <a:lnTo>
                    <a:pt x="996509" y="2741524"/>
                  </a:lnTo>
                  <a:lnTo>
                    <a:pt x="997311" y="2739870"/>
                  </a:lnTo>
                  <a:cubicBezTo>
                    <a:pt x="1000718" y="2733005"/>
                    <a:pt x="1004076" y="2726240"/>
                    <a:pt x="1007433" y="2719526"/>
                  </a:cubicBezTo>
                  <a:cubicBezTo>
                    <a:pt x="1014549" y="2705294"/>
                    <a:pt x="1021264" y="2691815"/>
                    <a:pt x="1027878" y="2677934"/>
                  </a:cubicBezTo>
                  <a:cubicBezTo>
                    <a:pt x="1032638" y="2667912"/>
                    <a:pt x="1039654" y="2660245"/>
                    <a:pt x="1049275" y="2654583"/>
                  </a:cubicBezTo>
                  <a:cubicBezTo>
                    <a:pt x="1060349" y="2648018"/>
                    <a:pt x="1071374" y="2641053"/>
                    <a:pt x="1082097" y="2634288"/>
                  </a:cubicBezTo>
                  <a:cubicBezTo>
                    <a:pt x="1087208" y="2631081"/>
                    <a:pt x="1092320" y="2627824"/>
                    <a:pt x="1097431" y="2624617"/>
                  </a:cubicBezTo>
                  <a:cubicBezTo>
                    <a:pt x="1103644" y="2620708"/>
                    <a:pt x="1107854" y="2617000"/>
                    <a:pt x="1109407" y="2610486"/>
                  </a:cubicBezTo>
                  <a:cubicBezTo>
                    <a:pt x="1114167" y="2590893"/>
                    <a:pt x="1129401" y="2580420"/>
                    <a:pt x="1145186" y="2571951"/>
                  </a:cubicBezTo>
                  <a:cubicBezTo>
                    <a:pt x="1155709" y="2566339"/>
                    <a:pt x="1165781" y="2565487"/>
                    <a:pt x="1173598" y="2569596"/>
                  </a:cubicBezTo>
                  <a:cubicBezTo>
                    <a:pt x="1181415" y="2573705"/>
                    <a:pt x="1186426" y="2582525"/>
                    <a:pt x="1187729" y="2594350"/>
                  </a:cubicBezTo>
                  <a:cubicBezTo>
                    <a:pt x="1187929" y="2596054"/>
                    <a:pt x="1187980" y="2597758"/>
                    <a:pt x="1187929" y="2599462"/>
                  </a:cubicBezTo>
                  <a:cubicBezTo>
                    <a:pt x="1187679" y="2606577"/>
                    <a:pt x="1191488" y="2610987"/>
                    <a:pt x="1199906" y="2613342"/>
                  </a:cubicBezTo>
                  <a:cubicBezTo>
                    <a:pt x="1204215" y="2614545"/>
                    <a:pt x="1208775" y="2615096"/>
                    <a:pt x="1213636" y="2615647"/>
                  </a:cubicBezTo>
                  <a:cubicBezTo>
                    <a:pt x="1215891" y="2615898"/>
                    <a:pt x="1218196" y="2616199"/>
                    <a:pt x="1220551" y="2616549"/>
                  </a:cubicBezTo>
                  <a:lnTo>
                    <a:pt x="1223458" y="2617000"/>
                  </a:lnTo>
                  <a:lnTo>
                    <a:pt x="1222756" y="2619857"/>
                  </a:lnTo>
                  <a:cubicBezTo>
                    <a:pt x="1221654" y="2624417"/>
                    <a:pt x="1220752" y="2628175"/>
                    <a:pt x="1219950" y="2631632"/>
                  </a:cubicBezTo>
                  <a:cubicBezTo>
                    <a:pt x="1221152" y="2632184"/>
                    <a:pt x="1222305" y="2632685"/>
                    <a:pt x="1223458" y="2633186"/>
                  </a:cubicBezTo>
                  <a:cubicBezTo>
                    <a:pt x="1227667" y="2635040"/>
                    <a:pt x="1231676" y="2636744"/>
                    <a:pt x="1235484" y="2639099"/>
                  </a:cubicBezTo>
                  <a:cubicBezTo>
                    <a:pt x="1237639" y="2640402"/>
                    <a:pt x="1239443" y="2642156"/>
                    <a:pt x="1241146" y="2643809"/>
                  </a:cubicBezTo>
                  <a:cubicBezTo>
                    <a:pt x="1244153" y="2646716"/>
                    <a:pt x="1246959" y="2649472"/>
                    <a:pt x="1251820" y="2650223"/>
                  </a:cubicBezTo>
                  <a:cubicBezTo>
                    <a:pt x="1252722" y="2649121"/>
                    <a:pt x="1253624" y="2648018"/>
                    <a:pt x="1254626" y="2646866"/>
                  </a:cubicBezTo>
                  <a:cubicBezTo>
                    <a:pt x="1257532" y="2643458"/>
                    <a:pt x="1260539" y="2639951"/>
                    <a:pt x="1262394" y="2635992"/>
                  </a:cubicBezTo>
                  <a:cubicBezTo>
                    <a:pt x="1269609" y="2620859"/>
                    <a:pt x="1276574" y="2609684"/>
                    <a:pt x="1285093" y="2599863"/>
                  </a:cubicBezTo>
                  <a:cubicBezTo>
                    <a:pt x="1295617" y="2587636"/>
                    <a:pt x="1295516" y="2575810"/>
                    <a:pt x="1284642" y="2560175"/>
                  </a:cubicBezTo>
                  <a:cubicBezTo>
                    <a:pt x="1281736" y="2555966"/>
                    <a:pt x="1278228" y="2551907"/>
                    <a:pt x="1274921" y="2547999"/>
                  </a:cubicBezTo>
                  <a:cubicBezTo>
                    <a:pt x="1273217" y="2546045"/>
                    <a:pt x="1271563" y="2544040"/>
                    <a:pt x="1269910" y="2542035"/>
                  </a:cubicBezTo>
                  <a:cubicBezTo>
                    <a:pt x="1266552" y="2537877"/>
                    <a:pt x="1263245" y="2533667"/>
                    <a:pt x="1259537" y="2529007"/>
                  </a:cubicBezTo>
                  <a:lnTo>
                    <a:pt x="1258184" y="2527253"/>
                  </a:lnTo>
                  <a:lnTo>
                    <a:pt x="1259637" y="2525600"/>
                  </a:lnTo>
                  <a:cubicBezTo>
                    <a:pt x="1261190" y="2523796"/>
                    <a:pt x="1262694" y="2522092"/>
                    <a:pt x="1264097" y="2520488"/>
                  </a:cubicBezTo>
                  <a:cubicBezTo>
                    <a:pt x="1267254" y="2516930"/>
                    <a:pt x="1269960" y="2513874"/>
                    <a:pt x="1272365" y="2510516"/>
                  </a:cubicBezTo>
                  <a:cubicBezTo>
                    <a:pt x="1274771" y="2507209"/>
                    <a:pt x="1276875" y="2503651"/>
                    <a:pt x="1278929" y="2500244"/>
                  </a:cubicBezTo>
                  <a:cubicBezTo>
                    <a:pt x="1279882" y="2498640"/>
                    <a:pt x="1280834" y="2497037"/>
                    <a:pt x="1281786" y="2495533"/>
                  </a:cubicBezTo>
                  <a:lnTo>
                    <a:pt x="1282438" y="2494531"/>
                  </a:lnTo>
                  <a:lnTo>
                    <a:pt x="1302782" y="2490873"/>
                  </a:lnTo>
                  <a:cubicBezTo>
                    <a:pt x="1309998" y="2471030"/>
                    <a:pt x="1303283" y="2456347"/>
                    <a:pt x="1282738" y="2447177"/>
                  </a:cubicBezTo>
                  <a:cubicBezTo>
                    <a:pt x="1280232" y="2446075"/>
                    <a:pt x="1277376" y="2445073"/>
                    <a:pt x="1274219" y="2444271"/>
                  </a:cubicBezTo>
                  <a:cubicBezTo>
                    <a:pt x="1264248" y="2441715"/>
                    <a:pt x="1258134" y="2435201"/>
                    <a:pt x="1255578" y="2424377"/>
                  </a:cubicBezTo>
                  <a:cubicBezTo>
                    <a:pt x="1253724" y="2416510"/>
                    <a:pt x="1251770" y="2408642"/>
                    <a:pt x="1249766" y="2400825"/>
                  </a:cubicBezTo>
                  <a:cubicBezTo>
                    <a:pt x="1247160" y="2390503"/>
                    <a:pt x="1244454" y="2379779"/>
                    <a:pt x="1242149" y="2369206"/>
                  </a:cubicBezTo>
                  <a:cubicBezTo>
                    <a:pt x="1240746" y="2362892"/>
                    <a:pt x="1240595" y="2355927"/>
                    <a:pt x="1241648" y="2349513"/>
                  </a:cubicBezTo>
                  <a:cubicBezTo>
                    <a:pt x="1243602" y="2337787"/>
                    <a:pt x="1246007" y="2326312"/>
                    <a:pt x="1248312" y="2315187"/>
                  </a:cubicBezTo>
                  <a:cubicBezTo>
                    <a:pt x="1249215" y="2310928"/>
                    <a:pt x="1250066" y="2306769"/>
                    <a:pt x="1250868" y="2302760"/>
                  </a:cubicBezTo>
                  <a:lnTo>
                    <a:pt x="1251069" y="2301808"/>
                  </a:lnTo>
                  <a:lnTo>
                    <a:pt x="1251820" y="2301206"/>
                  </a:lnTo>
                  <a:cubicBezTo>
                    <a:pt x="1256881" y="2297198"/>
                    <a:pt x="1261792" y="2293189"/>
                    <a:pt x="1266603" y="2289330"/>
                  </a:cubicBezTo>
                  <a:cubicBezTo>
                    <a:pt x="1277176" y="2280762"/>
                    <a:pt x="1287198" y="2272644"/>
                    <a:pt x="1297671" y="2264977"/>
                  </a:cubicBezTo>
                  <a:cubicBezTo>
                    <a:pt x="1319920" y="2248641"/>
                    <a:pt x="1337559" y="2228146"/>
                    <a:pt x="1351840" y="2210207"/>
                  </a:cubicBezTo>
                  <a:cubicBezTo>
                    <a:pt x="1362463" y="2196877"/>
                    <a:pt x="1363365" y="2186705"/>
                    <a:pt x="1354897" y="2175079"/>
                  </a:cubicBezTo>
                  <a:cubicBezTo>
                    <a:pt x="1353844" y="2173626"/>
                    <a:pt x="1353994" y="2171973"/>
                    <a:pt x="1354145" y="2170018"/>
                  </a:cubicBezTo>
                  <a:cubicBezTo>
                    <a:pt x="1354195" y="2169166"/>
                    <a:pt x="1354295" y="2168114"/>
                    <a:pt x="1354295" y="2166861"/>
                  </a:cubicBezTo>
                  <a:lnTo>
                    <a:pt x="1354295" y="2166160"/>
                  </a:lnTo>
                  <a:lnTo>
                    <a:pt x="1368526" y="2139952"/>
                  </a:lnTo>
                  <a:cubicBezTo>
                    <a:pt x="1367825" y="2137747"/>
                    <a:pt x="1367173" y="2135442"/>
                    <a:pt x="1366522" y="2133137"/>
                  </a:cubicBezTo>
                  <a:cubicBezTo>
                    <a:pt x="1364818" y="2127224"/>
                    <a:pt x="1363065" y="2121111"/>
                    <a:pt x="1360509" y="2115398"/>
                  </a:cubicBezTo>
                  <a:cubicBezTo>
                    <a:pt x="1352140" y="2096908"/>
                    <a:pt x="1351689" y="2078216"/>
                    <a:pt x="1359206" y="2058222"/>
                  </a:cubicBezTo>
                  <a:cubicBezTo>
                    <a:pt x="1362313" y="2049904"/>
                    <a:pt x="1365921" y="2041886"/>
                    <a:pt x="1369980" y="2034320"/>
                  </a:cubicBezTo>
                  <a:cubicBezTo>
                    <a:pt x="1373638" y="2027455"/>
                    <a:pt x="1377696" y="2020790"/>
                    <a:pt x="1381555" y="2014326"/>
                  </a:cubicBezTo>
                  <a:cubicBezTo>
                    <a:pt x="1383008" y="2011921"/>
                    <a:pt x="1384462" y="2009516"/>
                    <a:pt x="1385864" y="2007160"/>
                  </a:cubicBezTo>
                  <a:cubicBezTo>
                    <a:pt x="1384311" y="2002400"/>
                    <a:pt x="1382958" y="1998341"/>
                    <a:pt x="1381305" y="1993330"/>
                  </a:cubicBezTo>
                  <a:lnTo>
                    <a:pt x="1380653" y="1991275"/>
                  </a:lnTo>
                  <a:lnTo>
                    <a:pt x="1382507" y="1990173"/>
                  </a:lnTo>
                  <a:cubicBezTo>
                    <a:pt x="1384060" y="1989271"/>
                    <a:pt x="1385564" y="1988319"/>
                    <a:pt x="1387017" y="1987367"/>
                  </a:cubicBezTo>
                  <a:cubicBezTo>
                    <a:pt x="1392880" y="1983608"/>
                    <a:pt x="1398944" y="1979650"/>
                    <a:pt x="1406861" y="1980151"/>
                  </a:cubicBezTo>
                  <a:lnTo>
                    <a:pt x="1407663" y="1980151"/>
                  </a:lnTo>
                  <a:cubicBezTo>
                    <a:pt x="1407663" y="1980151"/>
                    <a:pt x="1423848" y="1991827"/>
                    <a:pt x="1423848" y="1991827"/>
                  </a:cubicBezTo>
                  <a:lnTo>
                    <a:pt x="1462633" y="1965669"/>
                  </a:lnTo>
                  <a:lnTo>
                    <a:pt x="1462633" y="1965218"/>
                  </a:lnTo>
                  <a:cubicBezTo>
                    <a:pt x="1463886" y="1957802"/>
                    <a:pt x="1464788" y="1951889"/>
                    <a:pt x="1459927" y="1945425"/>
                  </a:cubicBezTo>
                  <a:cubicBezTo>
                    <a:pt x="1458023" y="1945325"/>
                    <a:pt x="1456018" y="1945274"/>
                    <a:pt x="1454014" y="1945224"/>
                  </a:cubicBezTo>
                  <a:cubicBezTo>
                    <a:pt x="1448252" y="1945074"/>
                    <a:pt x="1442338" y="1944873"/>
                    <a:pt x="1436275" y="1944122"/>
                  </a:cubicBezTo>
                  <a:cubicBezTo>
                    <a:pt x="1434371" y="1943871"/>
                    <a:pt x="1432467" y="1943671"/>
                    <a:pt x="1430563" y="1943470"/>
                  </a:cubicBezTo>
                  <a:cubicBezTo>
                    <a:pt x="1415580" y="1941767"/>
                    <a:pt x="1400096" y="1939963"/>
                    <a:pt x="1388069" y="1929439"/>
                  </a:cubicBezTo>
                  <a:cubicBezTo>
                    <a:pt x="1377095" y="1919818"/>
                    <a:pt x="1367324" y="1915409"/>
                    <a:pt x="1355498" y="1914707"/>
                  </a:cubicBezTo>
                  <a:lnTo>
                    <a:pt x="1353994" y="1914607"/>
                  </a:lnTo>
                  <a:lnTo>
                    <a:pt x="1353293" y="1913254"/>
                  </a:lnTo>
                  <a:cubicBezTo>
                    <a:pt x="1351990" y="1910698"/>
                    <a:pt x="1350687" y="1908143"/>
                    <a:pt x="1349435" y="1905637"/>
                  </a:cubicBezTo>
                  <a:cubicBezTo>
                    <a:pt x="1346428" y="1899624"/>
                    <a:pt x="1343572" y="1893912"/>
                    <a:pt x="1340214" y="1888399"/>
                  </a:cubicBezTo>
                  <a:cubicBezTo>
                    <a:pt x="1333650" y="1877626"/>
                    <a:pt x="1334352" y="1867403"/>
                    <a:pt x="1342219" y="1857181"/>
                  </a:cubicBezTo>
                  <a:cubicBezTo>
                    <a:pt x="1347931" y="1849815"/>
                    <a:pt x="1352992" y="1842448"/>
                    <a:pt x="1352090" y="1833378"/>
                  </a:cubicBezTo>
                  <a:cubicBezTo>
                    <a:pt x="1350437" y="1816742"/>
                    <a:pt x="1358154" y="1803914"/>
                    <a:pt x="1366823" y="1792539"/>
                  </a:cubicBezTo>
                  <a:cubicBezTo>
                    <a:pt x="1368577" y="1790234"/>
                    <a:pt x="1370380" y="1788029"/>
                    <a:pt x="1372184" y="1785774"/>
                  </a:cubicBezTo>
                  <a:cubicBezTo>
                    <a:pt x="1374790" y="1782567"/>
                    <a:pt x="1377446" y="1779260"/>
                    <a:pt x="1379851" y="1775852"/>
                  </a:cubicBezTo>
                  <a:lnTo>
                    <a:pt x="1380302" y="1775201"/>
                  </a:lnTo>
                  <a:cubicBezTo>
                    <a:pt x="1383610" y="1770540"/>
                    <a:pt x="1386516" y="1766531"/>
                    <a:pt x="1385213" y="1759566"/>
                  </a:cubicBezTo>
                  <a:cubicBezTo>
                    <a:pt x="1383610" y="1757913"/>
                    <a:pt x="1381956" y="1756159"/>
                    <a:pt x="1380202" y="1754355"/>
                  </a:cubicBezTo>
                  <a:cubicBezTo>
                    <a:pt x="1375793" y="1749694"/>
                    <a:pt x="1370782" y="1744383"/>
                    <a:pt x="1365520" y="1739672"/>
                  </a:cubicBezTo>
                  <a:cubicBezTo>
                    <a:pt x="1348783" y="1724639"/>
                    <a:pt x="1341317" y="1706750"/>
                    <a:pt x="1342770" y="1685053"/>
                  </a:cubicBezTo>
                  <a:lnTo>
                    <a:pt x="1342770" y="1684151"/>
                  </a:lnTo>
                  <a:cubicBezTo>
                    <a:pt x="1343421" y="1675431"/>
                    <a:pt x="1344073" y="1665510"/>
                    <a:pt x="1340815" y="1658344"/>
                  </a:cubicBezTo>
                  <a:cubicBezTo>
                    <a:pt x="1332698" y="1640455"/>
                    <a:pt x="1332948" y="1622014"/>
                    <a:pt x="1333850" y="1606079"/>
                  </a:cubicBezTo>
                  <a:cubicBezTo>
                    <a:pt x="1335053" y="1584081"/>
                    <a:pt x="1330342" y="1569950"/>
                    <a:pt x="1318216" y="1558975"/>
                  </a:cubicBezTo>
                  <a:cubicBezTo>
                    <a:pt x="1317214" y="1558124"/>
                    <a:pt x="1317013" y="1556971"/>
                    <a:pt x="1316863" y="1555919"/>
                  </a:cubicBezTo>
                  <a:cubicBezTo>
                    <a:pt x="1316813" y="1555518"/>
                    <a:pt x="1316713" y="1555017"/>
                    <a:pt x="1316562" y="1554466"/>
                  </a:cubicBezTo>
                  <a:lnTo>
                    <a:pt x="1316262" y="1553313"/>
                  </a:lnTo>
                  <a:lnTo>
                    <a:pt x="1316913" y="1552311"/>
                  </a:lnTo>
                  <a:cubicBezTo>
                    <a:pt x="1317264" y="1551760"/>
                    <a:pt x="1317614" y="1551108"/>
                    <a:pt x="1317965" y="1550457"/>
                  </a:cubicBezTo>
                  <a:cubicBezTo>
                    <a:pt x="1318967" y="1548653"/>
                    <a:pt x="1320170" y="1546398"/>
                    <a:pt x="1322024" y="1544694"/>
                  </a:cubicBezTo>
                  <a:cubicBezTo>
                    <a:pt x="1323978" y="1542940"/>
                    <a:pt x="1325883" y="1541136"/>
                    <a:pt x="1327787" y="1539332"/>
                  </a:cubicBezTo>
                  <a:cubicBezTo>
                    <a:pt x="1333950" y="1533570"/>
                    <a:pt x="1340314" y="1527556"/>
                    <a:pt x="1347630" y="1523197"/>
                  </a:cubicBezTo>
                  <a:cubicBezTo>
                    <a:pt x="1358855" y="1516432"/>
                    <a:pt x="1363716" y="1507613"/>
                    <a:pt x="1363365" y="1494534"/>
                  </a:cubicBezTo>
                  <a:cubicBezTo>
                    <a:pt x="1363165" y="1487619"/>
                    <a:pt x="1363966" y="1480904"/>
                    <a:pt x="1364768" y="1475191"/>
                  </a:cubicBezTo>
                  <a:cubicBezTo>
                    <a:pt x="1371283" y="1427737"/>
                    <a:pt x="1371082" y="1379181"/>
                    <a:pt x="1370881" y="1332227"/>
                  </a:cubicBezTo>
                  <a:cubicBezTo>
                    <a:pt x="1370881" y="1320952"/>
                    <a:pt x="1370782" y="1309678"/>
                    <a:pt x="1370831" y="1298353"/>
                  </a:cubicBezTo>
                  <a:cubicBezTo>
                    <a:pt x="1370831" y="1288732"/>
                    <a:pt x="1368677" y="1281516"/>
                    <a:pt x="1364016" y="1275703"/>
                  </a:cubicBezTo>
                  <a:cubicBezTo>
                    <a:pt x="1353894" y="1263025"/>
                    <a:pt x="1349886" y="1248142"/>
                    <a:pt x="1346077" y="1233811"/>
                  </a:cubicBezTo>
                  <a:cubicBezTo>
                    <a:pt x="1339112" y="1207804"/>
                    <a:pt x="1346278" y="1188812"/>
                    <a:pt x="1368025" y="1175733"/>
                  </a:cubicBezTo>
                  <a:lnTo>
                    <a:pt x="1369178" y="1175032"/>
                  </a:lnTo>
                  <a:lnTo>
                    <a:pt x="1370431" y="1175483"/>
                  </a:lnTo>
                  <a:cubicBezTo>
                    <a:pt x="1371784" y="1175984"/>
                    <a:pt x="1373137" y="1176535"/>
                    <a:pt x="1374490" y="1177086"/>
                  </a:cubicBezTo>
                  <a:cubicBezTo>
                    <a:pt x="1377346" y="1178239"/>
                    <a:pt x="1380252" y="1179391"/>
                    <a:pt x="1383259" y="1180394"/>
                  </a:cubicBezTo>
                  <a:cubicBezTo>
                    <a:pt x="1394634" y="1184252"/>
                    <a:pt x="1403153" y="1182599"/>
                    <a:pt x="1410919" y="1175032"/>
                  </a:cubicBezTo>
                  <a:cubicBezTo>
                    <a:pt x="1428358" y="1157944"/>
                    <a:pt x="1448402" y="1153384"/>
                    <a:pt x="1472154" y="1161051"/>
                  </a:cubicBezTo>
                  <a:cubicBezTo>
                    <a:pt x="1494303" y="1168217"/>
                    <a:pt x="1497610" y="1162354"/>
                    <a:pt x="1506480" y="1146770"/>
                  </a:cubicBezTo>
                  <a:lnTo>
                    <a:pt x="1508183" y="1143813"/>
                  </a:lnTo>
                  <a:cubicBezTo>
                    <a:pt x="1509987" y="1140706"/>
                    <a:pt x="1510238" y="1135996"/>
                    <a:pt x="1510439" y="1131837"/>
                  </a:cubicBezTo>
                  <a:lnTo>
                    <a:pt x="1510439" y="1131336"/>
                  </a:lnTo>
                  <a:cubicBezTo>
                    <a:pt x="1510739" y="1125323"/>
                    <a:pt x="1510689" y="1119259"/>
                    <a:pt x="1510588" y="1113396"/>
                  </a:cubicBezTo>
                  <a:cubicBezTo>
                    <a:pt x="1510588" y="1110991"/>
                    <a:pt x="1510588" y="1108586"/>
                    <a:pt x="1510588" y="1106281"/>
                  </a:cubicBezTo>
                  <a:lnTo>
                    <a:pt x="1510588" y="1105028"/>
                  </a:lnTo>
                  <a:lnTo>
                    <a:pt x="1511541" y="1104226"/>
                  </a:lnTo>
                  <a:cubicBezTo>
                    <a:pt x="1512743" y="1103224"/>
                    <a:pt x="1513795" y="1102272"/>
                    <a:pt x="1514698" y="1101420"/>
                  </a:cubicBezTo>
                  <a:cubicBezTo>
                    <a:pt x="1516752" y="1099516"/>
                    <a:pt x="1518506" y="1097862"/>
                    <a:pt x="1520761" y="1096960"/>
                  </a:cubicBezTo>
                  <a:cubicBezTo>
                    <a:pt x="1532888" y="1091999"/>
                    <a:pt x="1538400" y="1083681"/>
                    <a:pt x="1539853" y="1068247"/>
                  </a:cubicBezTo>
                  <a:cubicBezTo>
                    <a:pt x="1541757" y="1047852"/>
                    <a:pt x="1551278" y="1032118"/>
                    <a:pt x="1568165" y="1021495"/>
                  </a:cubicBezTo>
                  <a:cubicBezTo>
                    <a:pt x="1579991" y="1014028"/>
                    <a:pt x="1591266" y="1005159"/>
                    <a:pt x="1602190" y="996590"/>
                  </a:cubicBezTo>
                  <a:cubicBezTo>
                    <a:pt x="1607201" y="992631"/>
                    <a:pt x="1612212" y="988722"/>
                    <a:pt x="1617273" y="984914"/>
                  </a:cubicBezTo>
                  <a:cubicBezTo>
                    <a:pt x="1622234" y="981156"/>
                    <a:pt x="1623637" y="976746"/>
                    <a:pt x="1621532" y="971434"/>
                  </a:cubicBezTo>
                  <a:cubicBezTo>
                    <a:pt x="1620380" y="968428"/>
                    <a:pt x="1619227" y="965421"/>
                    <a:pt x="1618075" y="962365"/>
                  </a:cubicBezTo>
                  <a:cubicBezTo>
                    <a:pt x="1613966" y="951641"/>
                    <a:pt x="1609756" y="940517"/>
                    <a:pt x="1604645" y="930144"/>
                  </a:cubicBezTo>
                  <a:cubicBezTo>
                    <a:pt x="1598933" y="918468"/>
                    <a:pt x="1593772" y="905590"/>
                    <a:pt x="1595074" y="890306"/>
                  </a:cubicBezTo>
                  <a:cubicBezTo>
                    <a:pt x="1596026" y="879683"/>
                    <a:pt x="1593921" y="869461"/>
                    <a:pt x="1591667" y="858637"/>
                  </a:cubicBezTo>
                  <a:lnTo>
                    <a:pt x="1590664" y="853726"/>
                  </a:lnTo>
                  <a:cubicBezTo>
                    <a:pt x="1587808" y="839144"/>
                    <a:pt x="1579540" y="827969"/>
                    <a:pt x="1564708" y="818699"/>
                  </a:cubicBezTo>
                  <a:cubicBezTo>
                    <a:pt x="1562954" y="817597"/>
                    <a:pt x="1561100" y="816594"/>
                    <a:pt x="1559246" y="815642"/>
                  </a:cubicBezTo>
                  <a:cubicBezTo>
                    <a:pt x="1557592" y="814790"/>
                    <a:pt x="1555988" y="813938"/>
                    <a:pt x="1554385" y="812986"/>
                  </a:cubicBezTo>
                  <a:cubicBezTo>
                    <a:pt x="1543060" y="806171"/>
                    <a:pt x="1537899" y="797152"/>
                    <a:pt x="1538651" y="785426"/>
                  </a:cubicBezTo>
                  <a:cubicBezTo>
                    <a:pt x="1539051" y="778661"/>
                    <a:pt x="1537748" y="772698"/>
                    <a:pt x="1534491" y="766584"/>
                  </a:cubicBezTo>
                  <a:cubicBezTo>
                    <a:pt x="1521162" y="741429"/>
                    <a:pt x="1518406" y="719882"/>
                    <a:pt x="1525672" y="698735"/>
                  </a:cubicBezTo>
                  <a:cubicBezTo>
                    <a:pt x="1527776" y="692672"/>
                    <a:pt x="1527927" y="688713"/>
                    <a:pt x="1527125" y="687661"/>
                  </a:cubicBezTo>
                  <a:cubicBezTo>
                    <a:pt x="1521863" y="680596"/>
                    <a:pt x="1520962" y="672678"/>
                    <a:pt x="1520059" y="665061"/>
                  </a:cubicBezTo>
                  <a:cubicBezTo>
                    <a:pt x="1519709" y="661904"/>
                    <a:pt x="1519307" y="658597"/>
                    <a:pt x="1518606" y="655440"/>
                  </a:cubicBezTo>
                  <a:lnTo>
                    <a:pt x="1502271" y="643464"/>
                  </a:lnTo>
                  <a:cubicBezTo>
                    <a:pt x="1501117" y="644466"/>
                    <a:pt x="1499965" y="645468"/>
                    <a:pt x="1498813" y="646471"/>
                  </a:cubicBezTo>
                  <a:cubicBezTo>
                    <a:pt x="1489292" y="654789"/>
                    <a:pt x="1479420" y="663408"/>
                    <a:pt x="1464487" y="661403"/>
                  </a:cubicBezTo>
                  <a:cubicBezTo>
                    <a:pt x="1463736" y="661504"/>
                    <a:pt x="1461581" y="663458"/>
                    <a:pt x="1460829" y="664109"/>
                  </a:cubicBezTo>
                  <a:cubicBezTo>
                    <a:pt x="1455668" y="668669"/>
                    <a:pt x="1450557" y="673329"/>
                    <a:pt x="1445546" y="677890"/>
                  </a:cubicBezTo>
                  <a:lnTo>
                    <a:pt x="1441036" y="681999"/>
                  </a:lnTo>
                  <a:lnTo>
                    <a:pt x="1437327" y="708356"/>
                  </a:lnTo>
                  <a:lnTo>
                    <a:pt x="1434522" y="707805"/>
                  </a:lnTo>
                  <a:cubicBezTo>
                    <a:pt x="1429611" y="706853"/>
                    <a:pt x="1424850" y="705500"/>
                    <a:pt x="1420240" y="704247"/>
                  </a:cubicBezTo>
                  <a:cubicBezTo>
                    <a:pt x="1410318" y="701491"/>
                    <a:pt x="1400998" y="698886"/>
                    <a:pt x="1391026" y="700038"/>
                  </a:cubicBezTo>
                  <a:cubicBezTo>
                    <a:pt x="1384612" y="700790"/>
                    <a:pt x="1378148" y="700589"/>
                    <a:pt x="1371884" y="700439"/>
                  </a:cubicBezTo>
                  <a:cubicBezTo>
                    <a:pt x="1362814" y="700189"/>
                    <a:pt x="1354245" y="699988"/>
                    <a:pt x="1345727" y="702193"/>
                  </a:cubicBezTo>
                  <a:cubicBezTo>
                    <a:pt x="1345275" y="702945"/>
                    <a:pt x="1344824" y="703696"/>
                    <a:pt x="1344374" y="704398"/>
                  </a:cubicBezTo>
                  <a:cubicBezTo>
                    <a:pt x="1343221" y="706202"/>
                    <a:pt x="1342269" y="707805"/>
                    <a:pt x="1341918" y="709308"/>
                  </a:cubicBezTo>
                  <a:cubicBezTo>
                    <a:pt x="1338009" y="725845"/>
                    <a:pt x="1326484" y="736318"/>
                    <a:pt x="1315309" y="746490"/>
                  </a:cubicBezTo>
                  <a:cubicBezTo>
                    <a:pt x="1313556" y="748094"/>
                    <a:pt x="1311802" y="749697"/>
                    <a:pt x="1310048" y="751301"/>
                  </a:cubicBezTo>
                  <a:cubicBezTo>
                    <a:pt x="1303484" y="757514"/>
                    <a:pt x="1295817" y="757514"/>
                    <a:pt x="1289102" y="751301"/>
                  </a:cubicBezTo>
                  <a:lnTo>
                    <a:pt x="1287950" y="750249"/>
                  </a:lnTo>
                  <a:lnTo>
                    <a:pt x="1288250" y="748745"/>
                  </a:lnTo>
                  <a:cubicBezTo>
                    <a:pt x="1290655" y="737671"/>
                    <a:pt x="1295666" y="728400"/>
                    <a:pt x="1303283" y="721135"/>
                  </a:cubicBezTo>
                  <a:cubicBezTo>
                    <a:pt x="1310900" y="713819"/>
                    <a:pt x="1314658" y="706152"/>
                    <a:pt x="1315560" y="696230"/>
                  </a:cubicBezTo>
                  <a:cubicBezTo>
                    <a:pt x="1317013" y="679142"/>
                    <a:pt x="1325782" y="668218"/>
                    <a:pt x="1341016" y="664711"/>
                  </a:cubicBezTo>
                  <a:cubicBezTo>
                    <a:pt x="1343471" y="664159"/>
                    <a:pt x="1346077" y="663057"/>
                    <a:pt x="1348933" y="661353"/>
                  </a:cubicBezTo>
                  <a:cubicBezTo>
                    <a:pt x="1354396" y="658146"/>
                    <a:pt x="1357603" y="652784"/>
                    <a:pt x="1357652" y="646671"/>
                  </a:cubicBezTo>
                  <a:cubicBezTo>
                    <a:pt x="1357753" y="640507"/>
                    <a:pt x="1354596" y="634795"/>
                    <a:pt x="1349184" y="631438"/>
                  </a:cubicBezTo>
                  <a:cubicBezTo>
                    <a:pt x="1347881" y="630636"/>
                    <a:pt x="1346278" y="630084"/>
                    <a:pt x="1344624" y="629483"/>
                  </a:cubicBezTo>
                  <a:cubicBezTo>
                    <a:pt x="1340415" y="627980"/>
                    <a:pt x="1335103" y="626126"/>
                    <a:pt x="1331946" y="619361"/>
                  </a:cubicBezTo>
                  <a:lnTo>
                    <a:pt x="1330443" y="616104"/>
                  </a:lnTo>
                  <a:lnTo>
                    <a:pt x="1333950" y="615553"/>
                  </a:lnTo>
                  <a:cubicBezTo>
                    <a:pt x="1335053" y="615352"/>
                    <a:pt x="1336105" y="615152"/>
                    <a:pt x="1337057" y="614951"/>
                  </a:cubicBezTo>
                  <a:cubicBezTo>
                    <a:pt x="1339312" y="614450"/>
                    <a:pt x="1341417" y="613999"/>
                    <a:pt x="1343622" y="614300"/>
                  </a:cubicBezTo>
                  <a:lnTo>
                    <a:pt x="1344523" y="614450"/>
                  </a:lnTo>
                  <a:cubicBezTo>
                    <a:pt x="1353493" y="615703"/>
                    <a:pt x="1362764" y="617056"/>
                    <a:pt x="1371784" y="619311"/>
                  </a:cubicBezTo>
                  <a:cubicBezTo>
                    <a:pt x="1381455" y="621716"/>
                    <a:pt x="1387819" y="617858"/>
                    <a:pt x="1394434" y="611343"/>
                  </a:cubicBezTo>
                  <a:cubicBezTo>
                    <a:pt x="1396939" y="608888"/>
                    <a:pt x="1399294" y="606382"/>
                    <a:pt x="1401699" y="603827"/>
                  </a:cubicBezTo>
                  <a:cubicBezTo>
                    <a:pt x="1408966" y="596010"/>
                    <a:pt x="1416532" y="587892"/>
                    <a:pt x="1427305" y="583231"/>
                  </a:cubicBezTo>
                  <a:cubicBezTo>
                    <a:pt x="1429661" y="582179"/>
                    <a:pt x="1432417" y="578471"/>
                    <a:pt x="1434321" y="573761"/>
                  </a:cubicBezTo>
                  <a:cubicBezTo>
                    <a:pt x="1442690" y="552965"/>
                    <a:pt x="1457171" y="537982"/>
                    <a:pt x="1470250" y="526006"/>
                  </a:cubicBezTo>
                  <a:cubicBezTo>
                    <a:pt x="1477767" y="519141"/>
                    <a:pt x="1485784" y="510472"/>
                    <a:pt x="1488490" y="498245"/>
                  </a:cubicBezTo>
                  <a:cubicBezTo>
                    <a:pt x="1491196" y="485868"/>
                    <a:pt x="1500166" y="479002"/>
                    <a:pt x="1506680" y="474944"/>
                  </a:cubicBezTo>
                  <a:cubicBezTo>
                    <a:pt x="1516251" y="468930"/>
                    <a:pt x="1526223" y="462266"/>
                    <a:pt x="1537999" y="453947"/>
                  </a:cubicBezTo>
                  <a:cubicBezTo>
                    <a:pt x="1541406" y="451542"/>
                    <a:pt x="1545215" y="448586"/>
                    <a:pt x="1547370" y="445078"/>
                  </a:cubicBezTo>
                  <a:cubicBezTo>
                    <a:pt x="1560448" y="424032"/>
                    <a:pt x="1576684" y="399728"/>
                    <a:pt x="1597830" y="379283"/>
                  </a:cubicBezTo>
                  <a:cubicBezTo>
                    <a:pt x="1601188" y="376026"/>
                    <a:pt x="1604094" y="371316"/>
                    <a:pt x="1605598" y="366606"/>
                  </a:cubicBezTo>
                  <a:cubicBezTo>
                    <a:pt x="1609456" y="354729"/>
                    <a:pt x="1611260" y="344206"/>
                    <a:pt x="1611160" y="333633"/>
                  </a:cubicBezTo>
                  <a:cubicBezTo>
                    <a:pt x="1605297" y="329574"/>
                    <a:pt x="1599634" y="325666"/>
                    <a:pt x="1594172" y="321907"/>
                  </a:cubicBezTo>
                  <a:cubicBezTo>
                    <a:pt x="1590565" y="322809"/>
                    <a:pt x="1587257" y="323611"/>
                    <a:pt x="1583599" y="324513"/>
                  </a:cubicBezTo>
                  <a:lnTo>
                    <a:pt x="1578037" y="325866"/>
                  </a:lnTo>
                  <a:lnTo>
                    <a:pt x="1577586" y="322960"/>
                  </a:lnTo>
                  <a:cubicBezTo>
                    <a:pt x="1575982" y="312687"/>
                    <a:pt x="1574930" y="301763"/>
                    <a:pt x="1578187" y="291691"/>
                  </a:cubicBezTo>
                  <a:lnTo>
                    <a:pt x="1578438" y="290889"/>
                  </a:lnTo>
                  <a:lnTo>
                    <a:pt x="1579139" y="290388"/>
                  </a:lnTo>
                  <a:cubicBezTo>
                    <a:pt x="1587608" y="284024"/>
                    <a:pt x="1595074" y="286830"/>
                    <a:pt x="1601689" y="289286"/>
                  </a:cubicBezTo>
                  <a:cubicBezTo>
                    <a:pt x="1605297" y="290639"/>
                    <a:pt x="1608704" y="291891"/>
                    <a:pt x="1612162" y="291741"/>
                  </a:cubicBezTo>
                  <a:cubicBezTo>
                    <a:pt x="1615168" y="283172"/>
                    <a:pt x="1614016" y="274403"/>
                    <a:pt x="1612763" y="265183"/>
                  </a:cubicBezTo>
                  <a:lnTo>
                    <a:pt x="1612612" y="263980"/>
                  </a:lnTo>
                  <a:lnTo>
                    <a:pt x="1598281" y="256313"/>
                  </a:lnTo>
                  <a:lnTo>
                    <a:pt x="1597880" y="255511"/>
                  </a:lnTo>
                  <a:cubicBezTo>
                    <a:pt x="1595425" y="250500"/>
                    <a:pt x="1595375" y="245339"/>
                    <a:pt x="1595325" y="240779"/>
                  </a:cubicBezTo>
                  <a:cubicBezTo>
                    <a:pt x="1595275" y="235517"/>
                    <a:pt x="1595224" y="231158"/>
                    <a:pt x="1591917" y="227750"/>
                  </a:cubicBezTo>
                  <a:lnTo>
                    <a:pt x="1581444" y="239176"/>
                  </a:lnTo>
                  <a:lnTo>
                    <a:pt x="1579490" y="237372"/>
                  </a:lnTo>
                  <a:cubicBezTo>
                    <a:pt x="1568816" y="227600"/>
                    <a:pt x="1566912" y="216325"/>
                    <a:pt x="1566511" y="206554"/>
                  </a:cubicBezTo>
                  <a:cubicBezTo>
                    <a:pt x="1566411" y="203547"/>
                    <a:pt x="1565309" y="196632"/>
                    <a:pt x="1557692" y="196632"/>
                  </a:cubicBezTo>
                  <a:lnTo>
                    <a:pt x="1557491" y="196632"/>
                  </a:lnTo>
                  <a:cubicBezTo>
                    <a:pt x="1542409" y="196632"/>
                    <a:pt x="1535443" y="186009"/>
                    <a:pt x="1529781" y="177490"/>
                  </a:cubicBezTo>
                  <a:cubicBezTo>
                    <a:pt x="1527927" y="174634"/>
                    <a:pt x="1526123" y="171777"/>
                    <a:pt x="1524318" y="168921"/>
                  </a:cubicBezTo>
                  <a:cubicBezTo>
                    <a:pt x="1519257" y="160853"/>
                    <a:pt x="1514447" y="153237"/>
                    <a:pt x="1508985" y="147224"/>
                  </a:cubicBezTo>
                  <a:lnTo>
                    <a:pt x="1502521" y="146171"/>
                  </a:lnTo>
                  <a:cubicBezTo>
                    <a:pt x="1498712" y="145570"/>
                    <a:pt x="1495405" y="145019"/>
                    <a:pt x="1492098" y="144518"/>
                  </a:cubicBezTo>
                  <a:cubicBezTo>
                    <a:pt x="1491346" y="144417"/>
                    <a:pt x="1490494" y="144167"/>
                    <a:pt x="1489593" y="143966"/>
                  </a:cubicBezTo>
                  <a:cubicBezTo>
                    <a:pt x="1488891" y="143766"/>
                    <a:pt x="1487839" y="143515"/>
                    <a:pt x="1487238" y="143465"/>
                  </a:cubicBezTo>
                  <a:cubicBezTo>
                    <a:pt x="1479370" y="150180"/>
                    <a:pt x="1470300" y="149679"/>
                    <a:pt x="1462233" y="149278"/>
                  </a:cubicBezTo>
                  <a:cubicBezTo>
                    <a:pt x="1459476" y="149128"/>
                    <a:pt x="1456820" y="148977"/>
                    <a:pt x="1454265" y="149078"/>
                  </a:cubicBezTo>
                  <a:cubicBezTo>
                    <a:pt x="1452561" y="149178"/>
                    <a:pt x="1450858" y="149228"/>
                    <a:pt x="1449103" y="149228"/>
                  </a:cubicBezTo>
                  <a:cubicBezTo>
                    <a:pt x="1439933" y="149478"/>
                    <a:pt x="1431264" y="149729"/>
                    <a:pt x="1423247" y="154289"/>
                  </a:cubicBezTo>
                  <a:cubicBezTo>
                    <a:pt x="1417534" y="157546"/>
                    <a:pt x="1412072" y="155692"/>
                    <a:pt x="1407412" y="153688"/>
                  </a:cubicBezTo>
                  <a:cubicBezTo>
                    <a:pt x="1397440" y="149478"/>
                    <a:pt x="1395586" y="150581"/>
                    <a:pt x="1391427" y="157697"/>
                  </a:cubicBezTo>
                  <a:cubicBezTo>
                    <a:pt x="1388721" y="162307"/>
                    <a:pt x="1386215" y="167167"/>
                    <a:pt x="1383860" y="171928"/>
                  </a:cubicBezTo>
                  <a:cubicBezTo>
                    <a:pt x="1381705" y="176187"/>
                    <a:pt x="1379501" y="180597"/>
                    <a:pt x="1377045" y="184806"/>
                  </a:cubicBezTo>
                  <a:cubicBezTo>
                    <a:pt x="1373938" y="190268"/>
                    <a:pt x="1370681" y="193475"/>
                    <a:pt x="1367474" y="194227"/>
                  </a:cubicBezTo>
                  <a:cubicBezTo>
                    <a:pt x="1358755" y="196231"/>
                    <a:pt x="1346879" y="199037"/>
                    <a:pt x="1335153" y="190569"/>
                  </a:cubicBezTo>
                  <a:lnTo>
                    <a:pt x="1333650" y="189466"/>
                  </a:lnTo>
                  <a:lnTo>
                    <a:pt x="1334101" y="187662"/>
                  </a:lnTo>
                  <a:cubicBezTo>
                    <a:pt x="1336606" y="177991"/>
                    <a:pt x="1340314" y="169122"/>
                    <a:pt x="1343822" y="160503"/>
                  </a:cubicBezTo>
                  <a:cubicBezTo>
                    <a:pt x="1345025" y="157546"/>
                    <a:pt x="1346278" y="154590"/>
                    <a:pt x="1347430" y="151633"/>
                  </a:cubicBezTo>
                  <a:cubicBezTo>
                    <a:pt x="1353043" y="137352"/>
                    <a:pt x="1353644" y="125275"/>
                    <a:pt x="1349234" y="112748"/>
                  </a:cubicBezTo>
                  <a:lnTo>
                    <a:pt x="1297721" y="110593"/>
                  </a:lnTo>
                  <a:lnTo>
                    <a:pt x="1296669" y="99719"/>
                  </a:lnTo>
                  <a:cubicBezTo>
                    <a:pt x="1295466" y="99719"/>
                    <a:pt x="1294263" y="99819"/>
                    <a:pt x="1293061" y="99920"/>
                  </a:cubicBezTo>
                  <a:cubicBezTo>
                    <a:pt x="1288100" y="100220"/>
                    <a:pt x="1282939" y="100471"/>
                    <a:pt x="1278078" y="99218"/>
                  </a:cubicBezTo>
                  <a:lnTo>
                    <a:pt x="1277576" y="99068"/>
                  </a:lnTo>
                  <a:cubicBezTo>
                    <a:pt x="1271513" y="97514"/>
                    <a:pt x="1262343" y="95159"/>
                    <a:pt x="1260790" y="84987"/>
                  </a:cubicBezTo>
                  <a:lnTo>
                    <a:pt x="1260539" y="83383"/>
                  </a:lnTo>
                  <a:lnTo>
                    <a:pt x="1261842" y="82431"/>
                  </a:lnTo>
                  <a:cubicBezTo>
                    <a:pt x="1264548" y="80427"/>
                    <a:pt x="1267304" y="78472"/>
                    <a:pt x="1270010" y="76568"/>
                  </a:cubicBezTo>
                  <a:cubicBezTo>
                    <a:pt x="1275873" y="72409"/>
                    <a:pt x="1281435" y="68450"/>
                    <a:pt x="1286546" y="63991"/>
                  </a:cubicBezTo>
                  <a:cubicBezTo>
                    <a:pt x="1289252" y="61635"/>
                    <a:pt x="1291908" y="59030"/>
                    <a:pt x="1294413" y="56524"/>
                  </a:cubicBezTo>
                  <a:cubicBezTo>
                    <a:pt x="1301028" y="49960"/>
                    <a:pt x="1307893" y="43195"/>
                    <a:pt x="1317164" y="39387"/>
                  </a:cubicBezTo>
                  <a:lnTo>
                    <a:pt x="1316061" y="37583"/>
                  </a:lnTo>
                  <a:cubicBezTo>
                    <a:pt x="1309697" y="27160"/>
                    <a:pt x="1309446" y="26759"/>
                    <a:pt x="1302130" y="24754"/>
                  </a:cubicBezTo>
                  <a:cubicBezTo>
                    <a:pt x="1285694" y="20194"/>
                    <a:pt x="1273017" y="11876"/>
                    <a:pt x="1264498" y="0"/>
                  </a:cubicBezTo>
                  <a:cubicBezTo>
                    <a:pt x="1241047" y="3658"/>
                    <a:pt x="1229871" y="9320"/>
                    <a:pt x="1217394" y="23602"/>
                  </a:cubicBezTo>
                  <a:cubicBezTo>
                    <a:pt x="1214087" y="27410"/>
                    <a:pt x="1210880" y="31219"/>
                    <a:pt x="1207623" y="35077"/>
                  </a:cubicBezTo>
                  <a:cubicBezTo>
                    <a:pt x="1202311" y="41391"/>
                    <a:pt x="1196799" y="47905"/>
                    <a:pt x="1191136" y="54119"/>
                  </a:cubicBezTo>
                  <a:cubicBezTo>
                    <a:pt x="1175402" y="71357"/>
                    <a:pt x="1164278" y="91952"/>
                    <a:pt x="1153504" y="111946"/>
                  </a:cubicBezTo>
                  <a:cubicBezTo>
                    <a:pt x="1150247" y="118009"/>
                    <a:pt x="1146990" y="124023"/>
                    <a:pt x="1143582" y="129986"/>
                  </a:cubicBezTo>
                  <a:cubicBezTo>
                    <a:pt x="1152351" y="145169"/>
                    <a:pt x="1150748" y="159751"/>
                    <a:pt x="1147641" y="173281"/>
                  </a:cubicBezTo>
                  <a:lnTo>
                    <a:pt x="1147340" y="174584"/>
                  </a:lnTo>
                  <a:lnTo>
                    <a:pt x="1146138" y="175135"/>
                  </a:lnTo>
                  <a:cubicBezTo>
                    <a:pt x="1133310" y="180897"/>
                    <a:pt x="1119880" y="185107"/>
                    <a:pt x="1106852" y="189216"/>
                  </a:cubicBezTo>
                  <a:cubicBezTo>
                    <a:pt x="1103544" y="190268"/>
                    <a:pt x="1100187" y="191320"/>
                    <a:pt x="1096880" y="192373"/>
                  </a:cubicBezTo>
                  <a:cubicBezTo>
                    <a:pt x="1090966" y="194277"/>
                    <a:pt x="1085104" y="193575"/>
                    <a:pt x="1078890" y="190268"/>
                  </a:cubicBezTo>
                  <a:cubicBezTo>
                    <a:pt x="1076886" y="189216"/>
                    <a:pt x="1074230" y="188865"/>
                    <a:pt x="1071123" y="188514"/>
                  </a:cubicBezTo>
                  <a:cubicBezTo>
                    <a:pt x="1070572" y="188464"/>
                    <a:pt x="1069971" y="188364"/>
                    <a:pt x="1069369" y="188314"/>
                  </a:cubicBezTo>
                  <a:cubicBezTo>
                    <a:pt x="1070021" y="194127"/>
                    <a:pt x="1072977" y="198185"/>
                    <a:pt x="1075984" y="202495"/>
                  </a:cubicBezTo>
                  <a:cubicBezTo>
                    <a:pt x="1077337" y="204399"/>
                    <a:pt x="1078690" y="206303"/>
                    <a:pt x="1079842" y="208408"/>
                  </a:cubicBezTo>
                  <a:cubicBezTo>
                    <a:pt x="1080694" y="209961"/>
                    <a:pt x="1081646" y="211515"/>
                    <a:pt x="1082548" y="213068"/>
                  </a:cubicBezTo>
                  <a:cubicBezTo>
                    <a:pt x="1086456" y="219733"/>
                    <a:pt x="1090516" y="226598"/>
                    <a:pt x="1091618" y="235016"/>
                  </a:cubicBezTo>
                  <a:lnTo>
                    <a:pt x="1091819" y="236720"/>
                  </a:lnTo>
                  <a:lnTo>
                    <a:pt x="1090315" y="237622"/>
                  </a:lnTo>
                  <a:cubicBezTo>
                    <a:pt x="1072376" y="248646"/>
                    <a:pt x="1061352" y="236570"/>
                    <a:pt x="1054586" y="228101"/>
                  </a:cubicBezTo>
                  <a:cubicBezTo>
                    <a:pt x="1045817" y="230005"/>
                    <a:pt x="1039553" y="233964"/>
                    <a:pt x="1033189" y="241581"/>
                  </a:cubicBezTo>
                  <a:cubicBezTo>
                    <a:pt x="1024371" y="252104"/>
                    <a:pt x="1012945" y="262727"/>
                    <a:pt x="994755" y="261174"/>
                  </a:cubicBezTo>
                  <a:cubicBezTo>
                    <a:pt x="992250" y="260923"/>
                    <a:pt x="989293" y="262376"/>
                    <a:pt x="986186" y="263830"/>
                  </a:cubicBezTo>
                  <a:cubicBezTo>
                    <a:pt x="984332" y="264682"/>
                    <a:pt x="982478" y="265584"/>
                    <a:pt x="980524" y="266235"/>
                  </a:cubicBezTo>
                  <a:lnTo>
                    <a:pt x="979522" y="266586"/>
                  </a:lnTo>
                  <a:cubicBezTo>
                    <a:pt x="976064" y="267738"/>
                    <a:pt x="972456" y="268941"/>
                    <a:pt x="968648" y="269192"/>
                  </a:cubicBezTo>
                  <a:cubicBezTo>
                    <a:pt x="959478" y="269893"/>
                    <a:pt x="956521" y="264281"/>
                    <a:pt x="955719" y="259520"/>
                  </a:cubicBezTo>
                  <a:cubicBezTo>
                    <a:pt x="955569" y="258518"/>
                    <a:pt x="954517" y="257265"/>
                    <a:pt x="953314" y="255762"/>
                  </a:cubicBezTo>
                  <a:cubicBezTo>
                    <a:pt x="953013" y="255411"/>
                    <a:pt x="952713" y="255060"/>
                    <a:pt x="952412" y="254660"/>
                  </a:cubicBezTo>
                  <a:cubicBezTo>
                    <a:pt x="951360" y="255261"/>
                    <a:pt x="950308" y="255862"/>
                    <a:pt x="949305" y="256463"/>
                  </a:cubicBezTo>
                  <a:cubicBezTo>
                    <a:pt x="945046" y="258969"/>
                    <a:pt x="941037" y="261324"/>
                    <a:pt x="936928" y="263329"/>
                  </a:cubicBezTo>
                  <a:cubicBezTo>
                    <a:pt x="934974" y="264231"/>
                    <a:pt x="932969" y="264431"/>
                    <a:pt x="930414" y="264631"/>
                  </a:cubicBezTo>
                  <a:cubicBezTo>
                    <a:pt x="929211" y="264732"/>
                    <a:pt x="927808" y="264832"/>
                    <a:pt x="926205" y="265082"/>
                  </a:cubicBezTo>
                  <a:lnTo>
                    <a:pt x="921795" y="265684"/>
                  </a:lnTo>
                  <a:lnTo>
                    <a:pt x="923298" y="261474"/>
                  </a:lnTo>
                  <a:cubicBezTo>
                    <a:pt x="925904" y="254309"/>
                    <a:pt x="928009" y="248496"/>
                    <a:pt x="929963" y="243134"/>
                  </a:cubicBezTo>
                  <a:lnTo>
                    <a:pt x="931065" y="240128"/>
                  </a:lnTo>
                  <a:cubicBezTo>
                    <a:pt x="899596" y="222739"/>
                    <a:pt x="863767" y="220735"/>
                    <a:pt x="842019" y="235067"/>
                  </a:cubicBezTo>
                  <a:cubicBezTo>
                    <a:pt x="844475" y="237622"/>
                    <a:pt x="847832" y="238073"/>
                    <a:pt x="852543" y="238474"/>
                  </a:cubicBezTo>
                  <a:cubicBezTo>
                    <a:pt x="854998" y="238674"/>
                    <a:pt x="857604" y="238925"/>
                    <a:pt x="860059" y="239677"/>
                  </a:cubicBezTo>
                  <a:cubicBezTo>
                    <a:pt x="863467" y="240679"/>
                    <a:pt x="867025" y="244387"/>
                    <a:pt x="867826" y="247744"/>
                  </a:cubicBezTo>
                  <a:cubicBezTo>
                    <a:pt x="868628" y="251302"/>
                    <a:pt x="867125" y="256313"/>
                    <a:pt x="864619" y="258719"/>
                  </a:cubicBezTo>
                  <a:cubicBezTo>
                    <a:pt x="857003" y="265984"/>
                    <a:pt x="847431" y="268440"/>
                    <a:pt x="839915" y="269743"/>
                  </a:cubicBezTo>
                  <a:lnTo>
                    <a:pt x="831847" y="271096"/>
                  </a:lnTo>
                  <a:cubicBezTo>
                    <a:pt x="816964" y="273551"/>
                    <a:pt x="801581" y="276107"/>
                    <a:pt x="787199" y="280667"/>
                  </a:cubicBezTo>
                  <a:cubicBezTo>
                    <a:pt x="768458" y="286630"/>
                    <a:pt x="749917" y="289236"/>
                    <a:pt x="730525" y="288634"/>
                  </a:cubicBezTo>
                  <a:cubicBezTo>
                    <a:pt x="728821" y="288634"/>
                    <a:pt x="727067" y="288484"/>
                    <a:pt x="725313" y="288384"/>
                  </a:cubicBezTo>
                  <a:cubicBezTo>
                    <a:pt x="718448" y="288033"/>
                    <a:pt x="711333" y="287632"/>
                    <a:pt x="705870" y="289937"/>
                  </a:cubicBezTo>
                  <a:cubicBezTo>
                    <a:pt x="692140" y="295750"/>
                    <a:pt x="678611" y="302815"/>
                    <a:pt x="665532" y="309630"/>
                  </a:cubicBezTo>
                  <a:cubicBezTo>
                    <a:pt x="660220" y="312386"/>
                    <a:pt x="654909" y="315193"/>
                    <a:pt x="649547" y="317899"/>
                  </a:cubicBezTo>
                  <a:cubicBezTo>
                    <a:pt x="638673" y="332280"/>
                    <a:pt x="623289" y="337842"/>
                    <a:pt x="601341" y="335487"/>
                  </a:cubicBezTo>
                  <a:cubicBezTo>
                    <a:pt x="599437" y="335287"/>
                    <a:pt x="597282" y="335487"/>
                    <a:pt x="595378" y="336038"/>
                  </a:cubicBezTo>
                  <a:cubicBezTo>
                    <a:pt x="595528" y="336038"/>
                    <a:pt x="595478" y="336139"/>
                    <a:pt x="595378" y="336289"/>
                  </a:cubicBezTo>
                  <a:cubicBezTo>
                    <a:pt x="597633" y="338594"/>
                    <a:pt x="599838" y="340849"/>
                    <a:pt x="602092" y="343154"/>
                  </a:cubicBezTo>
                  <a:lnTo>
                    <a:pt x="606252" y="347413"/>
                  </a:lnTo>
                  <a:lnTo>
                    <a:pt x="605400" y="349117"/>
                  </a:lnTo>
                  <a:cubicBezTo>
                    <a:pt x="601541" y="356834"/>
                    <a:pt x="595979" y="362296"/>
                    <a:pt x="588412" y="365754"/>
                  </a:cubicBezTo>
                  <a:cubicBezTo>
                    <a:pt x="576536" y="371216"/>
                    <a:pt x="570423" y="380636"/>
                    <a:pt x="569170" y="395369"/>
                  </a:cubicBezTo>
                  <a:cubicBezTo>
                    <a:pt x="569170" y="395870"/>
                    <a:pt x="569120" y="396421"/>
                    <a:pt x="569120" y="396922"/>
                  </a:cubicBezTo>
                  <a:cubicBezTo>
                    <a:pt x="569020" y="400129"/>
                    <a:pt x="568919" y="405491"/>
                    <a:pt x="561754" y="407896"/>
                  </a:cubicBezTo>
                  <a:lnTo>
                    <a:pt x="560351" y="408397"/>
                  </a:lnTo>
                  <a:lnTo>
                    <a:pt x="559198" y="407445"/>
                  </a:lnTo>
                  <a:cubicBezTo>
                    <a:pt x="558196" y="406643"/>
                    <a:pt x="557194" y="405792"/>
                    <a:pt x="556091" y="404890"/>
                  </a:cubicBezTo>
                  <a:cubicBezTo>
                    <a:pt x="553937" y="403086"/>
                    <a:pt x="551632" y="401181"/>
                    <a:pt x="549176" y="399378"/>
                  </a:cubicBezTo>
                  <a:cubicBezTo>
                    <a:pt x="544566" y="396020"/>
                    <a:pt x="539305" y="392212"/>
                    <a:pt x="533893" y="389055"/>
                  </a:cubicBezTo>
                  <a:cubicBezTo>
                    <a:pt x="532289" y="388103"/>
                    <a:pt x="531588" y="388253"/>
                    <a:pt x="531437" y="388303"/>
                  </a:cubicBezTo>
                  <a:cubicBezTo>
                    <a:pt x="531187" y="388403"/>
                    <a:pt x="530986" y="388654"/>
                    <a:pt x="530736" y="389055"/>
                  </a:cubicBezTo>
                  <a:cubicBezTo>
                    <a:pt x="534995" y="395419"/>
                    <a:pt x="540707" y="400731"/>
                    <a:pt x="546671" y="406293"/>
                  </a:cubicBezTo>
                  <a:cubicBezTo>
                    <a:pt x="554738" y="413809"/>
                    <a:pt x="563057" y="421576"/>
                    <a:pt x="568368" y="432500"/>
                  </a:cubicBezTo>
                  <a:lnTo>
                    <a:pt x="569270" y="434354"/>
                  </a:lnTo>
                  <a:lnTo>
                    <a:pt x="565211" y="437862"/>
                  </a:lnTo>
                  <a:cubicBezTo>
                    <a:pt x="561704" y="440919"/>
                    <a:pt x="558497" y="443675"/>
                    <a:pt x="555189" y="446531"/>
                  </a:cubicBezTo>
                  <a:lnTo>
                    <a:pt x="553536" y="447934"/>
                  </a:lnTo>
                  <a:lnTo>
                    <a:pt x="534995" y="433954"/>
                  </a:lnTo>
                  <a:lnTo>
                    <a:pt x="525674" y="439315"/>
                  </a:lnTo>
                  <a:cubicBezTo>
                    <a:pt x="529583" y="445779"/>
                    <a:pt x="534945" y="450991"/>
                    <a:pt x="540607" y="456403"/>
                  </a:cubicBezTo>
                  <a:cubicBezTo>
                    <a:pt x="547322" y="462867"/>
                    <a:pt x="554237" y="469532"/>
                    <a:pt x="558998" y="478802"/>
                  </a:cubicBezTo>
                  <a:lnTo>
                    <a:pt x="560000" y="480706"/>
                  </a:lnTo>
                  <a:lnTo>
                    <a:pt x="558346" y="482109"/>
                  </a:lnTo>
                  <a:cubicBezTo>
                    <a:pt x="550729" y="488373"/>
                    <a:pt x="550680" y="496992"/>
                    <a:pt x="550579" y="506964"/>
                  </a:cubicBezTo>
                  <a:cubicBezTo>
                    <a:pt x="550579" y="508768"/>
                    <a:pt x="550579" y="510522"/>
                    <a:pt x="550479" y="512326"/>
                  </a:cubicBezTo>
                  <a:cubicBezTo>
                    <a:pt x="550379" y="515332"/>
                    <a:pt x="550479" y="518389"/>
                    <a:pt x="550579" y="521496"/>
                  </a:cubicBezTo>
                  <a:cubicBezTo>
                    <a:pt x="550830" y="529513"/>
                    <a:pt x="551080" y="537832"/>
                    <a:pt x="547923" y="546300"/>
                  </a:cubicBezTo>
                  <a:lnTo>
                    <a:pt x="547523" y="547403"/>
                  </a:lnTo>
                  <a:lnTo>
                    <a:pt x="546420" y="547854"/>
                  </a:lnTo>
                  <a:cubicBezTo>
                    <a:pt x="543664" y="548956"/>
                    <a:pt x="540908" y="550109"/>
                    <a:pt x="538152" y="551261"/>
                  </a:cubicBezTo>
                  <a:cubicBezTo>
                    <a:pt x="531537" y="554017"/>
                    <a:pt x="524722" y="556874"/>
                    <a:pt x="517807" y="559179"/>
                  </a:cubicBezTo>
                  <a:cubicBezTo>
                    <a:pt x="513748" y="560532"/>
                    <a:pt x="506332" y="562987"/>
                    <a:pt x="501622" y="554268"/>
                  </a:cubicBezTo>
                  <a:lnTo>
                    <a:pt x="500920" y="553015"/>
                  </a:lnTo>
                  <a:lnTo>
                    <a:pt x="501571" y="551762"/>
                  </a:lnTo>
                  <a:cubicBezTo>
                    <a:pt x="504678" y="545849"/>
                    <a:pt x="509539" y="541289"/>
                    <a:pt x="514149" y="536880"/>
                  </a:cubicBezTo>
                  <a:cubicBezTo>
                    <a:pt x="516755" y="534424"/>
                    <a:pt x="519411" y="531869"/>
                    <a:pt x="521716" y="529163"/>
                  </a:cubicBezTo>
                  <a:lnTo>
                    <a:pt x="522468" y="528311"/>
                  </a:lnTo>
                  <a:cubicBezTo>
                    <a:pt x="524722" y="525805"/>
                    <a:pt x="525674" y="524502"/>
                    <a:pt x="525123" y="522699"/>
                  </a:cubicBezTo>
                  <a:cubicBezTo>
                    <a:pt x="504378" y="513879"/>
                    <a:pt x="500519" y="512877"/>
                    <a:pt x="489896" y="516585"/>
                  </a:cubicBezTo>
                  <a:cubicBezTo>
                    <a:pt x="461684" y="526357"/>
                    <a:pt x="433322" y="524001"/>
                    <a:pt x="406914" y="520043"/>
                  </a:cubicBezTo>
                  <a:cubicBezTo>
                    <a:pt x="395138" y="518289"/>
                    <a:pt x="383161" y="516234"/>
                    <a:pt x="371586" y="514280"/>
                  </a:cubicBezTo>
                  <a:cubicBezTo>
                    <a:pt x="338614" y="508718"/>
                    <a:pt x="304539" y="502955"/>
                    <a:pt x="269612" y="502404"/>
                  </a:cubicBezTo>
                  <a:lnTo>
                    <a:pt x="267558" y="505912"/>
                  </a:lnTo>
                  <a:cubicBezTo>
                    <a:pt x="264350" y="511273"/>
                    <a:pt x="261093" y="516786"/>
                    <a:pt x="257986" y="522448"/>
                  </a:cubicBezTo>
                  <a:cubicBezTo>
                    <a:pt x="257185" y="524001"/>
                    <a:pt x="256834" y="526006"/>
                    <a:pt x="257034" y="526557"/>
                  </a:cubicBezTo>
                  <a:cubicBezTo>
                    <a:pt x="264300" y="538834"/>
                    <a:pt x="258287" y="548405"/>
                    <a:pt x="251522" y="555521"/>
                  </a:cubicBezTo>
                  <a:lnTo>
                    <a:pt x="260191" y="573961"/>
                  </a:lnTo>
                  <a:lnTo>
                    <a:pt x="259941" y="574913"/>
                  </a:lnTo>
                  <a:cubicBezTo>
                    <a:pt x="257535" y="584033"/>
                    <a:pt x="254178" y="592803"/>
                    <a:pt x="250921" y="601321"/>
                  </a:cubicBezTo>
                  <a:cubicBezTo>
                    <a:pt x="244857" y="617256"/>
                    <a:pt x="239095" y="632289"/>
                    <a:pt x="239045" y="649227"/>
                  </a:cubicBezTo>
                  <a:cubicBezTo>
                    <a:pt x="246411" y="661002"/>
                    <a:pt x="257635" y="668970"/>
                    <a:pt x="269462" y="677388"/>
                  </a:cubicBezTo>
                  <a:cubicBezTo>
                    <a:pt x="275675" y="681798"/>
                    <a:pt x="282039" y="686308"/>
                    <a:pt x="288002" y="691519"/>
                  </a:cubicBezTo>
                  <a:lnTo>
                    <a:pt x="288904" y="692321"/>
                  </a:lnTo>
                  <a:lnTo>
                    <a:pt x="288904" y="693524"/>
                  </a:lnTo>
                  <a:cubicBezTo>
                    <a:pt x="288904" y="697633"/>
                    <a:pt x="288904" y="701692"/>
                    <a:pt x="288954" y="705751"/>
                  </a:cubicBezTo>
                  <a:cubicBezTo>
                    <a:pt x="289055" y="714921"/>
                    <a:pt x="289105" y="724392"/>
                    <a:pt x="288804" y="733712"/>
                  </a:cubicBezTo>
                  <a:cubicBezTo>
                    <a:pt x="288503" y="743534"/>
                    <a:pt x="291460" y="749397"/>
                    <a:pt x="298475" y="752704"/>
                  </a:cubicBezTo>
                  <a:cubicBezTo>
                    <a:pt x="313559" y="759920"/>
                    <a:pt x="318219" y="773149"/>
                    <a:pt x="322378" y="788382"/>
                  </a:cubicBezTo>
                  <a:cubicBezTo>
                    <a:pt x="326036" y="801862"/>
                    <a:pt x="324132" y="812786"/>
                    <a:pt x="316164" y="823760"/>
                  </a:cubicBezTo>
                  <a:cubicBezTo>
                    <a:pt x="309850" y="832429"/>
                    <a:pt x="304038" y="841499"/>
                    <a:pt x="297924" y="851120"/>
                  </a:cubicBezTo>
                  <a:cubicBezTo>
                    <a:pt x="295469" y="854979"/>
                    <a:pt x="292963" y="858937"/>
                    <a:pt x="290358" y="862946"/>
                  </a:cubicBezTo>
                  <a:cubicBezTo>
                    <a:pt x="299979" y="875674"/>
                    <a:pt x="297824" y="889555"/>
                    <a:pt x="295770" y="902984"/>
                  </a:cubicBezTo>
                  <a:cubicBezTo>
                    <a:pt x="295469" y="904888"/>
                    <a:pt x="295168" y="906843"/>
                    <a:pt x="294917" y="908747"/>
                  </a:cubicBezTo>
                  <a:cubicBezTo>
                    <a:pt x="294467" y="912004"/>
                    <a:pt x="294216" y="915261"/>
                    <a:pt x="293965" y="918518"/>
                  </a:cubicBezTo>
                  <a:cubicBezTo>
                    <a:pt x="293715" y="921525"/>
                    <a:pt x="293515" y="924531"/>
                    <a:pt x="293114" y="927538"/>
                  </a:cubicBezTo>
                  <a:cubicBezTo>
                    <a:pt x="291961" y="936508"/>
                    <a:pt x="290759" y="945528"/>
                    <a:pt x="289606" y="953846"/>
                  </a:cubicBezTo>
                  <a:lnTo>
                    <a:pt x="287952" y="965972"/>
                  </a:lnTo>
                  <a:lnTo>
                    <a:pt x="287401" y="966574"/>
                  </a:lnTo>
                  <a:cubicBezTo>
                    <a:pt x="282340" y="972286"/>
                    <a:pt x="276327" y="975343"/>
                    <a:pt x="270514" y="978300"/>
                  </a:cubicBezTo>
                  <a:cubicBezTo>
                    <a:pt x="264751" y="981256"/>
                    <a:pt x="259239" y="984062"/>
                    <a:pt x="255280" y="989224"/>
                  </a:cubicBezTo>
                  <a:cubicBezTo>
                    <a:pt x="258588" y="999697"/>
                    <a:pt x="263148" y="1010119"/>
                    <a:pt x="267558" y="1020242"/>
                  </a:cubicBezTo>
                  <a:cubicBezTo>
                    <a:pt x="276828" y="1041539"/>
                    <a:pt x="286449" y="1063537"/>
                    <a:pt x="286399" y="1088943"/>
                  </a:cubicBezTo>
                  <a:lnTo>
                    <a:pt x="286399" y="1091799"/>
                  </a:lnTo>
                  <a:cubicBezTo>
                    <a:pt x="286399" y="1091799"/>
                    <a:pt x="283543" y="1091649"/>
                    <a:pt x="283543" y="1091649"/>
                  </a:cubicBezTo>
                  <a:cubicBezTo>
                    <a:pt x="282039" y="1091548"/>
                    <a:pt x="280536" y="1091649"/>
                    <a:pt x="279133" y="1091649"/>
                  </a:cubicBezTo>
                  <a:cubicBezTo>
                    <a:pt x="275675" y="1091749"/>
                    <a:pt x="272719" y="1091899"/>
                    <a:pt x="271115" y="1089694"/>
                  </a:cubicBezTo>
                  <a:cubicBezTo>
                    <a:pt x="267056" y="1084132"/>
                    <a:pt x="261594" y="1080324"/>
                    <a:pt x="255832" y="1076315"/>
                  </a:cubicBezTo>
                  <a:cubicBezTo>
                    <a:pt x="252675" y="1074110"/>
                    <a:pt x="249468" y="1071905"/>
                    <a:pt x="246461" y="1069300"/>
                  </a:cubicBezTo>
                  <a:cubicBezTo>
                    <a:pt x="240548" y="1064238"/>
                    <a:pt x="237642" y="1057975"/>
                    <a:pt x="237792" y="1050659"/>
                  </a:cubicBezTo>
                  <a:cubicBezTo>
                    <a:pt x="237792" y="1049055"/>
                    <a:pt x="237792" y="1047452"/>
                    <a:pt x="237692" y="1045898"/>
                  </a:cubicBezTo>
                  <a:cubicBezTo>
                    <a:pt x="237591" y="1043543"/>
                    <a:pt x="237491" y="1041138"/>
                    <a:pt x="237692" y="1038732"/>
                  </a:cubicBezTo>
                  <a:cubicBezTo>
                    <a:pt x="238744" y="1024501"/>
                    <a:pt x="234735" y="1012274"/>
                    <a:pt x="225365" y="1001400"/>
                  </a:cubicBezTo>
                  <a:cubicBezTo>
                    <a:pt x="223761" y="999546"/>
                    <a:pt x="222759" y="997291"/>
                    <a:pt x="221907" y="995337"/>
                  </a:cubicBezTo>
                  <a:cubicBezTo>
                    <a:pt x="221556" y="994535"/>
                    <a:pt x="221156" y="993683"/>
                    <a:pt x="220805" y="992932"/>
                  </a:cubicBezTo>
                  <a:lnTo>
                    <a:pt x="220254" y="991930"/>
                  </a:lnTo>
                  <a:lnTo>
                    <a:pt x="220604" y="990827"/>
                  </a:lnTo>
                  <a:cubicBezTo>
                    <a:pt x="221156" y="989173"/>
                    <a:pt x="221707" y="987620"/>
                    <a:pt x="222208" y="986067"/>
                  </a:cubicBezTo>
                  <a:cubicBezTo>
                    <a:pt x="223260" y="982810"/>
                    <a:pt x="224312" y="979753"/>
                    <a:pt x="225465" y="976746"/>
                  </a:cubicBezTo>
                  <a:cubicBezTo>
                    <a:pt x="228722" y="968528"/>
                    <a:pt x="231979" y="960310"/>
                    <a:pt x="235287" y="952092"/>
                  </a:cubicBezTo>
                  <a:cubicBezTo>
                    <a:pt x="240799" y="938362"/>
                    <a:pt x="246261" y="924632"/>
                    <a:pt x="251572" y="910801"/>
                  </a:cubicBezTo>
                  <a:cubicBezTo>
                    <a:pt x="256633" y="897572"/>
                    <a:pt x="254930" y="891659"/>
                    <a:pt x="243705" y="883341"/>
                  </a:cubicBezTo>
                  <a:cubicBezTo>
                    <a:pt x="241300" y="881587"/>
                    <a:pt x="238794" y="880084"/>
                    <a:pt x="235838" y="878330"/>
                  </a:cubicBezTo>
                  <a:cubicBezTo>
                    <a:pt x="234385" y="877478"/>
                    <a:pt x="232831" y="876526"/>
                    <a:pt x="231228" y="875524"/>
                  </a:cubicBezTo>
                  <a:lnTo>
                    <a:pt x="229223" y="874271"/>
                  </a:lnTo>
                  <a:lnTo>
                    <a:pt x="230225" y="872116"/>
                  </a:lnTo>
                  <a:cubicBezTo>
                    <a:pt x="231127" y="870212"/>
                    <a:pt x="232180" y="868358"/>
                    <a:pt x="233182" y="866554"/>
                  </a:cubicBezTo>
                  <a:cubicBezTo>
                    <a:pt x="235036" y="863397"/>
                    <a:pt x="236740" y="860391"/>
                    <a:pt x="236639" y="857935"/>
                  </a:cubicBezTo>
                  <a:cubicBezTo>
                    <a:pt x="235988" y="840397"/>
                    <a:pt x="248265" y="832630"/>
                    <a:pt x="258087" y="826366"/>
                  </a:cubicBezTo>
                  <a:cubicBezTo>
                    <a:pt x="270263" y="818599"/>
                    <a:pt x="279734" y="807174"/>
                    <a:pt x="288604" y="789284"/>
                  </a:cubicBezTo>
                  <a:cubicBezTo>
                    <a:pt x="281388" y="780916"/>
                    <a:pt x="272117" y="775654"/>
                    <a:pt x="258788" y="772447"/>
                  </a:cubicBezTo>
                  <a:cubicBezTo>
                    <a:pt x="255380" y="771595"/>
                    <a:pt x="251923" y="771044"/>
                    <a:pt x="248265" y="770493"/>
                  </a:cubicBezTo>
                  <a:cubicBezTo>
                    <a:pt x="239195" y="769040"/>
                    <a:pt x="229774" y="767536"/>
                    <a:pt x="220855" y="761623"/>
                  </a:cubicBezTo>
                  <a:lnTo>
                    <a:pt x="220103" y="761122"/>
                  </a:lnTo>
                  <a:lnTo>
                    <a:pt x="219802" y="760271"/>
                  </a:lnTo>
                  <a:cubicBezTo>
                    <a:pt x="218750" y="757264"/>
                    <a:pt x="217598" y="754207"/>
                    <a:pt x="216495" y="751100"/>
                  </a:cubicBezTo>
                  <a:cubicBezTo>
                    <a:pt x="213940" y="744085"/>
                    <a:pt x="211233" y="736869"/>
                    <a:pt x="209179" y="729453"/>
                  </a:cubicBezTo>
                  <a:cubicBezTo>
                    <a:pt x="200210" y="697082"/>
                    <a:pt x="179063" y="674582"/>
                    <a:pt x="152354" y="64847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35" name="Полилиния: фигура 34">
              <a:extLst>
                <a:ext uri="{FF2B5EF4-FFF2-40B4-BE49-F238E27FC236}">
                  <a16:creationId xmlns:a16="http://schemas.microsoft.com/office/drawing/2014/main" id="{3667F5E4-861A-41D5-9F77-17858AB45D35}"/>
                </a:ext>
              </a:extLst>
            </p:cNvPr>
            <p:cNvSpPr/>
            <p:nvPr/>
          </p:nvSpPr>
          <p:spPr>
            <a:xfrm>
              <a:off x="10228204" y="949869"/>
              <a:ext cx="1790248" cy="1541201"/>
            </a:xfrm>
            <a:custGeom>
              <a:avLst/>
              <a:gdLst>
                <a:gd name="connsiteX0" fmla="*/ 1411401 w 1435503"/>
                <a:gd name="connsiteY0" fmla="*/ 247594 h 1235806"/>
                <a:gd name="connsiteX1" fmla="*/ 1385444 w 1435503"/>
                <a:gd name="connsiteY1" fmla="*/ 239376 h 1235806"/>
                <a:gd name="connsiteX2" fmla="*/ 1375322 w 1435503"/>
                <a:gd name="connsiteY2" fmla="*/ 236019 h 1235806"/>
                <a:gd name="connsiteX3" fmla="*/ 1376023 w 1435503"/>
                <a:gd name="connsiteY3" fmla="*/ 233563 h 1235806"/>
                <a:gd name="connsiteX4" fmla="*/ 1376825 w 1435503"/>
                <a:gd name="connsiteY4" fmla="*/ 230306 h 1235806"/>
                <a:gd name="connsiteX5" fmla="*/ 1379030 w 1435503"/>
                <a:gd name="connsiteY5" fmla="*/ 223641 h 1235806"/>
                <a:gd name="connsiteX6" fmla="*/ 1384241 w 1435503"/>
                <a:gd name="connsiteY6" fmla="*/ 188314 h 1235806"/>
                <a:gd name="connsiteX7" fmla="*/ 1381736 w 1435503"/>
                <a:gd name="connsiteY7" fmla="*/ 178693 h 1235806"/>
                <a:gd name="connsiteX8" fmla="*/ 1344654 w 1435503"/>
                <a:gd name="connsiteY8" fmla="*/ 156594 h 1235806"/>
                <a:gd name="connsiteX9" fmla="*/ 1318497 w 1435503"/>
                <a:gd name="connsiteY9" fmla="*/ 156143 h 1235806"/>
                <a:gd name="connsiteX10" fmla="*/ 1310529 w 1435503"/>
                <a:gd name="connsiteY10" fmla="*/ 153688 h 1235806"/>
                <a:gd name="connsiteX11" fmla="*/ 1307824 w 1435503"/>
                <a:gd name="connsiteY11" fmla="*/ 152535 h 1235806"/>
                <a:gd name="connsiteX12" fmla="*/ 1305969 w 1435503"/>
                <a:gd name="connsiteY12" fmla="*/ 151884 h 1235806"/>
                <a:gd name="connsiteX13" fmla="*/ 1306070 w 1435503"/>
                <a:gd name="connsiteY13" fmla="*/ 149879 h 1235806"/>
                <a:gd name="connsiteX14" fmla="*/ 1316843 w 1435503"/>
                <a:gd name="connsiteY14" fmla="*/ 135798 h 1235806"/>
                <a:gd name="connsiteX15" fmla="*/ 1320201 w 1435503"/>
                <a:gd name="connsiteY15" fmla="*/ 134045 h 1235806"/>
                <a:gd name="connsiteX16" fmla="*/ 1330924 w 1435503"/>
                <a:gd name="connsiteY16" fmla="*/ 127430 h 1235806"/>
                <a:gd name="connsiteX17" fmla="*/ 1351820 w 1435503"/>
                <a:gd name="connsiteY17" fmla="*/ 113950 h 1235806"/>
                <a:gd name="connsiteX18" fmla="*/ 1360840 w 1435503"/>
                <a:gd name="connsiteY18" fmla="*/ 98166 h 1235806"/>
                <a:gd name="connsiteX19" fmla="*/ 1356180 w 1435503"/>
                <a:gd name="connsiteY19" fmla="*/ 96863 h 1235806"/>
                <a:gd name="connsiteX20" fmla="*/ 1337689 w 1435503"/>
                <a:gd name="connsiteY20" fmla="*/ 91601 h 1235806"/>
                <a:gd name="connsiteX21" fmla="*/ 1337188 w 1435503"/>
                <a:gd name="connsiteY21" fmla="*/ 91451 h 1235806"/>
                <a:gd name="connsiteX22" fmla="*/ 1328519 w 1435503"/>
                <a:gd name="connsiteY22" fmla="*/ 80727 h 1235806"/>
                <a:gd name="connsiteX23" fmla="*/ 1328669 w 1435503"/>
                <a:gd name="connsiteY23" fmla="*/ 79174 h 1235806"/>
                <a:gd name="connsiteX24" fmla="*/ 1330122 w 1435503"/>
                <a:gd name="connsiteY24" fmla="*/ 78523 h 1235806"/>
                <a:gd name="connsiteX25" fmla="*/ 1337839 w 1435503"/>
                <a:gd name="connsiteY25" fmla="*/ 75065 h 1235806"/>
                <a:gd name="connsiteX26" fmla="*/ 1357232 w 1435503"/>
                <a:gd name="connsiteY26" fmla="*/ 65895 h 1235806"/>
                <a:gd name="connsiteX27" fmla="*/ 1363145 w 1435503"/>
                <a:gd name="connsiteY27" fmla="*/ 60483 h 1235806"/>
                <a:gd name="connsiteX28" fmla="*/ 1364298 w 1435503"/>
                <a:gd name="connsiteY28" fmla="*/ 59180 h 1235806"/>
                <a:gd name="connsiteX29" fmla="*/ 1346759 w 1435503"/>
                <a:gd name="connsiteY29" fmla="*/ 15233 h 1235806"/>
                <a:gd name="connsiteX30" fmla="*/ 1346859 w 1435503"/>
                <a:gd name="connsiteY30" fmla="*/ 10523 h 1235806"/>
                <a:gd name="connsiteX31" fmla="*/ 1344704 w 1435503"/>
                <a:gd name="connsiteY31" fmla="*/ 0 h 1235806"/>
                <a:gd name="connsiteX32" fmla="*/ 1330423 w 1435503"/>
                <a:gd name="connsiteY32" fmla="*/ 3057 h 1235806"/>
                <a:gd name="connsiteX33" fmla="*/ 1296098 w 1435503"/>
                <a:gd name="connsiteY33" fmla="*/ 11776 h 1235806"/>
                <a:gd name="connsiteX34" fmla="*/ 1237118 w 1435503"/>
                <a:gd name="connsiteY34" fmla="*/ 20194 h 1235806"/>
                <a:gd name="connsiteX35" fmla="*/ 1229451 w 1435503"/>
                <a:gd name="connsiteY35" fmla="*/ 20395 h 1235806"/>
                <a:gd name="connsiteX36" fmla="*/ 1215571 w 1435503"/>
                <a:gd name="connsiteY36" fmla="*/ 20194 h 1235806"/>
                <a:gd name="connsiteX37" fmla="*/ 1187158 w 1435503"/>
                <a:gd name="connsiteY37" fmla="*/ 35578 h 1235806"/>
                <a:gd name="connsiteX38" fmla="*/ 1183150 w 1435503"/>
                <a:gd name="connsiteY38" fmla="*/ 42493 h 1235806"/>
                <a:gd name="connsiteX39" fmla="*/ 1173829 w 1435503"/>
                <a:gd name="connsiteY39" fmla="*/ 81078 h 1235806"/>
                <a:gd name="connsiteX40" fmla="*/ 1171524 w 1435503"/>
                <a:gd name="connsiteY40" fmla="*/ 87442 h 1235806"/>
                <a:gd name="connsiteX41" fmla="*/ 1169570 w 1435503"/>
                <a:gd name="connsiteY41" fmla="*/ 90298 h 1235806"/>
                <a:gd name="connsiteX42" fmla="*/ 1168467 w 1435503"/>
                <a:gd name="connsiteY42" fmla="*/ 92102 h 1235806"/>
                <a:gd name="connsiteX43" fmla="*/ 1136798 w 1435503"/>
                <a:gd name="connsiteY43" fmla="*/ 82181 h 1235806"/>
                <a:gd name="connsiteX44" fmla="*/ 1135144 w 1435503"/>
                <a:gd name="connsiteY44" fmla="*/ 84235 h 1235806"/>
                <a:gd name="connsiteX45" fmla="*/ 1129281 w 1435503"/>
                <a:gd name="connsiteY45" fmla="*/ 92052 h 1235806"/>
                <a:gd name="connsiteX46" fmla="*/ 1126876 w 1435503"/>
                <a:gd name="connsiteY46" fmla="*/ 97464 h 1235806"/>
                <a:gd name="connsiteX47" fmla="*/ 1126325 w 1435503"/>
                <a:gd name="connsiteY47" fmla="*/ 98917 h 1235806"/>
                <a:gd name="connsiteX48" fmla="*/ 1132638 w 1435503"/>
                <a:gd name="connsiteY48" fmla="*/ 101373 h 1235806"/>
                <a:gd name="connsiteX49" fmla="*/ 1152682 w 1435503"/>
                <a:gd name="connsiteY49" fmla="*/ 108990 h 1235806"/>
                <a:gd name="connsiteX50" fmla="*/ 1165861 w 1435503"/>
                <a:gd name="connsiteY50" fmla="*/ 124724 h 1235806"/>
                <a:gd name="connsiteX51" fmla="*/ 1167816 w 1435503"/>
                <a:gd name="connsiteY51" fmla="*/ 129585 h 1235806"/>
                <a:gd name="connsiteX52" fmla="*/ 1168267 w 1435503"/>
                <a:gd name="connsiteY52" fmla="*/ 130487 h 1235806"/>
                <a:gd name="connsiteX53" fmla="*/ 1175683 w 1435503"/>
                <a:gd name="connsiteY53" fmla="*/ 132641 h 1235806"/>
                <a:gd name="connsiteX54" fmla="*/ 1197481 w 1435503"/>
                <a:gd name="connsiteY54" fmla="*/ 147975 h 1235806"/>
                <a:gd name="connsiteX55" fmla="*/ 1198333 w 1435503"/>
                <a:gd name="connsiteY55" fmla="*/ 149980 h 1235806"/>
                <a:gd name="connsiteX56" fmla="*/ 1196529 w 1435503"/>
                <a:gd name="connsiteY56" fmla="*/ 151232 h 1235806"/>
                <a:gd name="connsiteX57" fmla="*/ 1192370 w 1435503"/>
                <a:gd name="connsiteY57" fmla="*/ 153838 h 1235806"/>
                <a:gd name="connsiteX58" fmla="*/ 1185755 w 1435503"/>
                <a:gd name="connsiteY58" fmla="*/ 158849 h 1235806"/>
                <a:gd name="connsiteX59" fmla="*/ 1181245 w 1435503"/>
                <a:gd name="connsiteY59" fmla="*/ 168220 h 1235806"/>
                <a:gd name="connsiteX60" fmla="*/ 1179090 w 1435503"/>
                <a:gd name="connsiteY60" fmla="*/ 173632 h 1235806"/>
                <a:gd name="connsiteX61" fmla="*/ 1178139 w 1435503"/>
                <a:gd name="connsiteY61" fmla="*/ 175786 h 1235806"/>
                <a:gd name="connsiteX62" fmla="*/ 1175883 w 1435503"/>
                <a:gd name="connsiteY62" fmla="*/ 175135 h 1235806"/>
                <a:gd name="connsiteX63" fmla="*/ 1145517 w 1435503"/>
                <a:gd name="connsiteY63" fmla="*/ 174383 h 1235806"/>
                <a:gd name="connsiteX64" fmla="*/ 1139253 w 1435503"/>
                <a:gd name="connsiteY64" fmla="*/ 175035 h 1235806"/>
                <a:gd name="connsiteX65" fmla="*/ 1137600 w 1435503"/>
                <a:gd name="connsiteY65" fmla="*/ 175185 h 1235806"/>
                <a:gd name="connsiteX66" fmla="*/ 1116152 w 1435503"/>
                <a:gd name="connsiteY66" fmla="*/ 170475 h 1235806"/>
                <a:gd name="connsiteX67" fmla="*/ 1115551 w 1435503"/>
                <a:gd name="connsiteY67" fmla="*/ 169773 h 1235806"/>
                <a:gd name="connsiteX68" fmla="*/ 1113046 w 1435503"/>
                <a:gd name="connsiteY68" fmla="*/ 161906 h 1235806"/>
                <a:gd name="connsiteX69" fmla="*/ 1107082 w 1435503"/>
                <a:gd name="connsiteY69" fmla="*/ 150831 h 1235806"/>
                <a:gd name="connsiteX70" fmla="*/ 1084884 w 1435503"/>
                <a:gd name="connsiteY70" fmla="*/ 136099 h 1235806"/>
                <a:gd name="connsiteX71" fmla="*/ 1065741 w 1435503"/>
                <a:gd name="connsiteY71" fmla="*/ 123321 h 1235806"/>
                <a:gd name="connsiteX72" fmla="*/ 1057975 w 1435503"/>
                <a:gd name="connsiteY72" fmla="*/ 120615 h 1235806"/>
                <a:gd name="connsiteX73" fmla="*/ 1055719 w 1435503"/>
                <a:gd name="connsiteY73" fmla="*/ 120064 h 1235806"/>
                <a:gd name="connsiteX74" fmla="*/ 1048604 w 1435503"/>
                <a:gd name="connsiteY74" fmla="*/ 137201 h 1235806"/>
                <a:gd name="connsiteX75" fmla="*/ 1046599 w 1435503"/>
                <a:gd name="connsiteY75" fmla="*/ 136951 h 1235806"/>
                <a:gd name="connsiteX76" fmla="*/ 1027758 w 1435503"/>
                <a:gd name="connsiteY76" fmla="*/ 125927 h 1235806"/>
                <a:gd name="connsiteX77" fmla="*/ 1007213 w 1435503"/>
                <a:gd name="connsiteY77" fmla="*/ 111445 h 1235806"/>
                <a:gd name="connsiteX78" fmla="*/ 1003705 w 1435503"/>
                <a:gd name="connsiteY78" fmla="*/ 112497 h 1235806"/>
                <a:gd name="connsiteX79" fmla="*/ 1019590 w 1435503"/>
                <a:gd name="connsiteY79" fmla="*/ 120164 h 1235806"/>
                <a:gd name="connsiteX80" fmla="*/ 1016784 w 1435503"/>
                <a:gd name="connsiteY80" fmla="*/ 122820 h 1235806"/>
                <a:gd name="connsiteX81" fmla="*/ 1006912 w 1435503"/>
                <a:gd name="connsiteY81" fmla="*/ 132842 h 1235806"/>
                <a:gd name="connsiteX82" fmla="*/ 979853 w 1435503"/>
                <a:gd name="connsiteY82" fmla="*/ 155842 h 1235806"/>
                <a:gd name="connsiteX83" fmla="*/ 977598 w 1435503"/>
                <a:gd name="connsiteY83" fmla="*/ 157095 h 1235806"/>
                <a:gd name="connsiteX84" fmla="*/ 976245 w 1435503"/>
                <a:gd name="connsiteY84" fmla="*/ 154890 h 1235806"/>
                <a:gd name="connsiteX85" fmla="*/ 973238 w 1435503"/>
                <a:gd name="connsiteY85" fmla="*/ 149779 h 1235806"/>
                <a:gd name="connsiteX86" fmla="*/ 967275 w 1435503"/>
                <a:gd name="connsiteY86" fmla="*/ 140258 h 1235806"/>
                <a:gd name="connsiteX87" fmla="*/ 961312 w 1435503"/>
                <a:gd name="connsiteY87" fmla="*/ 134045 h 1235806"/>
                <a:gd name="connsiteX88" fmla="*/ 959859 w 1435503"/>
                <a:gd name="connsiteY88" fmla="*/ 132692 h 1235806"/>
                <a:gd name="connsiteX89" fmla="*/ 934703 w 1435503"/>
                <a:gd name="connsiteY89" fmla="*/ 146271 h 1235806"/>
                <a:gd name="connsiteX90" fmla="*/ 933451 w 1435503"/>
                <a:gd name="connsiteY90" fmla="*/ 145620 h 1235806"/>
                <a:gd name="connsiteX91" fmla="*/ 895568 w 1435503"/>
                <a:gd name="connsiteY91" fmla="*/ 144016 h 1235806"/>
                <a:gd name="connsiteX92" fmla="*/ 882690 w 1435503"/>
                <a:gd name="connsiteY92" fmla="*/ 151182 h 1235806"/>
                <a:gd name="connsiteX93" fmla="*/ 879382 w 1435503"/>
                <a:gd name="connsiteY93" fmla="*/ 153187 h 1235806"/>
                <a:gd name="connsiteX94" fmla="*/ 866303 w 1435503"/>
                <a:gd name="connsiteY94" fmla="*/ 161254 h 1235806"/>
                <a:gd name="connsiteX95" fmla="*/ 860741 w 1435503"/>
                <a:gd name="connsiteY95" fmla="*/ 164712 h 1235806"/>
                <a:gd name="connsiteX96" fmla="*/ 859438 w 1435503"/>
                <a:gd name="connsiteY96" fmla="*/ 164161 h 1235806"/>
                <a:gd name="connsiteX97" fmla="*/ 824161 w 1435503"/>
                <a:gd name="connsiteY97" fmla="*/ 164963 h 1235806"/>
                <a:gd name="connsiteX98" fmla="*/ 809679 w 1435503"/>
                <a:gd name="connsiteY98" fmla="*/ 171326 h 1235806"/>
                <a:gd name="connsiteX99" fmla="*/ 803766 w 1435503"/>
                <a:gd name="connsiteY99" fmla="*/ 173832 h 1235806"/>
                <a:gd name="connsiteX100" fmla="*/ 802563 w 1435503"/>
                <a:gd name="connsiteY100" fmla="*/ 174333 h 1235806"/>
                <a:gd name="connsiteX101" fmla="*/ 801411 w 1435503"/>
                <a:gd name="connsiteY101" fmla="*/ 173732 h 1235806"/>
                <a:gd name="connsiteX102" fmla="*/ 798504 w 1435503"/>
                <a:gd name="connsiteY102" fmla="*/ 172279 h 1235806"/>
                <a:gd name="connsiteX103" fmla="*/ 794796 w 1435503"/>
                <a:gd name="connsiteY103" fmla="*/ 169974 h 1235806"/>
                <a:gd name="connsiteX104" fmla="*/ 746540 w 1435503"/>
                <a:gd name="connsiteY104" fmla="*/ 167117 h 1235806"/>
                <a:gd name="connsiteX105" fmla="*/ 745889 w 1435503"/>
                <a:gd name="connsiteY105" fmla="*/ 167468 h 1235806"/>
                <a:gd name="connsiteX106" fmla="*/ 741028 w 1435503"/>
                <a:gd name="connsiteY106" fmla="*/ 170575 h 1235806"/>
                <a:gd name="connsiteX107" fmla="*/ 692872 w 1435503"/>
                <a:gd name="connsiteY107" fmla="*/ 184706 h 1235806"/>
                <a:gd name="connsiteX108" fmla="*/ 663959 w 1435503"/>
                <a:gd name="connsiteY108" fmla="*/ 192723 h 1235806"/>
                <a:gd name="connsiteX109" fmla="*/ 650629 w 1435503"/>
                <a:gd name="connsiteY109" fmla="*/ 199839 h 1235806"/>
                <a:gd name="connsiteX110" fmla="*/ 644917 w 1435503"/>
                <a:gd name="connsiteY110" fmla="*/ 202295 h 1235806"/>
                <a:gd name="connsiteX111" fmla="*/ 643113 w 1435503"/>
                <a:gd name="connsiteY111" fmla="*/ 203146 h 1235806"/>
                <a:gd name="connsiteX112" fmla="*/ 641760 w 1435503"/>
                <a:gd name="connsiteY112" fmla="*/ 201693 h 1235806"/>
                <a:gd name="connsiteX113" fmla="*/ 632940 w 1435503"/>
                <a:gd name="connsiteY113" fmla="*/ 192122 h 1235806"/>
                <a:gd name="connsiteX114" fmla="*/ 623620 w 1435503"/>
                <a:gd name="connsiteY114" fmla="*/ 197935 h 1235806"/>
                <a:gd name="connsiteX115" fmla="*/ 599667 w 1435503"/>
                <a:gd name="connsiteY115" fmla="*/ 210112 h 1235806"/>
                <a:gd name="connsiteX116" fmla="*/ 563087 w 1435503"/>
                <a:gd name="connsiteY116" fmla="*/ 223391 h 1235806"/>
                <a:gd name="connsiteX117" fmla="*/ 522247 w 1435503"/>
                <a:gd name="connsiteY117" fmla="*/ 237221 h 1235806"/>
                <a:gd name="connsiteX118" fmla="*/ 509068 w 1435503"/>
                <a:gd name="connsiteY118" fmla="*/ 253056 h 1235806"/>
                <a:gd name="connsiteX119" fmla="*/ 505761 w 1435503"/>
                <a:gd name="connsiteY119" fmla="*/ 256914 h 1235806"/>
                <a:gd name="connsiteX120" fmla="*/ 504508 w 1435503"/>
                <a:gd name="connsiteY120" fmla="*/ 257716 h 1235806"/>
                <a:gd name="connsiteX121" fmla="*/ 503155 w 1435503"/>
                <a:gd name="connsiteY121" fmla="*/ 258718 h 1235806"/>
                <a:gd name="connsiteX122" fmla="*/ 499998 w 1435503"/>
                <a:gd name="connsiteY122" fmla="*/ 257065 h 1235806"/>
                <a:gd name="connsiteX123" fmla="*/ 495739 w 1435503"/>
                <a:gd name="connsiteY123" fmla="*/ 254860 h 1235806"/>
                <a:gd name="connsiteX124" fmla="*/ 490528 w 1435503"/>
                <a:gd name="connsiteY124" fmla="*/ 252405 h 1235806"/>
                <a:gd name="connsiteX125" fmla="*/ 489275 w 1435503"/>
                <a:gd name="connsiteY125" fmla="*/ 251803 h 1235806"/>
                <a:gd name="connsiteX126" fmla="*/ 476748 w 1435503"/>
                <a:gd name="connsiteY126" fmla="*/ 263429 h 1235806"/>
                <a:gd name="connsiteX127" fmla="*/ 473891 w 1435503"/>
                <a:gd name="connsiteY127" fmla="*/ 267287 h 1235806"/>
                <a:gd name="connsiteX128" fmla="*/ 422428 w 1435503"/>
                <a:gd name="connsiteY128" fmla="*/ 323260 h 1235806"/>
                <a:gd name="connsiteX129" fmla="*/ 414961 w 1435503"/>
                <a:gd name="connsiteY129" fmla="*/ 333984 h 1235806"/>
                <a:gd name="connsiteX130" fmla="*/ 411053 w 1435503"/>
                <a:gd name="connsiteY130" fmla="*/ 340699 h 1235806"/>
                <a:gd name="connsiteX131" fmla="*/ 410251 w 1435503"/>
                <a:gd name="connsiteY131" fmla="*/ 341951 h 1235806"/>
                <a:gd name="connsiteX132" fmla="*/ 408798 w 1435503"/>
                <a:gd name="connsiteY132" fmla="*/ 341951 h 1235806"/>
                <a:gd name="connsiteX133" fmla="*/ 368660 w 1435503"/>
                <a:gd name="connsiteY133" fmla="*/ 358387 h 1235806"/>
                <a:gd name="connsiteX134" fmla="*/ 360041 w 1435503"/>
                <a:gd name="connsiteY134" fmla="*/ 363900 h 1235806"/>
                <a:gd name="connsiteX135" fmla="*/ 356132 w 1435503"/>
                <a:gd name="connsiteY135" fmla="*/ 366004 h 1235806"/>
                <a:gd name="connsiteX136" fmla="*/ 305270 w 1435503"/>
                <a:gd name="connsiteY136" fmla="*/ 396221 h 1235806"/>
                <a:gd name="connsiteX137" fmla="*/ 308728 w 1435503"/>
                <a:gd name="connsiteY137" fmla="*/ 401683 h 1235806"/>
                <a:gd name="connsiteX138" fmla="*/ 319201 w 1435503"/>
                <a:gd name="connsiteY138" fmla="*/ 420524 h 1235806"/>
                <a:gd name="connsiteX139" fmla="*/ 324713 w 1435503"/>
                <a:gd name="connsiteY139" fmla="*/ 441370 h 1235806"/>
                <a:gd name="connsiteX140" fmla="*/ 326267 w 1435503"/>
                <a:gd name="connsiteY140" fmla="*/ 448836 h 1235806"/>
                <a:gd name="connsiteX141" fmla="*/ 345509 w 1435503"/>
                <a:gd name="connsiteY141" fmla="*/ 441921 h 1235806"/>
                <a:gd name="connsiteX142" fmla="*/ 346661 w 1435503"/>
                <a:gd name="connsiteY142" fmla="*/ 441520 h 1235806"/>
                <a:gd name="connsiteX143" fmla="*/ 347714 w 1435503"/>
                <a:gd name="connsiteY143" fmla="*/ 442121 h 1235806"/>
                <a:gd name="connsiteX144" fmla="*/ 354629 w 1435503"/>
                <a:gd name="connsiteY144" fmla="*/ 446080 h 1235806"/>
                <a:gd name="connsiteX145" fmla="*/ 368410 w 1435503"/>
                <a:gd name="connsiteY145" fmla="*/ 454098 h 1235806"/>
                <a:gd name="connsiteX146" fmla="*/ 378832 w 1435503"/>
                <a:gd name="connsiteY146" fmla="*/ 460362 h 1235806"/>
                <a:gd name="connsiteX147" fmla="*/ 400831 w 1435503"/>
                <a:gd name="connsiteY147" fmla="*/ 489926 h 1235806"/>
                <a:gd name="connsiteX148" fmla="*/ 404188 w 1435503"/>
                <a:gd name="connsiteY148" fmla="*/ 506713 h 1235806"/>
                <a:gd name="connsiteX149" fmla="*/ 404388 w 1435503"/>
                <a:gd name="connsiteY149" fmla="*/ 528812 h 1235806"/>
                <a:gd name="connsiteX150" fmla="*/ 397473 w 1435503"/>
                <a:gd name="connsiteY150" fmla="*/ 552765 h 1235806"/>
                <a:gd name="connsiteX151" fmla="*/ 394166 w 1435503"/>
                <a:gd name="connsiteY151" fmla="*/ 563087 h 1235806"/>
                <a:gd name="connsiteX152" fmla="*/ 393815 w 1435503"/>
                <a:gd name="connsiteY152" fmla="*/ 564240 h 1235806"/>
                <a:gd name="connsiteX153" fmla="*/ 392713 w 1435503"/>
                <a:gd name="connsiteY153" fmla="*/ 564741 h 1235806"/>
                <a:gd name="connsiteX154" fmla="*/ 340849 w 1435503"/>
                <a:gd name="connsiteY154" fmla="*/ 551161 h 1235806"/>
                <a:gd name="connsiteX155" fmla="*/ 287030 w 1435503"/>
                <a:gd name="connsiteY155" fmla="*/ 567697 h 1235806"/>
                <a:gd name="connsiteX156" fmla="*/ 285928 w 1435503"/>
                <a:gd name="connsiteY156" fmla="*/ 566896 h 1235806"/>
                <a:gd name="connsiteX157" fmla="*/ 282671 w 1435503"/>
                <a:gd name="connsiteY157" fmla="*/ 564591 h 1235806"/>
                <a:gd name="connsiteX158" fmla="*/ 277008 w 1435503"/>
                <a:gd name="connsiteY158" fmla="*/ 559980 h 1235806"/>
                <a:gd name="connsiteX159" fmla="*/ 234615 w 1435503"/>
                <a:gd name="connsiteY159" fmla="*/ 536329 h 1235806"/>
                <a:gd name="connsiteX160" fmla="*/ 228903 w 1435503"/>
                <a:gd name="connsiteY160" fmla="*/ 534374 h 1235806"/>
                <a:gd name="connsiteX161" fmla="*/ 223591 w 1435503"/>
                <a:gd name="connsiteY161" fmla="*/ 534625 h 1235806"/>
                <a:gd name="connsiteX162" fmla="*/ 221036 w 1435503"/>
                <a:gd name="connsiteY162" fmla="*/ 539987 h 1235806"/>
                <a:gd name="connsiteX163" fmla="*/ 220585 w 1435503"/>
                <a:gd name="connsiteY163" fmla="*/ 555972 h 1235806"/>
                <a:gd name="connsiteX164" fmla="*/ 220484 w 1435503"/>
                <a:gd name="connsiteY164" fmla="*/ 563488 h 1235806"/>
                <a:gd name="connsiteX165" fmla="*/ 183453 w 1435503"/>
                <a:gd name="connsiteY165" fmla="*/ 605430 h 1235806"/>
                <a:gd name="connsiteX166" fmla="*/ 161004 w 1435503"/>
                <a:gd name="connsiteY166" fmla="*/ 614350 h 1235806"/>
                <a:gd name="connsiteX167" fmla="*/ 144317 w 1435503"/>
                <a:gd name="connsiteY167" fmla="*/ 630335 h 1235806"/>
                <a:gd name="connsiteX168" fmla="*/ 105431 w 1435503"/>
                <a:gd name="connsiteY168" fmla="*/ 649778 h 1235806"/>
                <a:gd name="connsiteX169" fmla="*/ 92353 w 1435503"/>
                <a:gd name="connsiteY169" fmla="*/ 650179 h 1235806"/>
                <a:gd name="connsiteX170" fmla="*/ 89747 w 1435503"/>
                <a:gd name="connsiteY170" fmla="*/ 650028 h 1235806"/>
                <a:gd name="connsiteX171" fmla="*/ 80977 w 1435503"/>
                <a:gd name="connsiteY171" fmla="*/ 656492 h 1235806"/>
                <a:gd name="connsiteX172" fmla="*/ 60332 w 1435503"/>
                <a:gd name="connsiteY172" fmla="*/ 672027 h 1235806"/>
                <a:gd name="connsiteX173" fmla="*/ 54520 w 1435503"/>
                <a:gd name="connsiteY173" fmla="*/ 679543 h 1235806"/>
                <a:gd name="connsiteX174" fmla="*/ 40088 w 1435503"/>
                <a:gd name="connsiteY174" fmla="*/ 707404 h 1235806"/>
                <a:gd name="connsiteX175" fmla="*/ 36580 w 1435503"/>
                <a:gd name="connsiteY175" fmla="*/ 712115 h 1235806"/>
                <a:gd name="connsiteX176" fmla="*/ 51313 w 1435503"/>
                <a:gd name="connsiteY176" fmla="*/ 730355 h 1235806"/>
                <a:gd name="connsiteX177" fmla="*/ 70505 w 1435503"/>
                <a:gd name="connsiteY177" fmla="*/ 746641 h 1235806"/>
                <a:gd name="connsiteX178" fmla="*/ 88143 w 1435503"/>
                <a:gd name="connsiteY178" fmla="*/ 761473 h 1235806"/>
                <a:gd name="connsiteX179" fmla="*/ 100020 w 1435503"/>
                <a:gd name="connsiteY179" fmla="*/ 767737 h 1235806"/>
                <a:gd name="connsiteX180" fmla="*/ 105381 w 1435503"/>
                <a:gd name="connsiteY180" fmla="*/ 770994 h 1235806"/>
                <a:gd name="connsiteX181" fmla="*/ 106834 w 1435503"/>
                <a:gd name="connsiteY181" fmla="*/ 771846 h 1235806"/>
                <a:gd name="connsiteX182" fmla="*/ 106734 w 1435503"/>
                <a:gd name="connsiteY182" fmla="*/ 773500 h 1235806"/>
                <a:gd name="connsiteX183" fmla="*/ 120615 w 1435503"/>
                <a:gd name="connsiteY183" fmla="*/ 811232 h 1235806"/>
                <a:gd name="connsiteX184" fmla="*/ 134596 w 1435503"/>
                <a:gd name="connsiteY184" fmla="*/ 841599 h 1235806"/>
                <a:gd name="connsiteX185" fmla="*/ 134746 w 1435503"/>
                <a:gd name="connsiteY185" fmla="*/ 843103 h 1235806"/>
                <a:gd name="connsiteX186" fmla="*/ 133544 w 1435503"/>
                <a:gd name="connsiteY186" fmla="*/ 844005 h 1235806"/>
                <a:gd name="connsiteX187" fmla="*/ 123922 w 1435503"/>
                <a:gd name="connsiteY187" fmla="*/ 851020 h 1235806"/>
                <a:gd name="connsiteX188" fmla="*/ 105732 w 1435503"/>
                <a:gd name="connsiteY188" fmla="*/ 865903 h 1235806"/>
                <a:gd name="connsiteX189" fmla="*/ 101723 w 1435503"/>
                <a:gd name="connsiteY189" fmla="*/ 870312 h 1235806"/>
                <a:gd name="connsiteX190" fmla="*/ 6063 w 1435503"/>
                <a:gd name="connsiteY190" fmla="*/ 988272 h 1235806"/>
                <a:gd name="connsiteX191" fmla="*/ 1303 w 1435503"/>
                <a:gd name="connsiteY191" fmla="*/ 996540 h 1235806"/>
                <a:gd name="connsiteX192" fmla="*/ 0 w 1435503"/>
                <a:gd name="connsiteY192" fmla="*/ 998945 h 1235806"/>
                <a:gd name="connsiteX193" fmla="*/ 13830 w 1435503"/>
                <a:gd name="connsiteY193" fmla="*/ 1018388 h 1235806"/>
                <a:gd name="connsiteX194" fmla="*/ 13329 w 1435503"/>
                <a:gd name="connsiteY194" fmla="*/ 1019741 h 1235806"/>
                <a:gd name="connsiteX195" fmla="*/ 11225 w 1435503"/>
                <a:gd name="connsiteY195" fmla="*/ 1025303 h 1235806"/>
                <a:gd name="connsiteX196" fmla="*/ 7466 w 1435503"/>
                <a:gd name="connsiteY196" fmla="*/ 1035525 h 1235806"/>
                <a:gd name="connsiteX197" fmla="*/ 14782 w 1435503"/>
                <a:gd name="connsiteY197" fmla="*/ 1058576 h 1235806"/>
                <a:gd name="connsiteX198" fmla="*/ 16737 w 1435503"/>
                <a:gd name="connsiteY198" fmla="*/ 1059979 h 1235806"/>
                <a:gd name="connsiteX199" fmla="*/ 90799 w 1435503"/>
                <a:gd name="connsiteY199" fmla="*/ 1098363 h 1235806"/>
                <a:gd name="connsiteX200" fmla="*/ 103878 w 1435503"/>
                <a:gd name="connsiteY200" fmla="*/ 1102773 h 1235806"/>
                <a:gd name="connsiteX201" fmla="*/ 104630 w 1435503"/>
                <a:gd name="connsiteY201" fmla="*/ 1103074 h 1235806"/>
                <a:gd name="connsiteX202" fmla="*/ 115403 w 1435503"/>
                <a:gd name="connsiteY202" fmla="*/ 1124371 h 1235806"/>
                <a:gd name="connsiteX203" fmla="*/ 113850 w 1435503"/>
                <a:gd name="connsiteY203" fmla="*/ 1128530 h 1235806"/>
                <a:gd name="connsiteX204" fmla="*/ 112748 w 1435503"/>
                <a:gd name="connsiteY204" fmla="*/ 1138151 h 1235806"/>
                <a:gd name="connsiteX205" fmla="*/ 114702 w 1435503"/>
                <a:gd name="connsiteY205" fmla="*/ 1142310 h 1235806"/>
                <a:gd name="connsiteX206" fmla="*/ 143415 w 1435503"/>
                <a:gd name="connsiteY206" fmla="*/ 1188111 h 1235806"/>
                <a:gd name="connsiteX207" fmla="*/ 148877 w 1435503"/>
                <a:gd name="connsiteY207" fmla="*/ 1188311 h 1235806"/>
                <a:gd name="connsiteX208" fmla="*/ 162206 w 1435503"/>
                <a:gd name="connsiteY208" fmla="*/ 1189263 h 1235806"/>
                <a:gd name="connsiteX209" fmla="*/ 195930 w 1435503"/>
                <a:gd name="connsiteY209" fmla="*/ 1218227 h 1235806"/>
                <a:gd name="connsiteX210" fmla="*/ 199488 w 1435503"/>
                <a:gd name="connsiteY210" fmla="*/ 1229852 h 1235806"/>
                <a:gd name="connsiteX211" fmla="*/ 200841 w 1435503"/>
                <a:gd name="connsiteY211" fmla="*/ 1233510 h 1235806"/>
                <a:gd name="connsiteX212" fmla="*/ 228753 w 1435503"/>
                <a:gd name="connsiteY212" fmla="*/ 1231656 h 1235806"/>
                <a:gd name="connsiteX213" fmla="*/ 258769 w 1435503"/>
                <a:gd name="connsiteY213" fmla="*/ 1225342 h 1235806"/>
                <a:gd name="connsiteX214" fmla="*/ 288233 w 1435503"/>
                <a:gd name="connsiteY214" fmla="*/ 1231005 h 1235806"/>
                <a:gd name="connsiteX215" fmla="*/ 336740 w 1435503"/>
                <a:gd name="connsiteY215" fmla="*/ 1226495 h 1235806"/>
                <a:gd name="connsiteX216" fmla="*/ 374823 w 1435503"/>
                <a:gd name="connsiteY216" fmla="*/ 1220933 h 1235806"/>
                <a:gd name="connsiteX217" fmla="*/ 433402 w 1435503"/>
                <a:gd name="connsiteY217" fmla="*/ 1224841 h 1235806"/>
                <a:gd name="connsiteX218" fmla="*/ 469131 w 1435503"/>
                <a:gd name="connsiteY218" fmla="*/ 1189163 h 1235806"/>
                <a:gd name="connsiteX219" fmla="*/ 468830 w 1435503"/>
                <a:gd name="connsiteY219" fmla="*/ 1184002 h 1235806"/>
                <a:gd name="connsiteX220" fmla="*/ 467928 w 1435503"/>
                <a:gd name="connsiteY220" fmla="*/ 1167716 h 1235806"/>
                <a:gd name="connsiteX221" fmla="*/ 467828 w 1435503"/>
                <a:gd name="connsiteY221" fmla="*/ 1166263 h 1235806"/>
                <a:gd name="connsiteX222" fmla="*/ 480506 w 1435503"/>
                <a:gd name="connsiteY222" fmla="*/ 1157193 h 1235806"/>
                <a:gd name="connsiteX223" fmla="*/ 501301 w 1435503"/>
                <a:gd name="connsiteY223" fmla="*/ 1142260 h 1235806"/>
                <a:gd name="connsiteX224" fmla="*/ 531017 w 1435503"/>
                <a:gd name="connsiteY224" fmla="*/ 1131787 h 1235806"/>
                <a:gd name="connsiteX225" fmla="*/ 539134 w 1435503"/>
                <a:gd name="connsiteY225" fmla="*/ 1130183 h 1235806"/>
                <a:gd name="connsiteX226" fmla="*/ 562285 w 1435503"/>
                <a:gd name="connsiteY226" fmla="*/ 1110991 h 1235806"/>
                <a:gd name="connsiteX227" fmla="*/ 565092 w 1435503"/>
                <a:gd name="connsiteY227" fmla="*/ 1110240 h 1235806"/>
                <a:gd name="connsiteX228" fmla="*/ 569150 w 1435503"/>
                <a:gd name="connsiteY228" fmla="*/ 1109237 h 1235806"/>
                <a:gd name="connsiteX229" fmla="*/ 632239 w 1435503"/>
                <a:gd name="connsiteY229" fmla="*/ 1075563 h 1235806"/>
                <a:gd name="connsiteX230" fmla="*/ 689114 w 1435503"/>
                <a:gd name="connsiteY230" fmla="*/ 1059428 h 1235806"/>
                <a:gd name="connsiteX231" fmla="*/ 716975 w 1435503"/>
                <a:gd name="connsiteY231" fmla="*/ 1057975 h 1235806"/>
                <a:gd name="connsiteX232" fmla="*/ 721986 w 1435503"/>
                <a:gd name="connsiteY232" fmla="*/ 1056221 h 1235806"/>
                <a:gd name="connsiteX233" fmla="*/ 742281 w 1435503"/>
                <a:gd name="connsiteY233" fmla="*/ 1050308 h 1235806"/>
                <a:gd name="connsiteX234" fmla="*/ 767035 w 1435503"/>
                <a:gd name="connsiteY234" fmla="*/ 1051210 h 1235806"/>
                <a:gd name="connsiteX235" fmla="*/ 798955 w 1435503"/>
                <a:gd name="connsiteY235" fmla="*/ 1057724 h 1235806"/>
                <a:gd name="connsiteX236" fmla="*/ 804618 w 1435503"/>
                <a:gd name="connsiteY236" fmla="*/ 1057874 h 1235806"/>
                <a:gd name="connsiteX237" fmla="*/ 817596 w 1435503"/>
                <a:gd name="connsiteY237" fmla="*/ 1059127 h 1235806"/>
                <a:gd name="connsiteX238" fmla="*/ 823559 w 1435503"/>
                <a:gd name="connsiteY238" fmla="*/ 1059879 h 1235806"/>
                <a:gd name="connsiteX239" fmla="*/ 825163 w 1435503"/>
                <a:gd name="connsiteY239" fmla="*/ 1060079 h 1235806"/>
                <a:gd name="connsiteX240" fmla="*/ 825764 w 1435503"/>
                <a:gd name="connsiteY240" fmla="*/ 1061583 h 1235806"/>
                <a:gd name="connsiteX241" fmla="*/ 834383 w 1435503"/>
                <a:gd name="connsiteY241" fmla="*/ 1095357 h 1235806"/>
                <a:gd name="connsiteX242" fmla="*/ 837490 w 1435503"/>
                <a:gd name="connsiteY242" fmla="*/ 1110841 h 1235806"/>
                <a:gd name="connsiteX243" fmla="*/ 840296 w 1435503"/>
                <a:gd name="connsiteY243" fmla="*/ 1127628 h 1235806"/>
                <a:gd name="connsiteX244" fmla="*/ 847362 w 1435503"/>
                <a:gd name="connsiteY244" fmla="*/ 1156892 h 1235806"/>
                <a:gd name="connsiteX245" fmla="*/ 859588 w 1435503"/>
                <a:gd name="connsiteY245" fmla="*/ 1155288 h 1235806"/>
                <a:gd name="connsiteX246" fmla="*/ 890256 w 1435503"/>
                <a:gd name="connsiteY246" fmla="*/ 1151580 h 1235806"/>
                <a:gd name="connsiteX247" fmla="*/ 935606 w 1435503"/>
                <a:gd name="connsiteY247" fmla="*/ 1156692 h 1235806"/>
                <a:gd name="connsiteX248" fmla="*/ 965521 w 1435503"/>
                <a:gd name="connsiteY248" fmla="*/ 1164910 h 1235806"/>
                <a:gd name="connsiteX249" fmla="*/ 975944 w 1435503"/>
                <a:gd name="connsiteY249" fmla="*/ 1167716 h 1235806"/>
                <a:gd name="connsiteX250" fmla="*/ 1008967 w 1435503"/>
                <a:gd name="connsiteY250" fmla="*/ 1146820 h 1235806"/>
                <a:gd name="connsiteX251" fmla="*/ 1008967 w 1435503"/>
                <a:gd name="connsiteY251" fmla="*/ 1146670 h 1235806"/>
                <a:gd name="connsiteX252" fmla="*/ 1031817 w 1435503"/>
                <a:gd name="connsiteY252" fmla="*/ 1110891 h 1235806"/>
                <a:gd name="connsiteX253" fmla="*/ 1051259 w 1435503"/>
                <a:gd name="connsiteY253" fmla="*/ 1093803 h 1235806"/>
                <a:gd name="connsiteX254" fmla="*/ 1079221 w 1435503"/>
                <a:gd name="connsiteY254" fmla="*/ 1060230 h 1235806"/>
                <a:gd name="connsiteX255" fmla="*/ 1121514 w 1435503"/>
                <a:gd name="connsiteY255" fmla="*/ 1009518 h 1235806"/>
                <a:gd name="connsiteX256" fmla="*/ 1131236 w 1435503"/>
                <a:gd name="connsiteY256" fmla="*/ 998795 h 1235806"/>
                <a:gd name="connsiteX257" fmla="*/ 1136547 w 1435503"/>
                <a:gd name="connsiteY257" fmla="*/ 993082 h 1235806"/>
                <a:gd name="connsiteX258" fmla="*/ 1138351 w 1435503"/>
                <a:gd name="connsiteY258" fmla="*/ 991128 h 1235806"/>
                <a:gd name="connsiteX259" fmla="*/ 1169118 w 1435503"/>
                <a:gd name="connsiteY259" fmla="*/ 1018237 h 1235806"/>
                <a:gd name="connsiteX260" fmla="*/ 1212464 w 1435503"/>
                <a:gd name="connsiteY260" fmla="*/ 1013878 h 1235806"/>
                <a:gd name="connsiteX261" fmla="*/ 1215020 w 1435503"/>
                <a:gd name="connsiteY261" fmla="*/ 995187 h 1235806"/>
                <a:gd name="connsiteX262" fmla="*/ 1223187 w 1435503"/>
                <a:gd name="connsiteY262" fmla="*/ 947933 h 1235806"/>
                <a:gd name="connsiteX263" fmla="*/ 1244334 w 1435503"/>
                <a:gd name="connsiteY263" fmla="*/ 884694 h 1235806"/>
                <a:gd name="connsiteX264" fmla="*/ 1245637 w 1435503"/>
                <a:gd name="connsiteY264" fmla="*/ 880685 h 1235806"/>
                <a:gd name="connsiteX265" fmla="*/ 1247390 w 1435503"/>
                <a:gd name="connsiteY265" fmla="*/ 871715 h 1235806"/>
                <a:gd name="connsiteX266" fmla="*/ 1247742 w 1435503"/>
                <a:gd name="connsiteY266" fmla="*/ 869410 h 1235806"/>
                <a:gd name="connsiteX267" fmla="*/ 1232007 w 1435503"/>
                <a:gd name="connsiteY267" fmla="*/ 853676 h 1235806"/>
                <a:gd name="connsiteX268" fmla="*/ 1224440 w 1435503"/>
                <a:gd name="connsiteY268" fmla="*/ 843253 h 1235806"/>
                <a:gd name="connsiteX269" fmla="*/ 1221935 w 1435503"/>
                <a:gd name="connsiteY269" fmla="*/ 841399 h 1235806"/>
                <a:gd name="connsiteX270" fmla="*/ 1240676 w 1435503"/>
                <a:gd name="connsiteY270" fmla="*/ 822858 h 1235806"/>
                <a:gd name="connsiteX271" fmla="*/ 1242530 w 1435503"/>
                <a:gd name="connsiteY271" fmla="*/ 824261 h 1235806"/>
                <a:gd name="connsiteX272" fmla="*/ 1261872 w 1435503"/>
                <a:gd name="connsiteY272" fmla="*/ 838843 h 1235806"/>
                <a:gd name="connsiteX273" fmla="*/ 1338942 w 1435503"/>
                <a:gd name="connsiteY273" fmla="*/ 792091 h 1235806"/>
                <a:gd name="connsiteX274" fmla="*/ 1337238 w 1435503"/>
                <a:gd name="connsiteY274" fmla="*/ 773951 h 1235806"/>
                <a:gd name="connsiteX275" fmla="*/ 1334833 w 1435503"/>
                <a:gd name="connsiteY275" fmla="*/ 753055 h 1235806"/>
                <a:gd name="connsiteX276" fmla="*/ 1324410 w 1435503"/>
                <a:gd name="connsiteY276" fmla="*/ 749296 h 1235806"/>
                <a:gd name="connsiteX277" fmla="*/ 1303113 w 1435503"/>
                <a:gd name="connsiteY277" fmla="*/ 741730 h 1235806"/>
                <a:gd name="connsiteX278" fmla="*/ 1277406 w 1435503"/>
                <a:gd name="connsiteY278" fmla="*/ 722888 h 1235806"/>
                <a:gd name="connsiteX279" fmla="*/ 1221384 w 1435503"/>
                <a:gd name="connsiteY279" fmla="*/ 712165 h 1235806"/>
                <a:gd name="connsiteX280" fmla="*/ 1211662 w 1435503"/>
                <a:gd name="connsiteY280" fmla="*/ 706402 h 1235806"/>
                <a:gd name="connsiteX281" fmla="*/ 1201039 w 1435503"/>
                <a:gd name="connsiteY281" fmla="*/ 700138 h 1235806"/>
                <a:gd name="connsiteX282" fmla="*/ 1144715 w 1435503"/>
                <a:gd name="connsiteY282" fmla="*/ 670273 h 1235806"/>
                <a:gd name="connsiteX283" fmla="*/ 1136697 w 1435503"/>
                <a:gd name="connsiteY283" fmla="*/ 667767 h 1235806"/>
                <a:gd name="connsiteX284" fmla="*/ 1134342 w 1435503"/>
                <a:gd name="connsiteY284" fmla="*/ 667216 h 1235806"/>
                <a:gd name="connsiteX285" fmla="*/ 1133039 w 1435503"/>
                <a:gd name="connsiteY285" fmla="*/ 670273 h 1235806"/>
                <a:gd name="connsiteX286" fmla="*/ 1128580 w 1435503"/>
                <a:gd name="connsiteY286" fmla="*/ 679593 h 1235806"/>
                <a:gd name="connsiteX287" fmla="*/ 1128329 w 1435503"/>
                <a:gd name="connsiteY287" fmla="*/ 679994 h 1235806"/>
                <a:gd name="connsiteX288" fmla="*/ 1119509 w 1435503"/>
                <a:gd name="connsiteY288" fmla="*/ 689114 h 1235806"/>
                <a:gd name="connsiteX289" fmla="*/ 1087038 w 1435503"/>
                <a:gd name="connsiteY289" fmla="*/ 696831 h 1235806"/>
                <a:gd name="connsiteX290" fmla="*/ 1073358 w 1435503"/>
                <a:gd name="connsiteY290" fmla="*/ 691920 h 1235806"/>
                <a:gd name="connsiteX291" fmla="*/ 1072707 w 1435503"/>
                <a:gd name="connsiteY291" fmla="*/ 691520 h 1235806"/>
                <a:gd name="connsiteX292" fmla="*/ 1067245 w 1435503"/>
                <a:gd name="connsiteY292" fmla="*/ 686859 h 1235806"/>
                <a:gd name="connsiteX293" fmla="*/ 1057674 w 1435503"/>
                <a:gd name="connsiteY293" fmla="*/ 680896 h 1235806"/>
                <a:gd name="connsiteX294" fmla="*/ 1049756 w 1435503"/>
                <a:gd name="connsiteY294" fmla="*/ 704247 h 1235806"/>
                <a:gd name="connsiteX295" fmla="*/ 1036127 w 1435503"/>
                <a:gd name="connsiteY295" fmla="*/ 710511 h 1235806"/>
                <a:gd name="connsiteX296" fmla="*/ 1034573 w 1435503"/>
                <a:gd name="connsiteY296" fmla="*/ 715723 h 1235806"/>
                <a:gd name="connsiteX297" fmla="*/ 1026856 w 1435503"/>
                <a:gd name="connsiteY297" fmla="*/ 726897 h 1235806"/>
                <a:gd name="connsiteX298" fmla="*/ 1025152 w 1435503"/>
                <a:gd name="connsiteY298" fmla="*/ 727599 h 1235806"/>
                <a:gd name="connsiteX299" fmla="*/ 1023849 w 1435503"/>
                <a:gd name="connsiteY299" fmla="*/ 726296 h 1235806"/>
                <a:gd name="connsiteX300" fmla="*/ 1019240 w 1435503"/>
                <a:gd name="connsiteY300" fmla="*/ 721485 h 1235806"/>
                <a:gd name="connsiteX301" fmla="*/ 1007965 w 1435503"/>
                <a:gd name="connsiteY301" fmla="*/ 710361 h 1235806"/>
                <a:gd name="connsiteX302" fmla="*/ 999446 w 1435503"/>
                <a:gd name="connsiteY302" fmla="*/ 710662 h 1235806"/>
                <a:gd name="connsiteX303" fmla="*/ 1005760 w 1435503"/>
                <a:gd name="connsiteY303" fmla="*/ 732359 h 1235806"/>
                <a:gd name="connsiteX304" fmla="*/ 970532 w 1435503"/>
                <a:gd name="connsiteY304" fmla="*/ 753005 h 1235806"/>
                <a:gd name="connsiteX305" fmla="*/ 969430 w 1435503"/>
                <a:gd name="connsiteY305" fmla="*/ 749948 h 1235806"/>
                <a:gd name="connsiteX306" fmla="*/ 975293 w 1435503"/>
                <a:gd name="connsiteY306" fmla="*/ 723690 h 1235806"/>
                <a:gd name="connsiteX307" fmla="*/ 981055 w 1435503"/>
                <a:gd name="connsiteY307" fmla="*/ 713367 h 1235806"/>
                <a:gd name="connsiteX308" fmla="*/ 973389 w 1435503"/>
                <a:gd name="connsiteY308" fmla="*/ 690968 h 1235806"/>
                <a:gd name="connsiteX309" fmla="*/ 972587 w 1435503"/>
                <a:gd name="connsiteY309" fmla="*/ 688563 h 1235806"/>
                <a:gd name="connsiteX310" fmla="*/ 974942 w 1435503"/>
                <a:gd name="connsiteY310" fmla="*/ 687611 h 1235806"/>
                <a:gd name="connsiteX311" fmla="*/ 984663 w 1435503"/>
                <a:gd name="connsiteY311" fmla="*/ 683652 h 1235806"/>
                <a:gd name="connsiteX312" fmla="*/ 1004106 w 1435503"/>
                <a:gd name="connsiteY312" fmla="*/ 675434 h 1235806"/>
                <a:gd name="connsiteX313" fmla="*/ 1022647 w 1435503"/>
                <a:gd name="connsiteY313" fmla="*/ 665763 h 1235806"/>
                <a:gd name="connsiteX314" fmla="*/ 1028359 w 1435503"/>
                <a:gd name="connsiteY314" fmla="*/ 662656 h 1235806"/>
                <a:gd name="connsiteX315" fmla="*/ 1032268 w 1435503"/>
                <a:gd name="connsiteY315" fmla="*/ 638603 h 1235806"/>
                <a:gd name="connsiteX316" fmla="*/ 1034422 w 1435503"/>
                <a:gd name="connsiteY316" fmla="*/ 638453 h 1235806"/>
                <a:gd name="connsiteX317" fmla="*/ 1043142 w 1435503"/>
                <a:gd name="connsiteY317" fmla="*/ 637952 h 1235806"/>
                <a:gd name="connsiteX318" fmla="*/ 1061332 w 1435503"/>
                <a:gd name="connsiteY318" fmla="*/ 636599 h 1235806"/>
                <a:gd name="connsiteX319" fmla="*/ 1075864 w 1435503"/>
                <a:gd name="connsiteY319" fmla="*/ 632841 h 1235806"/>
                <a:gd name="connsiteX320" fmla="*/ 1112394 w 1435503"/>
                <a:gd name="connsiteY320" fmla="*/ 589044 h 1235806"/>
                <a:gd name="connsiteX321" fmla="*/ 1115651 w 1435503"/>
                <a:gd name="connsiteY321" fmla="*/ 578120 h 1235806"/>
                <a:gd name="connsiteX322" fmla="*/ 1118157 w 1435503"/>
                <a:gd name="connsiteY322" fmla="*/ 570804 h 1235806"/>
                <a:gd name="connsiteX323" fmla="*/ 1118357 w 1435503"/>
                <a:gd name="connsiteY323" fmla="*/ 570103 h 1235806"/>
                <a:gd name="connsiteX324" fmla="*/ 1120462 w 1435503"/>
                <a:gd name="connsiteY324" fmla="*/ 555471 h 1235806"/>
                <a:gd name="connsiteX325" fmla="*/ 1095607 w 1435503"/>
                <a:gd name="connsiteY325" fmla="*/ 457956 h 1235806"/>
                <a:gd name="connsiteX326" fmla="*/ 1082929 w 1435503"/>
                <a:gd name="connsiteY326" fmla="*/ 455651 h 1235806"/>
                <a:gd name="connsiteX327" fmla="*/ 1052362 w 1435503"/>
                <a:gd name="connsiteY327" fmla="*/ 450690 h 1235806"/>
                <a:gd name="connsiteX328" fmla="*/ 1022446 w 1435503"/>
                <a:gd name="connsiteY328" fmla="*/ 421075 h 1235806"/>
                <a:gd name="connsiteX329" fmla="*/ 1021945 w 1435503"/>
                <a:gd name="connsiteY329" fmla="*/ 418520 h 1235806"/>
                <a:gd name="connsiteX330" fmla="*/ 1021344 w 1435503"/>
                <a:gd name="connsiteY330" fmla="*/ 406042 h 1235806"/>
                <a:gd name="connsiteX331" fmla="*/ 1016333 w 1435503"/>
                <a:gd name="connsiteY331" fmla="*/ 391610 h 1235806"/>
                <a:gd name="connsiteX332" fmla="*/ 1012725 w 1435503"/>
                <a:gd name="connsiteY332" fmla="*/ 385597 h 1235806"/>
                <a:gd name="connsiteX333" fmla="*/ 1011072 w 1435503"/>
                <a:gd name="connsiteY333" fmla="*/ 382340 h 1235806"/>
                <a:gd name="connsiteX334" fmla="*/ 1009868 w 1435503"/>
                <a:gd name="connsiteY334" fmla="*/ 380085 h 1235806"/>
                <a:gd name="connsiteX335" fmla="*/ 1036678 w 1435503"/>
                <a:gd name="connsiteY335" fmla="*/ 363398 h 1235806"/>
                <a:gd name="connsiteX336" fmla="*/ 1038281 w 1435503"/>
                <a:gd name="connsiteY336" fmla="*/ 353126 h 1235806"/>
                <a:gd name="connsiteX337" fmla="*/ 1042490 w 1435503"/>
                <a:gd name="connsiteY337" fmla="*/ 336890 h 1235806"/>
                <a:gd name="connsiteX338" fmla="*/ 1044394 w 1435503"/>
                <a:gd name="connsiteY338" fmla="*/ 334184 h 1235806"/>
                <a:gd name="connsiteX339" fmla="*/ 1046650 w 1435503"/>
                <a:gd name="connsiteY339" fmla="*/ 336640 h 1235806"/>
                <a:gd name="connsiteX340" fmla="*/ 1049556 w 1435503"/>
                <a:gd name="connsiteY340" fmla="*/ 339646 h 1235806"/>
                <a:gd name="connsiteX341" fmla="*/ 1054016 w 1435503"/>
                <a:gd name="connsiteY341" fmla="*/ 344657 h 1235806"/>
                <a:gd name="connsiteX342" fmla="*/ 1077066 w 1435503"/>
                <a:gd name="connsiteY342" fmla="*/ 386599 h 1235806"/>
                <a:gd name="connsiteX343" fmla="*/ 1081576 w 1435503"/>
                <a:gd name="connsiteY343" fmla="*/ 392613 h 1235806"/>
                <a:gd name="connsiteX344" fmla="*/ 1090245 w 1435503"/>
                <a:gd name="connsiteY344" fmla="*/ 391510 h 1235806"/>
                <a:gd name="connsiteX345" fmla="*/ 1094705 w 1435503"/>
                <a:gd name="connsiteY345" fmla="*/ 388955 h 1235806"/>
                <a:gd name="connsiteX346" fmla="*/ 1100568 w 1435503"/>
                <a:gd name="connsiteY346" fmla="*/ 385697 h 1235806"/>
                <a:gd name="connsiteX347" fmla="*/ 1118307 w 1435503"/>
                <a:gd name="connsiteY347" fmla="*/ 391510 h 1235806"/>
                <a:gd name="connsiteX348" fmla="*/ 1122917 w 1435503"/>
                <a:gd name="connsiteY348" fmla="*/ 399778 h 1235806"/>
                <a:gd name="connsiteX349" fmla="*/ 1127527 w 1435503"/>
                <a:gd name="connsiteY349" fmla="*/ 407946 h 1235806"/>
                <a:gd name="connsiteX350" fmla="*/ 1132037 w 1435503"/>
                <a:gd name="connsiteY350" fmla="*/ 412957 h 1235806"/>
                <a:gd name="connsiteX351" fmla="*/ 1132839 w 1435503"/>
                <a:gd name="connsiteY351" fmla="*/ 413759 h 1235806"/>
                <a:gd name="connsiteX352" fmla="*/ 1145517 w 1435503"/>
                <a:gd name="connsiteY352" fmla="*/ 397323 h 1235806"/>
                <a:gd name="connsiteX353" fmla="*/ 1150828 w 1435503"/>
                <a:gd name="connsiteY353" fmla="*/ 384244 h 1235806"/>
                <a:gd name="connsiteX354" fmla="*/ 1157092 w 1435503"/>
                <a:gd name="connsiteY354" fmla="*/ 368810 h 1235806"/>
                <a:gd name="connsiteX355" fmla="*/ 1219930 w 1435503"/>
                <a:gd name="connsiteY355" fmla="*/ 313439 h 1235806"/>
                <a:gd name="connsiteX356" fmla="*/ 1224089 w 1435503"/>
                <a:gd name="connsiteY356" fmla="*/ 312286 h 1235806"/>
                <a:gd name="connsiteX357" fmla="*/ 1242230 w 1435503"/>
                <a:gd name="connsiteY357" fmla="*/ 314641 h 1235806"/>
                <a:gd name="connsiteX358" fmla="*/ 1266081 w 1435503"/>
                <a:gd name="connsiteY358" fmla="*/ 329925 h 1235806"/>
                <a:gd name="connsiteX359" fmla="*/ 1293342 w 1435503"/>
                <a:gd name="connsiteY359" fmla="*/ 334234 h 1235806"/>
                <a:gd name="connsiteX360" fmla="*/ 1345356 w 1435503"/>
                <a:gd name="connsiteY360" fmla="*/ 305822 h 1235806"/>
                <a:gd name="connsiteX361" fmla="*/ 1354175 w 1435503"/>
                <a:gd name="connsiteY361" fmla="*/ 297955 h 1235806"/>
                <a:gd name="connsiteX362" fmla="*/ 1362042 w 1435503"/>
                <a:gd name="connsiteY362" fmla="*/ 290939 h 1235806"/>
                <a:gd name="connsiteX363" fmla="*/ 1370160 w 1435503"/>
                <a:gd name="connsiteY363" fmla="*/ 293244 h 1235806"/>
                <a:gd name="connsiteX364" fmla="*/ 1384993 w 1435503"/>
                <a:gd name="connsiteY364" fmla="*/ 297504 h 1235806"/>
                <a:gd name="connsiteX365" fmla="*/ 1409496 w 1435503"/>
                <a:gd name="connsiteY365" fmla="*/ 292242 h 1235806"/>
                <a:gd name="connsiteX366" fmla="*/ 1411401 w 1435503"/>
                <a:gd name="connsiteY366" fmla="*/ 286880 h 1235806"/>
                <a:gd name="connsiteX367" fmla="*/ 1407943 w 1435503"/>
                <a:gd name="connsiteY367" fmla="*/ 279314 h 1235806"/>
                <a:gd name="connsiteX368" fmla="*/ 1405538 w 1435503"/>
                <a:gd name="connsiteY368" fmla="*/ 274854 h 1235806"/>
                <a:gd name="connsiteX369" fmla="*/ 1408244 w 1435503"/>
                <a:gd name="connsiteY369" fmla="*/ 255211 h 1235806"/>
                <a:gd name="connsiteX370" fmla="*/ 1409747 w 1435503"/>
                <a:gd name="connsiteY370" fmla="*/ 251954 h 1235806"/>
                <a:gd name="connsiteX371" fmla="*/ 1412504 w 1435503"/>
                <a:gd name="connsiteY371" fmla="*/ 254209 h 1235806"/>
                <a:gd name="connsiteX372" fmla="*/ 1418216 w 1435503"/>
                <a:gd name="connsiteY372" fmla="*/ 259370 h 1235806"/>
                <a:gd name="connsiteX373" fmla="*/ 1431846 w 1435503"/>
                <a:gd name="connsiteY373" fmla="*/ 271346 h 1235806"/>
                <a:gd name="connsiteX374" fmla="*/ 1434251 w 1435503"/>
                <a:gd name="connsiteY374" fmla="*/ 272549 h 1235806"/>
                <a:gd name="connsiteX375" fmla="*/ 1435504 w 1435503"/>
                <a:gd name="connsiteY375" fmla="*/ 271797 h 1235806"/>
                <a:gd name="connsiteX376" fmla="*/ 1416262 w 1435503"/>
                <a:gd name="connsiteY376" fmla="*/ 244938 h 1235806"/>
                <a:gd name="connsiteX377" fmla="*/ 1411151 w 1435503"/>
                <a:gd name="connsiteY377" fmla="*/ 247594 h 123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</a:cxnLst>
              <a:rect l="l" t="t" r="r" b="b"/>
              <a:pathLst>
                <a:path w="1435503" h="1235806">
                  <a:moveTo>
                    <a:pt x="1411401" y="247594"/>
                  </a:moveTo>
                  <a:cubicBezTo>
                    <a:pt x="1402782" y="245089"/>
                    <a:pt x="1394364" y="242332"/>
                    <a:pt x="1385444" y="239376"/>
                  </a:cubicBezTo>
                  <a:lnTo>
                    <a:pt x="1375322" y="236019"/>
                  </a:lnTo>
                  <a:lnTo>
                    <a:pt x="1376023" y="233563"/>
                  </a:lnTo>
                  <a:cubicBezTo>
                    <a:pt x="1376324" y="232411"/>
                    <a:pt x="1376574" y="231358"/>
                    <a:pt x="1376825" y="230306"/>
                  </a:cubicBezTo>
                  <a:cubicBezTo>
                    <a:pt x="1377326" y="227951"/>
                    <a:pt x="1377827" y="225696"/>
                    <a:pt x="1379030" y="223641"/>
                  </a:cubicBezTo>
                  <a:cubicBezTo>
                    <a:pt x="1385544" y="212367"/>
                    <a:pt x="1384893" y="199589"/>
                    <a:pt x="1384241" y="188314"/>
                  </a:cubicBezTo>
                  <a:cubicBezTo>
                    <a:pt x="1384041" y="183904"/>
                    <a:pt x="1383139" y="180597"/>
                    <a:pt x="1381736" y="178693"/>
                  </a:cubicBezTo>
                  <a:cubicBezTo>
                    <a:pt x="1370411" y="163660"/>
                    <a:pt x="1358986" y="156845"/>
                    <a:pt x="1344654" y="156594"/>
                  </a:cubicBezTo>
                  <a:cubicBezTo>
                    <a:pt x="1336086" y="156494"/>
                    <a:pt x="1327316" y="156744"/>
                    <a:pt x="1318497" y="156143"/>
                  </a:cubicBezTo>
                  <a:cubicBezTo>
                    <a:pt x="1315590" y="155943"/>
                    <a:pt x="1312885" y="154740"/>
                    <a:pt x="1310529" y="153688"/>
                  </a:cubicBezTo>
                  <a:cubicBezTo>
                    <a:pt x="1309627" y="153287"/>
                    <a:pt x="1308725" y="152886"/>
                    <a:pt x="1307824" y="152535"/>
                  </a:cubicBezTo>
                  <a:lnTo>
                    <a:pt x="1305969" y="151884"/>
                  </a:lnTo>
                  <a:lnTo>
                    <a:pt x="1306070" y="149879"/>
                  </a:lnTo>
                  <a:cubicBezTo>
                    <a:pt x="1306470" y="140809"/>
                    <a:pt x="1312233" y="138003"/>
                    <a:pt x="1316843" y="135798"/>
                  </a:cubicBezTo>
                  <a:cubicBezTo>
                    <a:pt x="1317996" y="135247"/>
                    <a:pt x="1319148" y="134696"/>
                    <a:pt x="1320201" y="134045"/>
                  </a:cubicBezTo>
                  <a:cubicBezTo>
                    <a:pt x="1323758" y="131790"/>
                    <a:pt x="1327316" y="129635"/>
                    <a:pt x="1330924" y="127430"/>
                  </a:cubicBezTo>
                  <a:cubicBezTo>
                    <a:pt x="1337940" y="123171"/>
                    <a:pt x="1345155" y="118811"/>
                    <a:pt x="1351820" y="113950"/>
                  </a:cubicBezTo>
                  <a:cubicBezTo>
                    <a:pt x="1358585" y="108990"/>
                    <a:pt x="1361441" y="104079"/>
                    <a:pt x="1360840" y="98166"/>
                  </a:cubicBezTo>
                  <a:lnTo>
                    <a:pt x="1356180" y="96863"/>
                  </a:lnTo>
                  <a:cubicBezTo>
                    <a:pt x="1349966" y="95159"/>
                    <a:pt x="1343802" y="93455"/>
                    <a:pt x="1337689" y="91601"/>
                  </a:cubicBezTo>
                  <a:lnTo>
                    <a:pt x="1337188" y="91451"/>
                  </a:lnTo>
                  <a:cubicBezTo>
                    <a:pt x="1333680" y="90399"/>
                    <a:pt x="1327868" y="88645"/>
                    <a:pt x="1328519" y="80727"/>
                  </a:cubicBezTo>
                  <a:lnTo>
                    <a:pt x="1328669" y="79174"/>
                  </a:lnTo>
                  <a:lnTo>
                    <a:pt x="1330122" y="78523"/>
                  </a:lnTo>
                  <a:cubicBezTo>
                    <a:pt x="1332678" y="77370"/>
                    <a:pt x="1335234" y="76217"/>
                    <a:pt x="1337839" y="75065"/>
                  </a:cubicBezTo>
                  <a:cubicBezTo>
                    <a:pt x="1344304" y="72209"/>
                    <a:pt x="1350968" y="69252"/>
                    <a:pt x="1357232" y="65895"/>
                  </a:cubicBezTo>
                  <a:cubicBezTo>
                    <a:pt x="1359386" y="64742"/>
                    <a:pt x="1361191" y="62688"/>
                    <a:pt x="1363145" y="60483"/>
                  </a:cubicBezTo>
                  <a:cubicBezTo>
                    <a:pt x="1363546" y="60032"/>
                    <a:pt x="1363947" y="59581"/>
                    <a:pt x="1364298" y="59180"/>
                  </a:cubicBezTo>
                  <a:cubicBezTo>
                    <a:pt x="1347811" y="41441"/>
                    <a:pt x="1347461" y="39838"/>
                    <a:pt x="1346759" y="15233"/>
                  </a:cubicBezTo>
                  <a:cubicBezTo>
                    <a:pt x="1346709" y="13379"/>
                    <a:pt x="1346759" y="11926"/>
                    <a:pt x="1346859" y="10523"/>
                  </a:cubicBezTo>
                  <a:cubicBezTo>
                    <a:pt x="1347110" y="6464"/>
                    <a:pt x="1347260" y="2906"/>
                    <a:pt x="1344704" y="0"/>
                  </a:cubicBezTo>
                  <a:cubicBezTo>
                    <a:pt x="1339944" y="1102"/>
                    <a:pt x="1335183" y="2055"/>
                    <a:pt x="1330423" y="3057"/>
                  </a:cubicBezTo>
                  <a:cubicBezTo>
                    <a:pt x="1318948" y="5412"/>
                    <a:pt x="1307122" y="7817"/>
                    <a:pt x="1296098" y="11776"/>
                  </a:cubicBezTo>
                  <a:cubicBezTo>
                    <a:pt x="1278860" y="17939"/>
                    <a:pt x="1260670" y="20545"/>
                    <a:pt x="1237118" y="20194"/>
                  </a:cubicBezTo>
                  <a:cubicBezTo>
                    <a:pt x="1234563" y="20194"/>
                    <a:pt x="1232007" y="20244"/>
                    <a:pt x="1229451" y="20395"/>
                  </a:cubicBezTo>
                  <a:cubicBezTo>
                    <a:pt x="1224891" y="20595"/>
                    <a:pt x="1220181" y="20746"/>
                    <a:pt x="1215571" y="20194"/>
                  </a:cubicBezTo>
                  <a:cubicBezTo>
                    <a:pt x="1202993" y="18641"/>
                    <a:pt x="1193723" y="23702"/>
                    <a:pt x="1187158" y="35578"/>
                  </a:cubicBezTo>
                  <a:cubicBezTo>
                    <a:pt x="1185856" y="37883"/>
                    <a:pt x="1184503" y="40188"/>
                    <a:pt x="1183150" y="42493"/>
                  </a:cubicBezTo>
                  <a:cubicBezTo>
                    <a:pt x="1175883" y="54670"/>
                    <a:pt x="1169018" y="66195"/>
                    <a:pt x="1173829" y="81078"/>
                  </a:cubicBezTo>
                  <a:cubicBezTo>
                    <a:pt x="1174581" y="83283"/>
                    <a:pt x="1173178" y="85237"/>
                    <a:pt x="1171524" y="87442"/>
                  </a:cubicBezTo>
                  <a:cubicBezTo>
                    <a:pt x="1170922" y="88294"/>
                    <a:pt x="1170221" y="89246"/>
                    <a:pt x="1169570" y="90298"/>
                  </a:cubicBezTo>
                  <a:lnTo>
                    <a:pt x="1168467" y="92102"/>
                  </a:lnTo>
                  <a:lnTo>
                    <a:pt x="1136798" y="82181"/>
                  </a:lnTo>
                  <a:cubicBezTo>
                    <a:pt x="1136247" y="82882"/>
                    <a:pt x="1135695" y="83534"/>
                    <a:pt x="1135144" y="84235"/>
                  </a:cubicBezTo>
                  <a:cubicBezTo>
                    <a:pt x="1132989" y="86891"/>
                    <a:pt x="1130985" y="89396"/>
                    <a:pt x="1129281" y="92052"/>
                  </a:cubicBezTo>
                  <a:cubicBezTo>
                    <a:pt x="1128379" y="93505"/>
                    <a:pt x="1127727" y="95209"/>
                    <a:pt x="1126876" y="97464"/>
                  </a:cubicBezTo>
                  <a:cubicBezTo>
                    <a:pt x="1126726" y="97915"/>
                    <a:pt x="1126525" y="98416"/>
                    <a:pt x="1126325" y="98917"/>
                  </a:cubicBezTo>
                  <a:lnTo>
                    <a:pt x="1132638" y="101373"/>
                  </a:lnTo>
                  <a:cubicBezTo>
                    <a:pt x="1139454" y="104029"/>
                    <a:pt x="1146068" y="106584"/>
                    <a:pt x="1152682" y="108990"/>
                  </a:cubicBezTo>
                  <a:cubicBezTo>
                    <a:pt x="1160299" y="111796"/>
                    <a:pt x="1164608" y="116907"/>
                    <a:pt x="1165861" y="124724"/>
                  </a:cubicBezTo>
                  <a:cubicBezTo>
                    <a:pt x="1166112" y="126378"/>
                    <a:pt x="1167014" y="128081"/>
                    <a:pt x="1167816" y="129585"/>
                  </a:cubicBezTo>
                  <a:cubicBezTo>
                    <a:pt x="1167966" y="129885"/>
                    <a:pt x="1168117" y="130186"/>
                    <a:pt x="1168267" y="130487"/>
                  </a:cubicBezTo>
                  <a:cubicBezTo>
                    <a:pt x="1170672" y="131339"/>
                    <a:pt x="1173228" y="132040"/>
                    <a:pt x="1175683" y="132641"/>
                  </a:cubicBezTo>
                  <a:cubicBezTo>
                    <a:pt x="1184202" y="134846"/>
                    <a:pt x="1192971" y="137151"/>
                    <a:pt x="1197481" y="147975"/>
                  </a:cubicBezTo>
                  <a:lnTo>
                    <a:pt x="1198333" y="149980"/>
                  </a:lnTo>
                  <a:lnTo>
                    <a:pt x="1196529" y="151232"/>
                  </a:lnTo>
                  <a:cubicBezTo>
                    <a:pt x="1195126" y="152184"/>
                    <a:pt x="1193723" y="153036"/>
                    <a:pt x="1192370" y="153838"/>
                  </a:cubicBezTo>
                  <a:cubicBezTo>
                    <a:pt x="1189714" y="155442"/>
                    <a:pt x="1187208" y="156895"/>
                    <a:pt x="1185755" y="158849"/>
                  </a:cubicBezTo>
                  <a:cubicBezTo>
                    <a:pt x="1183851" y="161355"/>
                    <a:pt x="1182649" y="164511"/>
                    <a:pt x="1181245" y="168220"/>
                  </a:cubicBezTo>
                  <a:cubicBezTo>
                    <a:pt x="1180594" y="169974"/>
                    <a:pt x="1179892" y="171777"/>
                    <a:pt x="1179090" y="173632"/>
                  </a:cubicBezTo>
                  <a:lnTo>
                    <a:pt x="1178139" y="175786"/>
                  </a:lnTo>
                  <a:lnTo>
                    <a:pt x="1175883" y="175135"/>
                  </a:lnTo>
                  <a:cubicBezTo>
                    <a:pt x="1165360" y="172128"/>
                    <a:pt x="1155739" y="173231"/>
                    <a:pt x="1145517" y="174383"/>
                  </a:cubicBezTo>
                  <a:cubicBezTo>
                    <a:pt x="1143412" y="174634"/>
                    <a:pt x="1141358" y="174834"/>
                    <a:pt x="1139253" y="175035"/>
                  </a:cubicBezTo>
                  <a:lnTo>
                    <a:pt x="1137600" y="175185"/>
                  </a:lnTo>
                  <a:cubicBezTo>
                    <a:pt x="1131236" y="175786"/>
                    <a:pt x="1123318" y="176588"/>
                    <a:pt x="1116152" y="170475"/>
                  </a:cubicBezTo>
                  <a:lnTo>
                    <a:pt x="1115551" y="169773"/>
                  </a:lnTo>
                  <a:cubicBezTo>
                    <a:pt x="1114148" y="167318"/>
                    <a:pt x="1113597" y="164562"/>
                    <a:pt x="1113046" y="161906"/>
                  </a:cubicBezTo>
                  <a:cubicBezTo>
                    <a:pt x="1112093" y="157346"/>
                    <a:pt x="1111292" y="153437"/>
                    <a:pt x="1107082" y="150831"/>
                  </a:cubicBezTo>
                  <a:cubicBezTo>
                    <a:pt x="1099515" y="146121"/>
                    <a:pt x="1092099" y="141010"/>
                    <a:pt x="1084884" y="136099"/>
                  </a:cubicBezTo>
                  <a:cubicBezTo>
                    <a:pt x="1078670" y="131840"/>
                    <a:pt x="1072206" y="127430"/>
                    <a:pt x="1065741" y="123321"/>
                  </a:cubicBezTo>
                  <a:cubicBezTo>
                    <a:pt x="1063637" y="121968"/>
                    <a:pt x="1060881" y="121317"/>
                    <a:pt x="1057975" y="120615"/>
                  </a:cubicBezTo>
                  <a:cubicBezTo>
                    <a:pt x="1057223" y="120415"/>
                    <a:pt x="1056471" y="120264"/>
                    <a:pt x="1055719" y="120064"/>
                  </a:cubicBezTo>
                  <a:lnTo>
                    <a:pt x="1048604" y="137201"/>
                  </a:lnTo>
                  <a:lnTo>
                    <a:pt x="1046599" y="136951"/>
                  </a:lnTo>
                  <a:cubicBezTo>
                    <a:pt x="1039383" y="136099"/>
                    <a:pt x="1032118" y="134145"/>
                    <a:pt x="1027758" y="125927"/>
                  </a:cubicBezTo>
                  <a:cubicBezTo>
                    <a:pt x="1023699" y="118310"/>
                    <a:pt x="1016784" y="113449"/>
                    <a:pt x="1007213" y="111445"/>
                  </a:cubicBezTo>
                  <a:cubicBezTo>
                    <a:pt x="1006612" y="111345"/>
                    <a:pt x="1005259" y="111846"/>
                    <a:pt x="1003705" y="112497"/>
                  </a:cubicBezTo>
                  <a:lnTo>
                    <a:pt x="1019590" y="120164"/>
                  </a:lnTo>
                  <a:lnTo>
                    <a:pt x="1016784" y="122820"/>
                  </a:lnTo>
                  <a:cubicBezTo>
                    <a:pt x="1013326" y="126177"/>
                    <a:pt x="1010069" y="129535"/>
                    <a:pt x="1006912" y="132842"/>
                  </a:cubicBezTo>
                  <a:cubicBezTo>
                    <a:pt x="998594" y="141561"/>
                    <a:pt x="990777" y="149779"/>
                    <a:pt x="979853" y="155842"/>
                  </a:cubicBezTo>
                  <a:lnTo>
                    <a:pt x="977598" y="157095"/>
                  </a:lnTo>
                  <a:lnTo>
                    <a:pt x="976245" y="154890"/>
                  </a:lnTo>
                  <a:cubicBezTo>
                    <a:pt x="975193" y="153086"/>
                    <a:pt x="974190" y="151383"/>
                    <a:pt x="973238" y="149779"/>
                  </a:cubicBezTo>
                  <a:cubicBezTo>
                    <a:pt x="971184" y="146221"/>
                    <a:pt x="969380" y="143114"/>
                    <a:pt x="967275" y="140258"/>
                  </a:cubicBezTo>
                  <a:cubicBezTo>
                    <a:pt x="965621" y="138003"/>
                    <a:pt x="963417" y="135999"/>
                    <a:pt x="961312" y="134045"/>
                  </a:cubicBezTo>
                  <a:cubicBezTo>
                    <a:pt x="960811" y="133594"/>
                    <a:pt x="960360" y="133143"/>
                    <a:pt x="959859" y="132692"/>
                  </a:cubicBezTo>
                  <a:lnTo>
                    <a:pt x="934703" y="146271"/>
                  </a:lnTo>
                  <a:lnTo>
                    <a:pt x="933451" y="145620"/>
                  </a:lnTo>
                  <a:cubicBezTo>
                    <a:pt x="913808" y="135748"/>
                    <a:pt x="913457" y="135698"/>
                    <a:pt x="895568" y="144016"/>
                  </a:cubicBezTo>
                  <a:cubicBezTo>
                    <a:pt x="891158" y="146071"/>
                    <a:pt x="886848" y="148677"/>
                    <a:pt x="882690" y="151182"/>
                  </a:cubicBezTo>
                  <a:lnTo>
                    <a:pt x="879382" y="153187"/>
                  </a:lnTo>
                  <a:cubicBezTo>
                    <a:pt x="874922" y="155842"/>
                    <a:pt x="870513" y="158598"/>
                    <a:pt x="866303" y="161254"/>
                  </a:cubicBezTo>
                  <a:lnTo>
                    <a:pt x="860741" y="164712"/>
                  </a:lnTo>
                  <a:lnTo>
                    <a:pt x="859438" y="164161"/>
                  </a:lnTo>
                  <a:cubicBezTo>
                    <a:pt x="847562" y="159085"/>
                    <a:pt x="835836" y="159350"/>
                    <a:pt x="824161" y="164963"/>
                  </a:cubicBezTo>
                  <a:cubicBezTo>
                    <a:pt x="819049" y="167418"/>
                    <a:pt x="814089" y="169472"/>
                    <a:pt x="809679" y="171326"/>
                  </a:cubicBezTo>
                  <a:cubicBezTo>
                    <a:pt x="807574" y="172178"/>
                    <a:pt x="805620" y="173030"/>
                    <a:pt x="803766" y="173832"/>
                  </a:cubicBezTo>
                  <a:lnTo>
                    <a:pt x="802563" y="174333"/>
                  </a:lnTo>
                  <a:lnTo>
                    <a:pt x="801411" y="173732"/>
                  </a:lnTo>
                  <a:cubicBezTo>
                    <a:pt x="800258" y="173130"/>
                    <a:pt x="799306" y="172679"/>
                    <a:pt x="798504" y="172279"/>
                  </a:cubicBezTo>
                  <a:cubicBezTo>
                    <a:pt x="797001" y="171577"/>
                    <a:pt x="795798" y="171026"/>
                    <a:pt x="794796" y="169974"/>
                  </a:cubicBezTo>
                  <a:cubicBezTo>
                    <a:pt x="781718" y="156394"/>
                    <a:pt x="767286" y="155542"/>
                    <a:pt x="746540" y="167117"/>
                  </a:cubicBezTo>
                  <a:lnTo>
                    <a:pt x="745889" y="167468"/>
                  </a:lnTo>
                  <a:cubicBezTo>
                    <a:pt x="744185" y="168420"/>
                    <a:pt x="742381" y="169422"/>
                    <a:pt x="741028" y="170575"/>
                  </a:cubicBezTo>
                  <a:cubicBezTo>
                    <a:pt x="728350" y="181699"/>
                    <a:pt x="712616" y="186359"/>
                    <a:pt x="692872" y="184706"/>
                  </a:cubicBezTo>
                  <a:cubicBezTo>
                    <a:pt x="680645" y="183654"/>
                    <a:pt x="671726" y="186159"/>
                    <a:pt x="663959" y="192723"/>
                  </a:cubicBezTo>
                  <a:cubicBezTo>
                    <a:pt x="660050" y="196031"/>
                    <a:pt x="655290" y="197985"/>
                    <a:pt x="650629" y="199839"/>
                  </a:cubicBezTo>
                  <a:cubicBezTo>
                    <a:pt x="648675" y="200641"/>
                    <a:pt x="646721" y="201443"/>
                    <a:pt x="644917" y="202295"/>
                  </a:cubicBezTo>
                  <a:lnTo>
                    <a:pt x="643113" y="203146"/>
                  </a:lnTo>
                  <a:lnTo>
                    <a:pt x="641760" y="201693"/>
                  </a:lnTo>
                  <a:cubicBezTo>
                    <a:pt x="638303" y="197935"/>
                    <a:pt x="635346" y="194778"/>
                    <a:pt x="632940" y="192122"/>
                  </a:cubicBezTo>
                  <a:cubicBezTo>
                    <a:pt x="629733" y="194026"/>
                    <a:pt x="626626" y="195981"/>
                    <a:pt x="623620" y="197935"/>
                  </a:cubicBezTo>
                  <a:cubicBezTo>
                    <a:pt x="615653" y="203096"/>
                    <a:pt x="608086" y="207907"/>
                    <a:pt x="599667" y="210112"/>
                  </a:cubicBezTo>
                  <a:cubicBezTo>
                    <a:pt x="586889" y="213369"/>
                    <a:pt x="575314" y="218229"/>
                    <a:pt x="563087" y="223391"/>
                  </a:cubicBezTo>
                  <a:cubicBezTo>
                    <a:pt x="550910" y="228502"/>
                    <a:pt x="537631" y="233012"/>
                    <a:pt x="522247" y="237221"/>
                  </a:cubicBezTo>
                  <a:cubicBezTo>
                    <a:pt x="513478" y="239627"/>
                    <a:pt x="509670" y="244187"/>
                    <a:pt x="509068" y="253056"/>
                  </a:cubicBezTo>
                  <a:cubicBezTo>
                    <a:pt x="508918" y="255060"/>
                    <a:pt x="507214" y="256063"/>
                    <a:pt x="505761" y="256914"/>
                  </a:cubicBezTo>
                  <a:cubicBezTo>
                    <a:pt x="505360" y="257165"/>
                    <a:pt x="504909" y="257416"/>
                    <a:pt x="504508" y="257716"/>
                  </a:cubicBezTo>
                  <a:lnTo>
                    <a:pt x="503155" y="258718"/>
                  </a:lnTo>
                  <a:lnTo>
                    <a:pt x="499998" y="257065"/>
                  </a:lnTo>
                  <a:cubicBezTo>
                    <a:pt x="498596" y="256313"/>
                    <a:pt x="497192" y="255562"/>
                    <a:pt x="495739" y="254860"/>
                  </a:cubicBezTo>
                  <a:cubicBezTo>
                    <a:pt x="493935" y="254008"/>
                    <a:pt x="492181" y="253156"/>
                    <a:pt x="490528" y="252405"/>
                  </a:cubicBezTo>
                  <a:lnTo>
                    <a:pt x="489275" y="251803"/>
                  </a:lnTo>
                  <a:cubicBezTo>
                    <a:pt x="483362" y="254259"/>
                    <a:pt x="480155" y="258718"/>
                    <a:pt x="476748" y="263429"/>
                  </a:cubicBezTo>
                  <a:cubicBezTo>
                    <a:pt x="475795" y="264732"/>
                    <a:pt x="474843" y="266035"/>
                    <a:pt x="473891" y="267287"/>
                  </a:cubicBezTo>
                  <a:cubicBezTo>
                    <a:pt x="458758" y="286279"/>
                    <a:pt x="442071" y="306223"/>
                    <a:pt x="422428" y="323260"/>
                  </a:cubicBezTo>
                  <a:cubicBezTo>
                    <a:pt x="419471" y="325816"/>
                    <a:pt x="417267" y="329775"/>
                    <a:pt x="414961" y="333984"/>
                  </a:cubicBezTo>
                  <a:cubicBezTo>
                    <a:pt x="413759" y="336189"/>
                    <a:pt x="412506" y="338444"/>
                    <a:pt x="411053" y="340699"/>
                  </a:cubicBezTo>
                  <a:lnTo>
                    <a:pt x="410251" y="341951"/>
                  </a:lnTo>
                  <a:lnTo>
                    <a:pt x="408798" y="341951"/>
                  </a:lnTo>
                  <a:cubicBezTo>
                    <a:pt x="393715" y="342002"/>
                    <a:pt x="380235" y="347564"/>
                    <a:pt x="368660" y="358387"/>
                  </a:cubicBezTo>
                  <a:cubicBezTo>
                    <a:pt x="366104" y="360793"/>
                    <a:pt x="362997" y="362346"/>
                    <a:pt x="360041" y="363900"/>
                  </a:cubicBezTo>
                  <a:cubicBezTo>
                    <a:pt x="358738" y="364601"/>
                    <a:pt x="357385" y="365253"/>
                    <a:pt x="356132" y="366004"/>
                  </a:cubicBezTo>
                  <a:lnTo>
                    <a:pt x="305270" y="396221"/>
                  </a:lnTo>
                  <a:cubicBezTo>
                    <a:pt x="306423" y="398075"/>
                    <a:pt x="307576" y="399879"/>
                    <a:pt x="308728" y="401683"/>
                  </a:cubicBezTo>
                  <a:cubicBezTo>
                    <a:pt x="312537" y="407646"/>
                    <a:pt x="316495" y="413859"/>
                    <a:pt x="319201" y="420524"/>
                  </a:cubicBezTo>
                  <a:cubicBezTo>
                    <a:pt x="321807" y="427038"/>
                    <a:pt x="323210" y="434004"/>
                    <a:pt x="324713" y="441370"/>
                  </a:cubicBezTo>
                  <a:cubicBezTo>
                    <a:pt x="325215" y="443825"/>
                    <a:pt x="325716" y="446281"/>
                    <a:pt x="326267" y="448836"/>
                  </a:cubicBezTo>
                  <a:cubicBezTo>
                    <a:pt x="333032" y="446381"/>
                    <a:pt x="339195" y="444176"/>
                    <a:pt x="345509" y="441921"/>
                  </a:cubicBezTo>
                  <a:lnTo>
                    <a:pt x="346661" y="441520"/>
                  </a:lnTo>
                  <a:lnTo>
                    <a:pt x="347714" y="442121"/>
                  </a:lnTo>
                  <a:cubicBezTo>
                    <a:pt x="350069" y="443474"/>
                    <a:pt x="352374" y="444777"/>
                    <a:pt x="354629" y="446080"/>
                  </a:cubicBezTo>
                  <a:cubicBezTo>
                    <a:pt x="359289" y="448736"/>
                    <a:pt x="363900" y="451342"/>
                    <a:pt x="368410" y="454098"/>
                  </a:cubicBezTo>
                  <a:cubicBezTo>
                    <a:pt x="372468" y="456603"/>
                    <a:pt x="375926" y="458608"/>
                    <a:pt x="378832" y="460362"/>
                  </a:cubicBezTo>
                  <a:cubicBezTo>
                    <a:pt x="397022" y="471185"/>
                    <a:pt x="397423" y="471737"/>
                    <a:pt x="400831" y="489926"/>
                  </a:cubicBezTo>
                  <a:cubicBezTo>
                    <a:pt x="401633" y="494286"/>
                    <a:pt x="402635" y="499698"/>
                    <a:pt x="404188" y="506713"/>
                  </a:cubicBezTo>
                  <a:cubicBezTo>
                    <a:pt x="405792" y="514029"/>
                    <a:pt x="405892" y="521897"/>
                    <a:pt x="404388" y="528812"/>
                  </a:cubicBezTo>
                  <a:cubicBezTo>
                    <a:pt x="402635" y="536930"/>
                    <a:pt x="400029" y="544947"/>
                    <a:pt x="397473" y="552765"/>
                  </a:cubicBezTo>
                  <a:cubicBezTo>
                    <a:pt x="396371" y="556172"/>
                    <a:pt x="395218" y="559630"/>
                    <a:pt x="394166" y="563087"/>
                  </a:cubicBezTo>
                  <a:lnTo>
                    <a:pt x="393815" y="564240"/>
                  </a:lnTo>
                  <a:lnTo>
                    <a:pt x="392713" y="564741"/>
                  </a:lnTo>
                  <a:cubicBezTo>
                    <a:pt x="370614" y="574913"/>
                    <a:pt x="353476" y="563137"/>
                    <a:pt x="340849" y="551161"/>
                  </a:cubicBezTo>
                  <a:lnTo>
                    <a:pt x="287030" y="567697"/>
                  </a:lnTo>
                  <a:lnTo>
                    <a:pt x="285928" y="566896"/>
                  </a:lnTo>
                  <a:cubicBezTo>
                    <a:pt x="284775" y="566044"/>
                    <a:pt x="283673" y="565292"/>
                    <a:pt x="282671" y="564591"/>
                  </a:cubicBezTo>
                  <a:cubicBezTo>
                    <a:pt x="280466" y="563087"/>
                    <a:pt x="278562" y="561784"/>
                    <a:pt x="277008" y="559980"/>
                  </a:cubicBezTo>
                  <a:cubicBezTo>
                    <a:pt x="265934" y="546852"/>
                    <a:pt x="250700" y="541740"/>
                    <a:pt x="234615" y="536329"/>
                  </a:cubicBezTo>
                  <a:lnTo>
                    <a:pt x="228903" y="534374"/>
                  </a:lnTo>
                  <a:cubicBezTo>
                    <a:pt x="227450" y="533873"/>
                    <a:pt x="225345" y="533522"/>
                    <a:pt x="223591" y="534625"/>
                  </a:cubicBezTo>
                  <a:cubicBezTo>
                    <a:pt x="222138" y="535577"/>
                    <a:pt x="221236" y="537481"/>
                    <a:pt x="221036" y="539987"/>
                  </a:cubicBezTo>
                  <a:cubicBezTo>
                    <a:pt x="220684" y="545248"/>
                    <a:pt x="220634" y="550710"/>
                    <a:pt x="220585" y="555972"/>
                  </a:cubicBezTo>
                  <a:cubicBezTo>
                    <a:pt x="220585" y="558477"/>
                    <a:pt x="220585" y="560983"/>
                    <a:pt x="220484" y="563488"/>
                  </a:cubicBezTo>
                  <a:cubicBezTo>
                    <a:pt x="219983" y="587842"/>
                    <a:pt x="207155" y="602374"/>
                    <a:pt x="183453" y="605430"/>
                  </a:cubicBezTo>
                  <a:cubicBezTo>
                    <a:pt x="174433" y="606583"/>
                    <a:pt x="167067" y="609489"/>
                    <a:pt x="161004" y="614350"/>
                  </a:cubicBezTo>
                  <a:cubicBezTo>
                    <a:pt x="155091" y="619010"/>
                    <a:pt x="149478" y="624422"/>
                    <a:pt x="144317" y="630335"/>
                  </a:cubicBezTo>
                  <a:cubicBezTo>
                    <a:pt x="133192" y="643113"/>
                    <a:pt x="118410" y="647373"/>
                    <a:pt x="105431" y="649778"/>
                  </a:cubicBezTo>
                  <a:cubicBezTo>
                    <a:pt x="100771" y="650630"/>
                    <a:pt x="96111" y="650379"/>
                    <a:pt x="92353" y="650179"/>
                  </a:cubicBezTo>
                  <a:cubicBezTo>
                    <a:pt x="91401" y="650129"/>
                    <a:pt x="90499" y="650078"/>
                    <a:pt x="89747" y="650028"/>
                  </a:cubicBezTo>
                  <a:cubicBezTo>
                    <a:pt x="86690" y="652283"/>
                    <a:pt x="83784" y="654438"/>
                    <a:pt x="80977" y="656492"/>
                  </a:cubicBezTo>
                  <a:cubicBezTo>
                    <a:pt x="73712" y="661804"/>
                    <a:pt x="66847" y="666865"/>
                    <a:pt x="60332" y="672027"/>
                  </a:cubicBezTo>
                  <a:cubicBezTo>
                    <a:pt x="56975" y="674682"/>
                    <a:pt x="54820" y="677489"/>
                    <a:pt x="54520" y="679543"/>
                  </a:cubicBezTo>
                  <a:cubicBezTo>
                    <a:pt x="52765" y="690818"/>
                    <a:pt x="46302" y="699236"/>
                    <a:pt x="40088" y="707404"/>
                  </a:cubicBezTo>
                  <a:cubicBezTo>
                    <a:pt x="38885" y="708958"/>
                    <a:pt x="37732" y="710511"/>
                    <a:pt x="36580" y="712115"/>
                  </a:cubicBezTo>
                  <a:cubicBezTo>
                    <a:pt x="39236" y="721535"/>
                    <a:pt x="42743" y="727899"/>
                    <a:pt x="51313" y="730355"/>
                  </a:cubicBezTo>
                  <a:cubicBezTo>
                    <a:pt x="59731" y="732760"/>
                    <a:pt x="66346" y="738372"/>
                    <a:pt x="70505" y="746641"/>
                  </a:cubicBezTo>
                  <a:cubicBezTo>
                    <a:pt x="74112" y="753906"/>
                    <a:pt x="79575" y="758467"/>
                    <a:pt x="88143" y="761473"/>
                  </a:cubicBezTo>
                  <a:cubicBezTo>
                    <a:pt x="92353" y="762926"/>
                    <a:pt x="96061" y="765231"/>
                    <a:pt x="100020" y="767737"/>
                  </a:cubicBezTo>
                  <a:cubicBezTo>
                    <a:pt x="101773" y="768839"/>
                    <a:pt x="103527" y="769942"/>
                    <a:pt x="105381" y="770994"/>
                  </a:cubicBezTo>
                  <a:lnTo>
                    <a:pt x="106834" y="771846"/>
                  </a:lnTo>
                  <a:lnTo>
                    <a:pt x="106734" y="773500"/>
                  </a:lnTo>
                  <a:cubicBezTo>
                    <a:pt x="105883" y="788332"/>
                    <a:pt x="112798" y="799807"/>
                    <a:pt x="120615" y="811232"/>
                  </a:cubicBezTo>
                  <a:cubicBezTo>
                    <a:pt x="126929" y="820503"/>
                    <a:pt x="133393" y="829974"/>
                    <a:pt x="134596" y="841599"/>
                  </a:cubicBezTo>
                  <a:lnTo>
                    <a:pt x="134746" y="843103"/>
                  </a:lnTo>
                  <a:lnTo>
                    <a:pt x="133544" y="844005"/>
                  </a:lnTo>
                  <a:cubicBezTo>
                    <a:pt x="130336" y="846460"/>
                    <a:pt x="127129" y="848765"/>
                    <a:pt x="123922" y="851020"/>
                  </a:cubicBezTo>
                  <a:cubicBezTo>
                    <a:pt x="117157" y="855780"/>
                    <a:pt x="110793" y="860290"/>
                    <a:pt x="105732" y="865903"/>
                  </a:cubicBezTo>
                  <a:lnTo>
                    <a:pt x="101723" y="870312"/>
                  </a:lnTo>
                  <a:cubicBezTo>
                    <a:pt x="68250" y="907344"/>
                    <a:pt x="33674" y="945628"/>
                    <a:pt x="6063" y="988272"/>
                  </a:cubicBezTo>
                  <a:cubicBezTo>
                    <a:pt x="4360" y="990877"/>
                    <a:pt x="2906" y="993633"/>
                    <a:pt x="1303" y="996540"/>
                  </a:cubicBezTo>
                  <a:cubicBezTo>
                    <a:pt x="851" y="997341"/>
                    <a:pt x="451" y="998143"/>
                    <a:pt x="0" y="998945"/>
                  </a:cubicBezTo>
                  <a:lnTo>
                    <a:pt x="13830" y="1018388"/>
                  </a:lnTo>
                  <a:lnTo>
                    <a:pt x="13329" y="1019741"/>
                  </a:lnTo>
                  <a:cubicBezTo>
                    <a:pt x="12628" y="1021645"/>
                    <a:pt x="11926" y="1023499"/>
                    <a:pt x="11225" y="1025303"/>
                  </a:cubicBezTo>
                  <a:cubicBezTo>
                    <a:pt x="9872" y="1028811"/>
                    <a:pt x="8569" y="1032118"/>
                    <a:pt x="7466" y="1035525"/>
                  </a:cubicBezTo>
                  <a:cubicBezTo>
                    <a:pt x="3357" y="1048203"/>
                    <a:pt x="4309" y="1051210"/>
                    <a:pt x="14782" y="1058576"/>
                  </a:cubicBezTo>
                  <a:lnTo>
                    <a:pt x="16737" y="1059979"/>
                  </a:lnTo>
                  <a:cubicBezTo>
                    <a:pt x="39386" y="1075864"/>
                    <a:pt x="62787" y="1092250"/>
                    <a:pt x="90799" y="1098363"/>
                  </a:cubicBezTo>
                  <a:cubicBezTo>
                    <a:pt x="95359" y="1099316"/>
                    <a:pt x="99669" y="1101069"/>
                    <a:pt x="103878" y="1102773"/>
                  </a:cubicBezTo>
                  <a:lnTo>
                    <a:pt x="104630" y="1103074"/>
                  </a:lnTo>
                  <a:cubicBezTo>
                    <a:pt x="115905" y="1107534"/>
                    <a:pt x="118761" y="1113096"/>
                    <a:pt x="115403" y="1124371"/>
                  </a:cubicBezTo>
                  <a:cubicBezTo>
                    <a:pt x="115002" y="1125774"/>
                    <a:pt x="114451" y="1127127"/>
                    <a:pt x="113850" y="1128530"/>
                  </a:cubicBezTo>
                  <a:cubicBezTo>
                    <a:pt x="112247" y="1132488"/>
                    <a:pt x="111294" y="1135094"/>
                    <a:pt x="112748" y="1138151"/>
                  </a:cubicBezTo>
                  <a:lnTo>
                    <a:pt x="114702" y="1142310"/>
                  </a:lnTo>
                  <a:cubicBezTo>
                    <a:pt x="122318" y="1158596"/>
                    <a:pt x="130186" y="1175383"/>
                    <a:pt x="143415" y="1188111"/>
                  </a:cubicBezTo>
                  <a:cubicBezTo>
                    <a:pt x="145269" y="1188211"/>
                    <a:pt x="147073" y="1188261"/>
                    <a:pt x="148877" y="1188311"/>
                  </a:cubicBezTo>
                  <a:cubicBezTo>
                    <a:pt x="153487" y="1188411"/>
                    <a:pt x="157847" y="1188562"/>
                    <a:pt x="162206" y="1189263"/>
                  </a:cubicBezTo>
                  <a:cubicBezTo>
                    <a:pt x="174884" y="1191268"/>
                    <a:pt x="192172" y="1196479"/>
                    <a:pt x="195930" y="1218227"/>
                  </a:cubicBezTo>
                  <a:cubicBezTo>
                    <a:pt x="196582" y="1222186"/>
                    <a:pt x="198085" y="1226094"/>
                    <a:pt x="199488" y="1229852"/>
                  </a:cubicBezTo>
                  <a:cubicBezTo>
                    <a:pt x="199939" y="1231105"/>
                    <a:pt x="200390" y="1232308"/>
                    <a:pt x="200841" y="1233510"/>
                  </a:cubicBezTo>
                  <a:cubicBezTo>
                    <a:pt x="210111" y="1236617"/>
                    <a:pt x="218530" y="1236066"/>
                    <a:pt x="228753" y="1231656"/>
                  </a:cubicBezTo>
                  <a:cubicBezTo>
                    <a:pt x="238524" y="1227447"/>
                    <a:pt x="248546" y="1225342"/>
                    <a:pt x="258769" y="1225342"/>
                  </a:cubicBezTo>
                  <a:cubicBezTo>
                    <a:pt x="268440" y="1225342"/>
                    <a:pt x="278311" y="1227247"/>
                    <a:pt x="288233" y="1231005"/>
                  </a:cubicBezTo>
                  <a:cubicBezTo>
                    <a:pt x="308177" y="1238622"/>
                    <a:pt x="323110" y="1237219"/>
                    <a:pt x="336740" y="1226495"/>
                  </a:cubicBezTo>
                  <a:cubicBezTo>
                    <a:pt x="348515" y="1217275"/>
                    <a:pt x="360943" y="1215471"/>
                    <a:pt x="374823" y="1220933"/>
                  </a:cubicBezTo>
                  <a:cubicBezTo>
                    <a:pt x="393815" y="1228399"/>
                    <a:pt x="413358" y="1227146"/>
                    <a:pt x="433402" y="1224841"/>
                  </a:cubicBezTo>
                  <a:cubicBezTo>
                    <a:pt x="444777" y="1207603"/>
                    <a:pt x="456202" y="1196229"/>
                    <a:pt x="469131" y="1189163"/>
                  </a:cubicBezTo>
                  <a:lnTo>
                    <a:pt x="468830" y="1184002"/>
                  </a:lnTo>
                  <a:cubicBezTo>
                    <a:pt x="468479" y="1177788"/>
                    <a:pt x="468228" y="1172426"/>
                    <a:pt x="467928" y="1167716"/>
                  </a:cubicBezTo>
                  <a:lnTo>
                    <a:pt x="467828" y="1166263"/>
                  </a:lnTo>
                  <a:lnTo>
                    <a:pt x="480506" y="1157193"/>
                  </a:lnTo>
                  <a:cubicBezTo>
                    <a:pt x="487772" y="1151981"/>
                    <a:pt x="494536" y="1147121"/>
                    <a:pt x="501301" y="1142260"/>
                  </a:cubicBezTo>
                  <a:cubicBezTo>
                    <a:pt x="510271" y="1135695"/>
                    <a:pt x="520844" y="1133691"/>
                    <a:pt x="531017" y="1131787"/>
                  </a:cubicBezTo>
                  <a:cubicBezTo>
                    <a:pt x="533723" y="1131286"/>
                    <a:pt x="536428" y="1130785"/>
                    <a:pt x="539134" y="1130183"/>
                  </a:cubicBezTo>
                  <a:cubicBezTo>
                    <a:pt x="542442" y="1118909"/>
                    <a:pt x="550409" y="1112294"/>
                    <a:pt x="562285" y="1110991"/>
                  </a:cubicBezTo>
                  <a:cubicBezTo>
                    <a:pt x="563137" y="1110891"/>
                    <a:pt x="564089" y="1110590"/>
                    <a:pt x="565092" y="1110240"/>
                  </a:cubicBezTo>
                  <a:cubicBezTo>
                    <a:pt x="566294" y="1109839"/>
                    <a:pt x="567647" y="1109388"/>
                    <a:pt x="569150" y="1109237"/>
                  </a:cubicBezTo>
                  <a:cubicBezTo>
                    <a:pt x="594155" y="1106531"/>
                    <a:pt x="614801" y="1095507"/>
                    <a:pt x="632239" y="1075563"/>
                  </a:cubicBezTo>
                  <a:cubicBezTo>
                    <a:pt x="646420" y="1059328"/>
                    <a:pt x="667166" y="1053415"/>
                    <a:pt x="689114" y="1059428"/>
                  </a:cubicBezTo>
                  <a:cubicBezTo>
                    <a:pt x="698485" y="1061984"/>
                    <a:pt x="706552" y="1061533"/>
                    <a:pt x="716975" y="1057975"/>
                  </a:cubicBezTo>
                  <a:cubicBezTo>
                    <a:pt x="718629" y="1057423"/>
                    <a:pt x="720283" y="1056822"/>
                    <a:pt x="721986" y="1056221"/>
                  </a:cubicBezTo>
                  <a:cubicBezTo>
                    <a:pt x="728551" y="1053866"/>
                    <a:pt x="735265" y="1051460"/>
                    <a:pt x="742281" y="1050308"/>
                  </a:cubicBezTo>
                  <a:cubicBezTo>
                    <a:pt x="750599" y="1048955"/>
                    <a:pt x="760471" y="1047351"/>
                    <a:pt x="767035" y="1051210"/>
                  </a:cubicBezTo>
                  <a:cubicBezTo>
                    <a:pt x="777258" y="1057223"/>
                    <a:pt x="787781" y="1057474"/>
                    <a:pt x="798955" y="1057724"/>
                  </a:cubicBezTo>
                  <a:cubicBezTo>
                    <a:pt x="800859" y="1057724"/>
                    <a:pt x="802713" y="1057824"/>
                    <a:pt x="804618" y="1057874"/>
                  </a:cubicBezTo>
                  <a:cubicBezTo>
                    <a:pt x="808927" y="1058025"/>
                    <a:pt x="813137" y="1058576"/>
                    <a:pt x="817596" y="1059127"/>
                  </a:cubicBezTo>
                  <a:cubicBezTo>
                    <a:pt x="819550" y="1059378"/>
                    <a:pt x="821555" y="1059628"/>
                    <a:pt x="823559" y="1059879"/>
                  </a:cubicBezTo>
                  <a:lnTo>
                    <a:pt x="825163" y="1060079"/>
                  </a:lnTo>
                  <a:lnTo>
                    <a:pt x="825764" y="1061583"/>
                  </a:lnTo>
                  <a:cubicBezTo>
                    <a:pt x="830224" y="1072907"/>
                    <a:pt x="832329" y="1084333"/>
                    <a:pt x="834383" y="1095357"/>
                  </a:cubicBezTo>
                  <a:cubicBezTo>
                    <a:pt x="835335" y="1100468"/>
                    <a:pt x="836288" y="1105780"/>
                    <a:pt x="837490" y="1110841"/>
                  </a:cubicBezTo>
                  <a:cubicBezTo>
                    <a:pt x="838793" y="1116353"/>
                    <a:pt x="839544" y="1122065"/>
                    <a:pt x="840296" y="1127628"/>
                  </a:cubicBezTo>
                  <a:cubicBezTo>
                    <a:pt x="841599" y="1137449"/>
                    <a:pt x="842952" y="1147571"/>
                    <a:pt x="847362" y="1156892"/>
                  </a:cubicBezTo>
                  <a:cubicBezTo>
                    <a:pt x="851470" y="1156341"/>
                    <a:pt x="855580" y="1155840"/>
                    <a:pt x="859588" y="1155288"/>
                  </a:cubicBezTo>
                  <a:cubicBezTo>
                    <a:pt x="870112" y="1153885"/>
                    <a:pt x="880034" y="1152533"/>
                    <a:pt x="890256" y="1151580"/>
                  </a:cubicBezTo>
                  <a:cubicBezTo>
                    <a:pt x="903986" y="1150277"/>
                    <a:pt x="918417" y="1151931"/>
                    <a:pt x="935606" y="1156692"/>
                  </a:cubicBezTo>
                  <a:cubicBezTo>
                    <a:pt x="945728" y="1159548"/>
                    <a:pt x="955900" y="1162304"/>
                    <a:pt x="965521" y="1164910"/>
                  </a:cubicBezTo>
                  <a:lnTo>
                    <a:pt x="975944" y="1167716"/>
                  </a:lnTo>
                  <a:lnTo>
                    <a:pt x="1008967" y="1146820"/>
                  </a:lnTo>
                  <a:cubicBezTo>
                    <a:pt x="1008967" y="1146820"/>
                    <a:pt x="1008967" y="1146670"/>
                    <a:pt x="1008967" y="1146670"/>
                  </a:cubicBezTo>
                  <a:cubicBezTo>
                    <a:pt x="1008165" y="1129682"/>
                    <a:pt x="1015882" y="1117606"/>
                    <a:pt x="1031817" y="1110891"/>
                  </a:cubicBezTo>
                  <a:cubicBezTo>
                    <a:pt x="1040035" y="1107433"/>
                    <a:pt x="1045497" y="1100819"/>
                    <a:pt x="1051259" y="1093803"/>
                  </a:cubicBezTo>
                  <a:lnTo>
                    <a:pt x="1079221" y="1060230"/>
                  </a:lnTo>
                  <a:cubicBezTo>
                    <a:pt x="1093302" y="1043292"/>
                    <a:pt x="1107383" y="1026405"/>
                    <a:pt x="1121514" y="1009518"/>
                  </a:cubicBezTo>
                  <a:cubicBezTo>
                    <a:pt x="1124571" y="1005910"/>
                    <a:pt x="1127778" y="1002453"/>
                    <a:pt x="1131236" y="998795"/>
                  </a:cubicBezTo>
                  <a:cubicBezTo>
                    <a:pt x="1132939" y="996991"/>
                    <a:pt x="1134743" y="995086"/>
                    <a:pt x="1136547" y="993082"/>
                  </a:cubicBezTo>
                  <a:lnTo>
                    <a:pt x="1138351" y="991128"/>
                  </a:lnTo>
                  <a:lnTo>
                    <a:pt x="1169118" y="1018237"/>
                  </a:lnTo>
                  <a:cubicBezTo>
                    <a:pt x="1183500" y="1009669"/>
                    <a:pt x="1198934" y="1011021"/>
                    <a:pt x="1212464" y="1013878"/>
                  </a:cubicBezTo>
                  <a:cubicBezTo>
                    <a:pt x="1215721" y="1007313"/>
                    <a:pt x="1215370" y="1001150"/>
                    <a:pt x="1215020" y="995187"/>
                  </a:cubicBezTo>
                  <a:cubicBezTo>
                    <a:pt x="1214218" y="980655"/>
                    <a:pt x="1216723" y="966073"/>
                    <a:pt x="1223187" y="947933"/>
                  </a:cubicBezTo>
                  <a:cubicBezTo>
                    <a:pt x="1230654" y="926987"/>
                    <a:pt x="1237619" y="905490"/>
                    <a:pt x="1244334" y="884694"/>
                  </a:cubicBezTo>
                  <a:lnTo>
                    <a:pt x="1245637" y="880685"/>
                  </a:lnTo>
                  <a:cubicBezTo>
                    <a:pt x="1246539" y="877979"/>
                    <a:pt x="1246940" y="874923"/>
                    <a:pt x="1247390" y="871715"/>
                  </a:cubicBezTo>
                  <a:cubicBezTo>
                    <a:pt x="1247491" y="870964"/>
                    <a:pt x="1247591" y="870162"/>
                    <a:pt x="1247742" y="869410"/>
                  </a:cubicBezTo>
                  <a:cubicBezTo>
                    <a:pt x="1238872" y="866654"/>
                    <a:pt x="1235264" y="859789"/>
                    <a:pt x="1232007" y="853676"/>
                  </a:cubicBezTo>
                  <a:cubicBezTo>
                    <a:pt x="1229852" y="849617"/>
                    <a:pt x="1227798" y="845758"/>
                    <a:pt x="1224440" y="843253"/>
                  </a:cubicBezTo>
                  <a:lnTo>
                    <a:pt x="1221935" y="841399"/>
                  </a:lnTo>
                  <a:lnTo>
                    <a:pt x="1240676" y="822858"/>
                  </a:lnTo>
                  <a:lnTo>
                    <a:pt x="1242530" y="824261"/>
                  </a:lnTo>
                  <a:cubicBezTo>
                    <a:pt x="1249646" y="829673"/>
                    <a:pt x="1256010" y="834433"/>
                    <a:pt x="1261872" y="838843"/>
                  </a:cubicBezTo>
                  <a:cubicBezTo>
                    <a:pt x="1283269" y="829172"/>
                    <a:pt x="1323207" y="804919"/>
                    <a:pt x="1338942" y="792091"/>
                  </a:cubicBezTo>
                  <a:cubicBezTo>
                    <a:pt x="1337288" y="786177"/>
                    <a:pt x="1337238" y="779964"/>
                    <a:pt x="1337238" y="773951"/>
                  </a:cubicBezTo>
                  <a:cubicBezTo>
                    <a:pt x="1337238" y="767085"/>
                    <a:pt x="1337188" y="760020"/>
                    <a:pt x="1334833" y="753055"/>
                  </a:cubicBezTo>
                  <a:lnTo>
                    <a:pt x="1324410" y="749296"/>
                  </a:lnTo>
                  <a:cubicBezTo>
                    <a:pt x="1317345" y="746791"/>
                    <a:pt x="1310279" y="744235"/>
                    <a:pt x="1303113" y="741730"/>
                  </a:cubicBezTo>
                  <a:cubicBezTo>
                    <a:pt x="1287880" y="736368"/>
                    <a:pt x="1286827" y="735817"/>
                    <a:pt x="1277406" y="722888"/>
                  </a:cubicBezTo>
                  <a:cubicBezTo>
                    <a:pt x="1256010" y="729854"/>
                    <a:pt x="1237318" y="721034"/>
                    <a:pt x="1221384" y="712165"/>
                  </a:cubicBezTo>
                  <a:cubicBezTo>
                    <a:pt x="1218126" y="710361"/>
                    <a:pt x="1214919" y="708407"/>
                    <a:pt x="1211662" y="706402"/>
                  </a:cubicBezTo>
                  <a:cubicBezTo>
                    <a:pt x="1208154" y="704247"/>
                    <a:pt x="1204647" y="702093"/>
                    <a:pt x="1201039" y="700138"/>
                  </a:cubicBezTo>
                  <a:cubicBezTo>
                    <a:pt x="1184101" y="691018"/>
                    <a:pt x="1164408" y="680395"/>
                    <a:pt x="1144715" y="670273"/>
                  </a:cubicBezTo>
                  <a:cubicBezTo>
                    <a:pt x="1142410" y="669070"/>
                    <a:pt x="1139654" y="668469"/>
                    <a:pt x="1136697" y="667767"/>
                  </a:cubicBezTo>
                  <a:cubicBezTo>
                    <a:pt x="1135895" y="667567"/>
                    <a:pt x="1135094" y="667417"/>
                    <a:pt x="1134342" y="667216"/>
                  </a:cubicBezTo>
                  <a:cubicBezTo>
                    <a:pt x="1133891" y="668268"/>
                    <a:pt x="1133440" y="669321"/>
                    <a:pt x="1133039" y="670273"/>
                  </a:cubicBezTo>
                  <a:cubicBezTo>
                    <a:pt x="1131586" y="673730"/>
                    <a:pt x="1130283" y="676737"/>
                    <a:pt x="1128580" y="679593"/>
                  </a:cubicBezTo>
                  <a:lnTo>
                    <a:pt x="1128329" y="679994"/>
                  </a:lnTo>
                  <a:cubicBezTo>
                    <a:pt x="1126174" y="683502"/>
                    <a:pt x="1123468" y="687912"/>
                    <a:pt x="1119509" y="689114"/>
                  </a:cubicBezTo>
                  <a:cubicBezTo>
                    <a:pt x="1107534" y="692923"/>
                    <a:pt x="1096910" y="695428"/>
                    <a:pt x="1087038" y="696831"/>
                  </a:cubicBezTo>
                  <a:cubicBezTo>
                    <a:pt x="1082378" y="697432"/>
                    <a:pt x="1077367" y="694376"/>
                    <a:pt x="1073358" y="691920"/>
                  </a:cubicBezTo>
                  <a:lnTo>
                    <a:pt x="1072707" y="691520"/>
                  </a:lnTo>
                  <a:cubicBezTo>
                    <a:pt x="1070602" y="690217"/>
                    <a:pt x="1068898" y="688513"/>
                    <a:pt x="1067245" y="686859"/>
                  </a:cubicBezTo>
                  <a:cubicBezTo>
                    <a:pt x="1064388" y="684003"/>
                    <a:pt x="1061883" y="681497"/>
                    <a:pt x="1057674" y="680896"/>
                  </a:cubicBezTo>
                  <a:lnTo>
                    <a:pt x="1049756" y="704247"/>
                  </a:lnTo>
                  <a:lnTo>
                    <a:pt x="1036127" y="710511"/>
                  </a:lnTo>
                  <a:cubicBezTo>
                    <a:pt x="1035174" y="712015"/>
                    <a:pt x="1034874" y="713718"/>
                    <a:pt x="1034573" y="715723"/>
                  </a:cubicBezTo>
                  <a:cubicBezTo>
                    <a:pt x="1033921" y="719531"/>
                    <a:pt x="1033120" y="724241"/>
                    <a:pt x="1026856" y="726897"/>
                  </a:cubicBezTo>
                  <a:lnTo>
                    <a:pt x="1025152" y="727599"/>
                  </a:lnTo>
                  <a:lnTo>
                    <a:pt x="1023849" y="726296"/>
                  </a:lnTo>
                  <a:cubicBezTo>
                    <a:pt x="1022296" y="724743"/>
                    <a:pt x="1020793" y="723139"/>
                    <a:pt x="1019240" y="721485"/>
                  </a:cubicBezTo>
                  <a:cubicBezTo>
                    <a:pt x="1015631" y="717727"/>
                    <a:pt x="1011923" y="713818"/>
                    <a:pt x="1007965" y="710361"/>
                  </a:cubicBezTo>
                  <a:cubicBezTo>
                    <a:pt x="1006061" y="708657"/>
                    <a:pt x="1003405" y="707254"/>
                    <a:pt x="999446" y="710662"/>
                  </a:cubicBezTo>
                  <a:lnTo>
                    <a:pt x="1005760" y="732359"/>
                  </a:lnTo>
                  <a:lnTo>
                    <a:pt x="970532" y="753005"/>
                  </a:lnTo>
                  <a:lnTo>
                    <a:pt x="969430" y="749948"/>
                  </a:lnTo>
                  <a:cubicBezTo>
                    <a:pt x="965171" y="738222"/>
                    <a:pt x="970532" y="730505"/>
                    <a:pt x="975293" y="723690"/>
                  </a:cubicBezTo>
                  <a:cubicBezTo>
                    <a:pt x="977698" y="720283"/>
                    <a:pt x="979953" y="717026"/>
                    <a:pt x="981055" y="713367"/>
                  </a:cubicBezTo>
                  <a:cubicBezTo>
                    <a:pt x="978700" y="706553"/>
                    <a:pt x="976094" y="698886"/>
                    <a:pt x="973389" y="690968"/>
                  </a:cubicBezTo>
                  <a:lnTo>
                    <a:pt x="972587" y="688563"/>
                  </a:lnTo>
                  <a:lnTo>
                    <a:pt x="974942" y="687611"/>
                  </a:lnTo>
                  <a:cubicBezTo>
                    <a:pt x="978299" y="686208"/>
                    <a:pt x="981507" y="684905"/>
                    <a:pt x="984663" y="683652"/>
                  </a:cubicBezTo>
                  <a:cubicBezTo>
                    <a:pt x="991478" y="680896"/>
                    <a:pt x="997893" y="678341"/>
                    <a:pt x="1004106" y="675434"/>
                  </a:cubicBezTo>
                  <a:cubicBezTo>
                    <a:pt x="1010520" y="672377"/>
                    <a:pt x="1016684" y="669020"/>
                    <a:pt x="1022647" y="665763"/>
                  </a:cubicBezTo>
                  <a:cubicBezTo>
                    <a:pt x="1024601" y="664711"/>
                    <a:pt x="1026505" y="663658"/>
                    <a:pt x="1028359" y="662656"/>
                  </a:cubicBezTo>
                  <a:lnTo>
                    <a:pt x="1032268" y="638603"/>
                  </a:lnTo>
                  <a:lnTo>
                    <a:pt x="1034422" y="638453"/>
                  </a:lnTo>
                  <a:cubicBezTo>
                    <a:pt x="1037429" y="638252"/>
                    <a:pt x="1040336" y="638102"/>
                    <a:pt x="1043142" y="637952"/>
                  </a:cubicBezTo>
                  <a:cubicBezTo>
                    <a:pt x="1049506" y="637601"/>
                    <a:pt x="1055469" y="637300"/>
                    <a:pt x="1061332" y="636599"/>
                  </a:cubicBezTo>
                  <a:cubicBezTo>
                    <a:pt x="1066042" y="636048"/>
                    <a:pt x="1071905" y="635346"/>
                    <a:pt x="1075864" y="632841"/>
                  </a:cubicBezTo>
                  <a:cubicBezTo>
                    <a:pt x="1094605" y="620914"/>
                    <a:pt x="1109187" y="610091"/>
                    <a:pt x="1112394" y="589044"/>
                  </a:cubicBezTo>
                  <a:cubicBezTo>
                    <a:pt x="1112945" y="585236"/>
                    <a:pt x="1114348" y="581628"/>
                    <a:pt x="1115651" y="578120"/>
                  </a:cubicBezTo>
                  <a:cubicBezTo>
                    <a:pt x="1116603" y="575615"/>
                    <a:pt x="1117505" y="573210"/>
                    <a:pt x="1118157" y="570804"/>
                  </a:cubicBezTo>
                  <a:lnTo>
                    <a:pt x="1118357" y="570103"/>
                  </a:lnTo>
                  <a:cubicBezTo>
                    <a:pt x="1119610" y="565192"/>
                    <a:pt x="1120862" y="560081"/>
                    <a:pt x="1120462" y="555471"/>
                  </a:cubicBezTo>
                  <a:cubicBezTo>
                    <a:pt x="1116954" y="518038"/>
                    <a:pt x="1108836" y="486118"/>
                    <a:pt x="1095607" y="457956"/>
                  </a:cubicBezTo>
                  <a:cubicBezTo>
                    <a:pt x="1091348" y="457205"/>
                    <a:pt x="1087138" y="456453"/>
                    <a:pt x="1082929" y="455651"/>
                  </a:cubicBezTo>
                  <a:cubicBezTo>
                    <a:pt x="1072406" y="453747"/>
                    <a:pt x="1062484" y="451893"/>
                    <a:pt x="1052362" y="450690"/>
                  </a:cubicBezTo>
                  <a:cubicBezTo>
                    <a:pt x="1035475" y="448686"/>
                    <a:pt x="1025703" y="439015"/>
                    <a:pt x="1022446" y="421075"/>
                  </a:cubicBezTo>
                  <a:cubicBezTo>
                    <a:pt x="1022296" y="420223"/>
                    <a:pt x="1022146" y="419371"/>
                    <a:pt x="1021945" y="418520"/>
                  </a:cubicBezTo>
                  <a:cubicBezTo>
                    <a:pt x="1021143" y="414360"/>
                    <a:pt x="1020292" y="410101"/>
                    <a:pt x="1021344" y="406042"/>
                  </a:cubicBezTo>
                  <a:cubicBezTo>
                    <a:pt x="1022847" y="400280"/>
                    <a:pt x="1020843" y="396672"/>
                    <a:pt x="1016333" y="391610"/>
                  </a:cubicBezTo>
                  <a:cubicBezTo>
                    <a:pt x="1014830" y="389907"/>
                    <a:pt x="1013827" y="387902"/>
                    <a:pt x="1012725" y="385597"/>
                  </a:cubicBezTo>
                  <a:cubicBezTo>
                    <a:pt x="1012224" y="384595"/>
                    <a:pt x="1011673" y="383493"/>
                    <a:pt x="1011072" y="382340"/>
                  </a:cubicBezTo>
                  <a:lnTo>
                    <a:pt x="1009868" y="380085"/>
                  </a:lnTo>
                  <a:lnTo>
                    <a:pt x="1036678" y="363398"/>
                  </a:lnTo>
                  <a:cubicBezTo>
                    <a:pt x="1038031" y="360191"/>
                    <a:pt x="1038131" y="356734"/>
                    <a:pt x="1038281" y="353126"/>
                  </a:cubicBezTo>
                  <a:cubicBezTo>
                    <a:pt x="1038482" y="348065"/>
                    <a:pt x="1038682" y="342352"/>
                    <a:pt x="1042490" y="336890"/>
                  </a:cubicBezTo>
                  <a:lnTo>
                    <a:pt x="1044394" y="334184"/>
                  </a:lnTo>
                  <a:lnTo>
                    <a:pt x="1046650" y="336640"/>
                  </a:lnTo>
                  <a:cubicBezTo>
                    <a:pt x="1047702" y="337792"/>
                    <a:pt x="1048654" y="338744"/>
                    <a:pt x="1049556" y="339646"/>
                  </a:cubicBezTo>
                  <a:cubicBezTo>
                    <a:pt x="1051259" y="341400"/>
                    <a:pt x="1052763" y="342903"/>
                    <a:pt x="1054016" y="344657"/>
                  </a:cubicBezTo>
                  <a:cubicBezTo>
                    <a:pt x="1064289" y="359189"/>
                    <a:pt x="1072156" y="371867"/>
                    <a:pt x="1077066" y="386599"/>
                  </a:cubicBezTo>
                  <a:cubicBezTo>
                    <a:pt x="1078119" y="389756"/>
                    <a:pt x="1079672" y="391811"/>
                    <a:pt x="1081576" y="392613"/>
                  </a:cubicBezTo>
                  <a:cubicBezTo>
                    <a:pt x="1083731" y="393565"/>
                    <a:pt x="1086637" y="393164"/>
                    <a:pt x="1090245" y="391510"/>
                  </a:cubicBezTo>
                  <a:cubicBezTo>
                    <a:pt x="1091749" y="390809"/>
                    <a:pt x="1093202" y="389907"/>
                    <a:pt x="1094705" y="388955"/>
                  </a:cubicBezTo>
                  <a:cubicBezTo>
                    <a:pt x="1096559" y="387752"/>
                    <a:pt x="1098413" y="386549"/>
                    <a:pt x="1100568" y="385697"/>
                  </a:cubicBezTo>
                  <a:cubicBezTo>
                    <a:pt x="1107132" y="383042"/>
                    <a:pt x="1114599" y="385497"/>
                    <a:pt x="1118307" y="391510"/>
                  </a:cubicBezTo>
                  <a:cubicBezTo>
                    <a:pt x="1120011" y="394216"/>
                    <a:pt x="1121514" y="397022"/>
                    <a:pt x="1122917" y="399778"/>
                  </a:cubicBezTo>
                  <a:cubicBezTo>
                    <a:pt x="1124421" y="402635"/>
                    <a:pt x="1125823" y="405341"/>
                    <a:pt x="1127527" y="407946"/>
                  </a:cubicBezTo>
                  <a:cubicBezTo>
                    <a:pt x="1128680" y="409800"/>
                    <a:pt x="1130383" y="411404"/>
                    <a:pt x="1132037" y="412957"/>
                  </a:cubicBezTo>
                  <a:cubicBezTo>
                    <a:pt x="1132288" y="413208"/>
                    <a:pt x="1132589" y="413458"/>
                    <a:pt x="1132839" y="413759"/>
                  </a:cubicBezTo>
                  <a:cubicBezTo>
                    <a:pt x="1140055" y="409800"/>
                    <a:pt x="1142961" y="403737"/>
                    <a:pt x="1145517" y="397323"/>
                  </a:cubicBezTo>
                  <a:cubicBezTo>
                    <a:pt x="1147271" y="392963"/>
                    <a:pt x="1149024" y="388604"/>
                    <a:pt x="1150828" y="384244"/>
                  </a:cubicBezTo>
                  <a:cubicBezTo>
                    <a:pt x="1152933" y="379133"/>
                    <a:pt x="1155038" y="373972"/>
                    <a:pt x="1157092" y="368810"/>
                  </a:cubicBezTo>
                  <a:cubicBezTo>
                    <a:pt x="1169118" y="338343"/>
                    <a:pt x="1190265" y="319753"/>
                    <a:pt x="1219930" y="313439"/>
                  </a:cubicBezTo>
                  <a:cubicBezTo>
                    <a:pt x="1221233" y="313188"/>
                    <a:pt x="1222686" y="312837"/>
                    <a:pt x="1224089" y="312286"/>
                  </a:cubicBezTo>
                  <a:cubicBezTo>
                    <a:pt x="1230253" y="310031"/>
                    <a:pt x="1236366" y="310833"/>
                    <a:pt x="1242230" y="314641"/>
                  </a:cubicBezTo>
                  <a:cubicBezTo>
                    <a:pt x="1250147" y="319803"/>
                    <a:pt x="1258064" y="324964"/>
                    <a:pt x="1266081" y="329925"/>
                  </a:cubicBezTo>
                  <a:cubicBezTo>
                    <a:pt x="1274450" y="335086"/>
                    <a:pt x="1282869" y="336439"/>
                    <a:pt x="1293342" y="334234"/>
                  </a:cubicBezTo>
                  <a:cubicBezTo>
                    <a:pt x="1311381" y="330426"/>
                    <a:pt x="1327868" y="321406"/>
                    <a:pt x="1345356" y="305822"/>
                  </a:cubicBezTo>
                  <a:cubicBezTo>
                    <a:pt x="1348262" y="303216"/>
                    <a:pt x="1351219" y="300560"/>
                    <a:pt x="1354175" y="297955"/>
                  </a:cubicBezTo>
                  <a:lnTo>
                    <a:pt x="1362042" y="290939"/>
                  </a:lnTo>
                  <a:lnTo>
                    <a:pt x="1370160" y="293244"/>
                  </a:lnTo>
                  <a:cubicBezTo>
                    <a:pt x="1375372" y="294698"/>
                    <a:pt x="1380232" y="296050"/>
                    <a:pt x="1384993" y="297504"/>
                  </a:cubicBezTo>
                  <a:cubicBezTo>
                    <a:pt x="1392760" y="299859"/>
                    <a:pt x="1400527" y="298155"/>
                    <a:pt x="1409496" y="292242"/>
                  </a:cubicBezTo>
                  <a:cubicBezTo>
                    <a:pt x="1410549" y="291541"/>
                    <a:pt x="1411752" y="288233"/>
                    <a:pt x="1411401" y="286880"/>
                  </a:cubicBezTo>
                  <a:cubicBezTo>
                    <a:pt x="1410799" y="284375"/>
                    <a:pt x="1409397" y="281919"/>
                    <a:pt x="1407943" y="279314"/>
                  </a:cubicBezTo>
                  <a:cubicBezTo>
                    <a:pt x="1407091" y="277810"/>
                    <a:pt x="1406290" y="276357"/>
                    <a:pt x="1405538" y="274854"/>
                  </a:cubicBezTo>
                  <a:cubicBezTo>
                    <a:pt x="1402281" y="268039"/>
                    <a:pt x="1402732" y="267087"/>
                    <a:pt x="1408244" y="255211"/>
                  </a:cubicBezTo>
                  <a:lnTo>
                    <a:pt x="1409747" y="251954"/>
                  </a:lnTo>
                  <a:lnTo>
                    <a:pt x="1412504" y="254209"/>
                  </a:lnTo>
                  <a:lnTo>
                    <a:pt x="1418216" y="259370"/>
                  </a:lnTo>
                  <a:cubicBezTo>
                    <a:pt x="1422876" y="263529"/>
                    <a:pt x="1427286" y="267488"/>
                    <a:pt x="1431846" y="271346"/>
                  </a:cubicBezTo>
                  <a:cubicBezTo>
                    <a:pt x="1432898" y="272248"/>
                    <a:pt x="1433700" y="272599"/>
                    <a:pt x="1434251" y="272549"/>
                  </a:cubicBezTo>
                  <a:cubicBezTo>
                    <a:pt x="1434602" y="272549"/>
                    <a:pt x="1435053" y="272248"/>
                    <a:pt x="1435504" y="271797"/>
                  </a:cubicBezTo>
                  <a:lnTo>
                    <a:pt x="1416262" y="244938"/>
                  </a:lnTo>
                  <a:cubicBezTo>
                    <a:pt x="1414758" y="246742"/>
                    <a:pt x="1413255" y="248195"/>
                    <a:pt x="1411151" y="24759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36" name="Полилиния: фигура 35">
              <a:extLst>
                <a:ext uri="{FF2B5EF4-FFF2-40B4-BE49-F238E27FC236}">
                  <a16:creationId xmlns:a16="http://schemas.microsoft.com/office/drawing/2014/main" id="{EDE25802-2D7A-48EC-AADF-A3AE5045D868}"/>
                </a:ext>
              </a:extLst>
            </p:cNvPr>
            <p:cNvSpPr/>
            <p:nvPr/>
          </p:nvSpPr>
          <p:spPr>
            <a:xfrm>
              <a:off x="3747385" y="2912038"/>
              <a:ext cx="1809622" cy="1393915"/>
            </a:xfrm>
            <a:custGeom>
              <a:avLst/>
              <a:gdLst>
                <a:gd name="connsiteX0" fmla="*/ 650279 w 1451038"/>
                <a:gd name="connsiteY0" fmla="*/ 1094104 h 1117705"/>
                <a:gd name="connsiteX1" fmla="*/ 675183 w 1451038"/>
                <a:gd name="connsiteY1" fmla="*/ 1104477 h 1117705"/>
                <a:gd name="connsiteX2" fmla="*/ 677689 w 1451038"/>
                <a:gd name="connsiteY2" fmla="*/ 1104377 h 1117705"/>
                <a:gd name="connsiteX3" fmla="*/ 698535 w 1451038"/>
                <a:gd name="connsiteY3" fmla="*/ 1113697 h 1117705"/>
                <a:gd name="connsiteX4" fmla="*/ 703195 w 1451038"/>
                <a:gd name="connsiteY4" fmla="*/ 1116804 h 1117705"/>
                <a:gd name="connsiteX5" fmla="*/ 704749 w 1451038"/>
                <a:gd name="connsiteY5" fmla="*/ 1117706 h 1117705"/>
                <a:gd name="connsiteX6" fmla="*/ 708156 w 1451038"/>
                <a:gd name="connsiteY6" fmla="*/ 1114800 h 1117705"/>
                <a:gd name="connsiteX7" fmla="*/ 717527 w 1451038"/>
                <a:gd name="connsiteY7" fmla="*/ 1106481 h 1117705"/>
                <a:gd name="connsiteX8" fmla="*/ 738172 w 1451038"/>
                <a:gd name="connsiteY8" fmla="*/ 1085936 h 1117705"/>
                <a:gd name="connsiteX9" fmla="*/ 756061 w 1451038"/>
                <a:gd name="connsiteY9" fmla="*/ 1068097 h 1117705"/>
                <a:gd name="connsiteX10" fmla="*/ 762525 w 1451038"/>
                <a:gd name="connsiteY10" fmla="*/ 1061633 h 1117705"/>
                <a:gd name="connsiteX11" fmla="*/ 794546 w 1451038"/>
                <a:gd name="connsiteY11" fmla="*/ 1048153 h 1117705"/>
                <a:gd name="connsiteX12" fmla="*/ 802914 w 1451038"/>
                <a:gd name="connsiteY12" fmla="*/ 1048153 h 1117705"/>
                <a:gd name="connsiteX13" fmla="*/ 807624 w 1451038"/>
                <a:gd name="connsiteY13" fmla="*/ 1048153 h 1117705"/>
                <a:gd name="connsiteX14" fmla="*/ 821906 w 1451038"/>
                <a:gd name="connsiteY14" fmla="*/ 1048003 h 1117705"/>
                <a:gd name="connsiteX15" fmla="*/ 835386 w 1451038"/>
                <a:gd name="connsiteY15" fmla="*/ 1040937 h 1117705"/>
                <a:gd name="connsiteX16" fmla="*/ 840647 w 1451038"/>
                <a:gd name="connsiteY16" fmla="*/ 1032368 h 1117705"/>
                <a:gd name="connsiteX17" fmla="*/ 862194 w 1451038"/>
                <a:gd name="connsiteY17" fmla="*/ 984613 h 1117705"/>
                <a:gd name="connsiteX18" fmla="*/ 884544 w 1451038"/>
                <a:gd name="connsiteY18" fmla="*/ 953245 h 1117705"/>
                <a:gd name="connsiteX19" fmla="*/ 890206 w 1451038"/>
                <a:gd name="connsiteY19" fmla="*/ 936608 h 1117705"/>
                <a:gd name="connsiteX20" fmla="*/ 888452 w 1451038"/>
                <a:gd name="connsiteY20" fmla="*/ 931246 h 1117705"/>
                <a:gd name="connsiteX21" fmla="*/ 885345 w 1451038"/>
                <a:gd name="connsiteY21" fmla="*/ 920623 h 1117705"/>
                <a:gd name="connsiteX22" fmla="*/ 889103 w 1451038"/>
                <a:gd name="connsiteY22" fmla="*/ 910350 h 1117705"/>
                <a:gd name="connsiteX23" fmla="*/ 901381 w 1451038"/>
                <a:gd name="connsiteY23" fmla="*/ 908596 h 1117705"/>
                <a:gd name="connsiteX24" fmla="*/ 902282 w 1451038"/>
                <a:gd name="connsiteY24" fmla="*/ 908947 h 1117705"/>
                <a:gd name="connsiteX25" fmla="*/ 906442 w 1451038"/>
                <a:gd name="connsiteY25" fmla="*/ 911152 h 1117705"/>
                <a:gd name="connsiteX26" fmla="*/ 931898 w 1451038"/>
                <a:gd name="connsiteY26" fmla="*/ 922076 h 1117705"/>
                <a:gd name="connsiteX27" fmla="*/ 935505 w 1451038"/>
                <a:gd name="connsiteY27" fmla="*/ 922928 h 1117705"/>
                <a:gd name="connsiteX28" fmla="*/ 946079 w 1451038"/>
                <a:gd name="connsiteY28" fmla="*/ 925684 h 1117705"/>
                <a:gd name="connsiteX29" fmla="*/ 962866 w 1451038"/>
                <a:gd name="connsiteY29" fmla="*/ 929843 h 1117705"/>
                <a:gd name="connsiteX30" fmla="*/ 1003705 w 1451038"/>
                <a:gd name="connsiteY30" fmla="*/ 950288 h 1117705"/>
                <a:gd name="connsiteX31" fmla="*/ 1004958 w 1451038"/>
                <a:gd name="connsiteY31" fmla="*/ 950388 h 1117705"/>
                <a:gd name="connsiteX32" fmla="*/ 1006010 w 1451038"/>
                <a:gd name="connsiteY32" fmla="*/ 950539 h 1117705"/>
                <a:gd name="connsiteX33" fmla="*/ 1043393 w 1451038"/>
                <a:gd name="connsiteY33" fmla="*/ 948634 h 1117705"/>
                <a:gd name="connsiteX34" fmla="*/ 1044946 w 1451038"/>
                <a:gd name="connsiteY34" fmla="*/ 949035 h 1117705"/>
                <a:gd name="connsiteX35" fmla="*/ 1045948 w 1451038"/>
                <a:gd name="connsiteY35" fmla="*/ 953295 h 1117705"/>
                <a:gd name="connsiteX36" fmla="*/ 1047401 w 1451038"/>
                <a:gd name="connsiteY36" fmla="*/ 959358 h 1117705"/>
                <a:gd name="connsiteX37" fmla="*/ 1076415 w 1451038"/>
                <a:gd name="connsiteY37" fmla="*/ 982158 h 1117705"/>
                <a:gd name="connsiteX38" fmla="*/ 1106080 w 1451038"/>
                <a:gd name="connsiteY38" fmla="*/ 979202 h 1117705"/>
                <a:gd name="connsiteX39" fmla="*/ 1111141 w 1451038"/>
                <a:gd name="connsiteY39" fmla="*/ 978500 h 1117705"/>
                <a:gd name="connsiteX40" fmla="*/ 1126425 w 1451038"/>
                <a:gd name="connsiteY40" fmla="*/ 975544 h 1117705"/>
                <a:gd name="connsiteX41" fmla="*/ 1134142 w 1451038"/>
                <a:gd name="connsiteY41" fmla="*/ 973890 h 1117705"/>
                <a:gd name="connsiteX42" fmla="*/ 1136196 w 1451038"/>
                <a:gd name="connsiteY42" fmla="*/ 973489 h 1117705"/>
                <a:gd name="connsiteX43" fmla="*/ 1137098 w 1451038"/>
                <a:gd name="connsiteY43" fmla="*/ 975393 h 1117705"/>
                <a:gd name="connsiteX44" fmla="*/ 1141057 w 1451038"/>
                <a:gd name="connsiteY44" fmla="*/ 990226 h 1117705"/>
                <a:gd name="connsiteX45" fmla="*/ 1150177 w 1451038"/>
                <a:gd name="connsiteY45" fmla="*/ 1009218 h 1117705"/>
                <a:gd name="connsiteX46" fmla="*/ 1151179 w 1451038"/>
                <a:gd name="connsiteY46" fmla="*/ 1009568 h 1117705"/>
                <a:gd name="connsiteX47" fmla="*/ 1153134 w 1451038"/>
                <a:gd name="connsiteY47" fmla="*/ 1010069 h 1117705"/>
                <a:gd name="connsiteX48" fmla="*/ 1203294 w 1451038"/>
                <a:gd name="connsiteY48" fmla="*/ 1024802 h 1117705"/>
                <a:gd name="connsiteX49" fmla="*/ 1204998 w 1451038"/>
                <a:gd name="connsiteY49" fmla="*/ 1025153 h 1117705"/>
                <a:gd name="connsiteX50" fmla="*/ 1206050 w 1451038"/>
                <a:gd name="connsiteY50" fmla="*/ 1025353 h 1117705"/>
                <a:gd name="connsiteX51" fmla="*/ 1246940 w 1451038"/>
                <a:gd name="connsiteY51" fmla="*/ 1006161 h 1117705"/>
                <a:gd name="connsiteX52" fmla="*/ 1275803 w 1451038"/>
                <a:gd name="connsiteY52" fmla="*/ 992882 h 1117705"/>
                <a:gd name="connsiteX53" fmla="*/ 1276805 w 1451038"/>
                <a:gd name="connsiteY53" fmla="*/ 992681 h 1117705"/>
                <a:gd name="connsiteX54" fmla="*/ 1286477 w 1451038"/>
                <a:gd name="connsiteY54" fmla="*/ 998644 h 1117705"/>
                <a:gd name="connsiteX55" fmla="*/ 1312083 w 1451038"/>
                <a:gd name="connsiteY55" fmla="*/ 1014229 h 1117705"/>
                <a:gd name="connsiteX56" fmla="*/ 1332728 w 1451038"/>
                <a:gd name="connsiteY56" fmla="*/ 1017285 h 1117705"/>
                <a:gd name="connsiteX57" fmla="*/ 1366753 w 1451038"/>
                <a:gd name="connsiteY57" fmla="*/ 1009668 h 1117705"/>
                <a:gd name="connsiteX58" fmla="*/ 1385895 w 1451038"/>
                <a:gd name="connsiteY58" fmla="*/ 1005559 h 1117705"/>
                <a:gd name="connsiteX59" fmla="*/ 1451038 w 1451038"/>
                <a:gd name="connsiteY59" fmla="*/ 966273 h 1117705"/>
                <a:gd name="connsiteX60" fmla="*/ 1442770 w 1451038"/>
                <a:gd name="connsiteY60" fmla="*/ 954498 h 1117705"/>
                <a:gd name="connsiteX61" fmla="*/ 1439964 w 1451038"/>
                <a:gd name="connsiteY61" fmla="*/ 952944 h 1117705"/>
                <a:gd name="connsiteX62" fmla="*/ 1424129 w 1451038"/>
                <a:gd name="connsiteY62" fmla="*/ 944926 h 1117705"/>
                <a:gd name="connsiteX63" fmla="*/ 1406691 w 1451038"/>
                <a:gd name="connsiteY63" fmla="*/ 921224 h 1117705"/>
                <a:gd name="connsiteX64" fmla="*/ 1405889 w 1451038"/>
                <a:gd name="connsiteY64" fmla="*/ 915011 h 1117705"/>
                <a:gd name="connsiteX65" fmla="*/ 1400577 w 1451038"/>
                <a:gd name="connsiteY65" fmla="*/ 879282 h 1117705"/>
                <a:gd name="connsiteX66" fmla="*/ 1373919 w 1451038"/>
                <a:gd name="connsiteY66" fmla="*/ 826416 h 1117705"/>
                <a:gd name="connsiteX67" fmla="*/ 1355629 w 1451038"/>
                <a:gd name="connsiteY67" fmla="*/ 817897 h 1117705"/>
                <a:gd name="connsiteX68" fmla="*/ 1355228 w 1451038"/>
                <a:gd name="connsiteY68" fmla="*/ 817897 h 1117705"/>
                <a:gd name="connsiteX69" fmla="*/ 1336787 w 1451038"/>
                <a:gd name="connsiteY69" fmla="*/ 817446 h 1117705"/>
                <a:gd name="connsiteX70" fmla="*/ 1329521 w 1451038"/>
                <a:gd name="connsiteY70" fmla="*/ 817146 h 1117705"/>
                <a:gd name="connsiteX71" fmla="*/ 1328269 w 1451038"/>
                <a:gd name="connsiteY71" fmla="*/ 817146 h 1117705"/>
                <a:gd name="connsiteX72" fmla="*/ 1327517 w 1451038"/>
                <a:gd name="connsiteY72" fmla="*/ 816093 h 1117705"/>
                <a:gd name="connsiteX73" fmla="*/ 1323758 w 1451038"/>
                <a:gd name="connsiteY73" fmla="*/ 811283 h 1117705"/>
                <a:gd name="connsiteX74" fmla="*/ 1316793 w 1451038"/>
                <a:gd name="connsiteY74" fmla="*/ 802062 h 1117705"/>
                <a:gd name="connsiteX75" fmla="*/ 1313987 w 1451038"/>
                <a:gd name="connsiteY75" fmla="*/ 798003 h 1117705"/>
                <a:gd name="connsiteX76" fmla="*/ 1299706 w 1451038"/>
                <a:gd name="connsiteY76" fmla="*/ 776256 h 1117705"/>
                <a:gd name="connsiteX77" fmla="*/ 1273648 w 1451038"/>
                <a:gd name="connsiteY77" fmla="*/ 761373 h 1117705"/>
                <a:gd name="connsiteX78" fmla="*/ 1261171 w 1451038"/>
                <a:gd name="connsiteY78" fmla="*/ 761072 h 1117705"/>
                <a:gd name="connsiteX79" fmla="*/ 1260269 w 1451038"/>
                <a:gd name="connsiteY79" fmla="*/ 760972 h 1117705"/>
                <a:gd name="connsiteX80" fmla="*/ 1250748 w 1451038"/>
                <a:gd name="connsiteY80" fmla="*/ 757915 h 1117705"/>
                <a:gd name="connsiteX81" fmla="*/ 1243282 w 1451038"/>
                <a:gd name="connsiteY81" fmla="*/ 751401 h 1117705"/>
                <a:gd name="connsiteX82" fmla="*/ 1219930 w 1451038"/>
                <a:gd name="connsiteY82" fmla="*/ 718429 h 1117705"/>
                <a:gd name="connsiteX83" fmla="*/ 1215972 w 1451038"/>
                <a:gd name="connsiteY83" fmla="*/ 712115 h 1117705"/>
                <a:gd name="connsiteX84" fmla="*/ 1214769 w 1451038"/>
                <a:gd name="connsiteY84" fmla="*/ 710662 h 1117705"/>
                <a:gd name="connsiteX85" fmla="*/ 1195427 w 1451038"/>
                <a:gd name="connsiteY85" fmla="*/ 718128 h 1117705"/>
                <a:gd name="connsiteX86" fmla="*/ 1149025 w 1451038"/>
                <a:gd name="connsiteY86" fmla="*/ 735416 h 1117705"/>
                <a:gd name="connsiteX87" fmla="*/ 1140005 w 1451038"/>
                <a:gd name="connsiteY87" fmla="*/ 738673 h 1117705"/>
                <a:gd name="connsiteX88" fmla="*/ 1102422 w 1451038"/>
                <a:gd name="connsiteY88" fmla="*/ 732660 h 1117705"/>
                <a:gd name="connsiteX89" fmla="*/ 1065190 w 1451038"/>
                <a:gd name="connsiteY89" fmla="*/ 724141 h 1117705"/>
                <a:gd name="connsiteX90" fmla="*/ 1046149 w 1451038"/>
                <a:gd name="connsiteY90" fmla="*/ 724242 h 1117705"/>
                <a:gd name="connsiteX91" fmla="*/ 1031967 w 1451038"/>
                <a:gd name="connsiteY91" fmla="*/ 724191 h 1117705"/>
                <a:gd name="connsiteX92" fmla="*/ 1009117 w 1451038"/>
                <a:gd name="connsiteY92" fmla="*/ 714370 h 1117705"/>
                <a:gd name="connsiteX93" fmla="*/ 993583 w 1451038"/>
                <a:gd name="connsiteY93" fmla="*/ 686508 h 1117705"/>
                <a:gd name="connsiteX94" fmla="*/ 969430 w 1451038"/>
                <a:gd name="connsiteY94" fmla="*/ 654639 h 1117705"/>
                <a:gd name="connsiteX95" fmla="*/ 938913 w 1451038"/>
                <a:gd name="connsiteY95" fmla="*/ 635446 h 1117705"/>
                <a:gd name="connsiteX96" fmla="*/ 870663 w 1451038"/>
                <a:gd name="connsiteY96" fmla="*/ 604278 h 1117705"/>
                <a:gd name="connsiteX97" fmla="*/ 830274 w 1451038"/>
                <a:gd name="connsiteY97" fmla="*/ 582530 h 1117705"/>
                <a:gd name="connsiteX98" fmla="*/ 799607 w 1451038"/>
                <a:gd name="connsiteY98" fmla="*/ 536880 h 1117705"/>
                <a:gd name="connsiteX99" fmla="*/ 787831 w 1451038"/>
                <a:gd name="connsiteY99" fmla="*/ 528562 h 1117705"/>
                <a:gd name="connsiteX100" fmla="*/ 775454 w 1451038"/>
                <a:gd name="connsiteY100" fmla="*/ 528411 h 1117705"/>
                <a:gd name="connsiteX101" fmla="*/ 761824 w 1451038"/>
                <a:gd name="connsiteY101" fmla="*/ 528211 h 1117705"/>
                <a:gd name="connsiteX102" fmla="*/ 701241 w 1451038"/>
                <a:gd name="connsiteY102" fmla="*/ 516285 h 1117705"/>
                <a:gd name="connsiteX103" fmla="*/ 699988 w 1451038"/>
                <a:gd name="connsiteY103" fmla="*/ 515833 h 1117705"/>
                <a:gd name="connsiteX104" fmla="*/ 699637 w 1451038"/>
                <a:gd name="connsiteY104" fmla="*/ 514531 h 1117705"/>
                <a:gd name="connsiteX105" fmla="*/ 696781 w 1451038"/>
                <a:gd name="connsiteY105" fmla="*/ 480556 h 1117705"/>
                <a:gd name="connsiteX106" fmla="*/ 694827 w 1451038"/>
                <a:gd name="connsiteY106" fmla="*/ 450289 h 1117705"/>
                <a:gd name="connsiteX107" fmla="*/ 670022 w 1451038"/>
                <a:gd name="connsiteY107" fmla="*/ 406593 h 1117705"/>
                <a:gd name="connsiteX108" fmla="*/ 669722 w 1451038"/>
                <a:gd name="connsiteY108" fmla="*/ 404639 h 1117705"/>
                <a:gd name="connsiteX109" fmla="*/ 683301 w 1451038"/>
                <a:gd name="connsiteY109" fmla="*/ 352875 h 1117705"/>
                <a:gd name="connsiteX110" fmla="*/ 681197 w 1451038"/>
                <a:gd name="connsiteY110" fmla="*/ 350069 h 1117705"/>
                <a:gd name="connsiteX111" fmla="*/ 675985 w 1451038"/>
                <a:gd name="connsiteY111" fmla="*/ 344607 h 1117705"/>
                <a:gd name="connsiteX112" fmla="*/ 648525 w 1451038"/>
                <a:gd name="connsiteY112" fmla="*/ 324914 h 1117705"/>
                <a:gd name="connsiteX113" fmla="*/ 646370 w 1451038"/>
                <a:gd name="connsiteY113" fmla="*/ 322759 h 1117705"/>
                <a:gd name="connsiteX114" fmla="*/ 641610 w 1451038"/>
                <a:gd name="connsiteY114" fmla="*/ 324964 h 1117705"/>
                <a:gd name="connsiteX115" fmla="*/ 627479 w 1451038"/>
                <a:gd name="connsiteY115" fmla="*/ 330226 h 1117705"/>
                <a:gd name="connsiteX116" fmla="*/ 610341 w 1451038"/>
                <a:gd name="connsiteY116" fmla="*/ 331128 h 1117705"/>
                <a:gd name="connsiteX117" fmla="*/ 603476 w 1451038"/>
                <a:gd name="connsiteY117" fmla="*/ 331128 h 1117705"/>
                <a:gd name="connsiteX118" fmla="*/ 596210 w 1451038"/>
                <a:gd name="connsiteY118" fmla="*/ 331128 h 1117705"/>
                <a:gd name="connsiteX119" fmla="*/ 563188 w 1451038"/>
                <a:gd name="connsiteY119" fmla="*/ 337241 h 1117705"/>
                <a:gd name="connsiteX120" fmla="*/ 556072 w 1451038"/>
                <a:gd name="connsiteY120" fmla="*/ 338945 h 1117705"/>
                <a:gd name="connsiteX121" fmla="*/ 552464 w 1451038"/>
                <a:gd name="connsiteY121" fmla="*/ 339446 h 1117705"/>
                <a:gd name="connsiteX122" fmla="*/ 551111 w 1451038"/>
                <a:gd name="connsiteY122" fmla="*/ 339696 h 1117705"/>
                <a:gd name="connsiteX123" fmla="*/ 547052 w 1451038"/>
                <a:gd name="connsiteY123" fmla="*/ 335888 h 1117705"/>
                <a:gd name="connsiteX124" fmla="*/ 502253 w 1451038"/>
                <a:gd name="connsiteY124" fmla="*/ 278161 h 1117705"/>
                <a:gd name="connsiteX125" fmla="*/ 501552 w 1451038"/>
                <a:gd name="connsiteY125" fmla="*/ 276257 h 1117705"/>
                <a:gd name="connsiteX126" fmla="*/ 521145 w 1451038"/>
                <a:gd name="connsiteY126" fmla="*/ 261525 h 1117705"/>
                <a:gd name="connsiteX127" fmla="*/ 515884 w 1451038"/>
                <a:gd name="connsiteY127" fmla="*/ 257065 h 1117705"/>
                <a:gd name="connsiteX128" fmla="*/ 483562 w 1451038"/>
                <a:gd name="connsiteY128" fmla="*/ 233212 h 1117705"/>
                <a:gd name="connsiteX129" fmla="*/ 455802 w 1451038"/>
                <a:gd name="connsiteY129" fmla="*/ 221838 h 1117705"/>
                <a:gd name="connsiteX130" fmla="*/ 444376 w 1451038"/>
                <a:gd name="connsiteY130" fmla="*/ 222439 h 1117705"/>
                <a:gd name="connsiteX131" fmla="*/ 441119 w 1451038"/>
                <a:gd name="connsiteY131" fmla="*/ 223040 h 1117705"/>
                <a:gd name="connsiteX132" fmla="*/ 434354 w 1451038"/>
                <a:gd name="connsiteY132" fmla="*/ 225095 h 1117705"/>
                <a:gd name="connsiteX133" fmla="*/ 431648 w 1451038"/>
                <a:gd name="connsiteY133" fmla="*/ 226047 h 1117705"/>
                <a:gd name="connsiteX134" fmla="*/ 430295 w 1451038"/>
                <a:gd name="connsiteY134" fmla="*/ 226498 h 1117705"/>
                <a:gd name="connsiteX135" fmla="*/ 429193 w 1451038"/>
                <a:gd name="connsiteY135" fmla="*/ 225646 h 1117705"/>
                <a:gd name="connsiteX136" fmla="*/ 426337 w 1451038"/>
                <a:gd name="connsiteY136" fmla="*/ 223692 h 1117705"/>
                <a:gd name="connsiteX137" fmla="*/ 421727 w 1451038"/>
                <a:gd name="connsiteY137" fmla="*/ 219583 h 1117705"/>
                <a:gd name="connsiteX138" fmla="*/ 398926 w 1451038"/>
                <a:gd name="connsiteY138" fmla="*/ 213870 h 1117705"/>
                <a:gd name="connsiteX139" fmla="*/ 390959 w 1451038"/>
                <a:gd name="connsiteY139" fmla="*/ 216827 h 1117705"/>
                <a:gd name="connsiteX140" fmla="*/ 387552 w 1451038"/>
                <a:gd name="connsiteY140" fmla="*/ 217929 h 1117705"/>
                <a:gd name="connsiteX141" fmla="*/ 386449 w 1451038"/>
                <a:gd name="connsiteY141" fmla="*/ 218330 h 1117705"/>
                <a:gd name="connsiteX142" fmla="*/ 385447 w 1451038"/>
                <a:gd name="connsiteY142" fmla="*/ 217829 h 1117705"/>
                <a:gd name="connsiteX143" fmla="*/ 381238 w 1451038"/>
                <a:gd name="connsiteY143" fmla="*/ 215524 h 1117705"/>
                <a:gd name="connsiteX144" fmla="*/ 373020 w 1451038"/>
                <a:gd name="connsiteY144" fmla="*/ 211665 h 1117705"/>
                <a:gd name="connsiteX145" fmla="*/ 364000 w 1451038"/>
                <a:gd name="connsiteY145" fmla="*/ 210613 h 1117705"/>
                <a:gd name="connsiteX146" fmla="*/ 359490 w 1451038"/>
                <a:gd name="connsiteY146" fmla="*/ 210362 h 1117705"/>
                <a:gd name="connsiteX147" fmla="*/ 334385 w 1451038"/>
                <a:gd name="connsiteY147" fmla="*/ 180848 h 1117705"/>
                <a:gd name="connsiteX148" fmla="*/ 335588 w 1451038"/>
                <a:gd name="connsiteY148" fmla="*/ 171427 h 1117705"/>
                <a:gd name="connsiteX149" fmla="*/ 335988 w 1451038"/>
                <a:gd name="connsiteY149" fmla="*/ 168821 h 1117705"/>
                <a:gd name="connsiteX150" fmla="*/ 306674 w 1451038"/>
                <a:gd name="connsiteY150" fmla="*/ 136901 h 1117705"/>
                <a:gd name="connsiteX151" fmla="*/ 333733 w 1451038"/>
                <a:gd name="connsiteY151" fmla="*/ 109992 h 1117705"/>
                <a:gd name="connsiteX152" fmla="*/ 335988 w 1451038"/>
                <a:gd name="connsiteY152" fmla="*/ 102024 h 1117705"/>
                <a:gd name="connsiteX153" fmla="*/ 342352 w 1451038"/>
                <a:gd name="connsiteY153" fmla="*/ 81429 h 1117705"/>
                <a:gd name="connsiteX154" fmla="*/ 350520 w 1451038"/>
                <a:gd name="connsiteY154" fmla="*/ 70104 h 1117705"/>
                <a:gd name="connsiteX155" fmla="*/ 358989 w 1451038"/>
                <a:gd name="connsiteY155" fmla="*/ 56975 h 1117705"/>
                <a:gd name="connsiteX156" fmla="*/ 350470 w 1451038"/>
                <a:gd name="connsiteY156" fmla="*/ 25807 h 1117705"/>
                <a:gd name="connsiteX157" fmla="*/ 342853 w 1451038"/>
                <a:gd name="connsiteY157" fmla="*/ 0 h 1117705"/>
                <a:gd name="connsiteX158" fmla="*/ 337041 w 1451038"/>
                <a:gd name="connsiteY158" fmla="*/ 2005 h 1117705"/>
                <a:gd name="connsiteX159" fmla="*/ 315744 w 1451038"/>
                <a:gd name="connsiteY159" fmla="*/ 9521 h 1117705"/>
                <a:gd name="connsiteX160" fmla="*/ 308478 w 1451038"/>
                <a:gd name="connsiteY160" fmla="*/ 17639 h 1117705"/>
                <a:gd name="connsiteX161" fmla="*/ 306223 w 1451038"/>
                <a:gd name="connsiteY161" fmla="*/ 25406 h 1117705"/>
                <a:gd name="connsiteX162" fmla="*/ 304920 w 1451038"/>
                <a:gd name="connsiteY162" fmla="*/ 29465 h 1117705"/>
                <a:gd name="connsiteX163" fmla="*/ 304269 w 1451038"/>
                <a:gd name="connsiteY163" fmla="*/ 31619 h 1117705"/>
                <a:gd name="connsiteX164" fmla="*/ 302014 w 1451038"/>
                <a:gd name="connsiteY164" fmla="*/ 31369 h 1117705"/>
                <a:gd name="connsiteX165" fmla="*/ 268440 w 1451038"/>
                <a:gd name="connsiteY165" fmla="*/ 40539 h 1117705"/>
                <a:gd name="connsiteX166" fmla="*/ 244287 w 1451038"/>
                <a:gd name="connsiteY166" fmla="*/ 49860 h 1117705"/>
                <a:gd name="connsiteX167" fmla="*/ 242433 w 1451038"/>
                <a:gd name="connsiteY167" fmla="*/ 50210 h 1117705"/>
                <a:gd name="connsiteX168" fmla="*/ 227400 w 1451038"/>
                <a:gd name="connsiteY168" fmla="*/ 24504 h 1117705"/>
                <a:gd name="connsiteX169" fmla="*/ 226297 w 1451038"/>
                <a:gd name="connsiteY169" fmla="*/ 24103 h 1117705"/>
                <a:gd name="connsiteX170" fmla="*/ 224594 w 1451038"/>
                <a:gd name="connsiteY170" fmla="*/ 23552 h 1117705"/>
                <a:gd name="connsiteX171" fmla="*/ 224594 w 1451038"/>
                <a:gd name="connsiteY171" fmla="*/ 23552 h 1117705"/>
                <a:gd name="connsiteX172" fmla="*/ 163058 w 1451038"/>
                <a:gd name="connsiteY172" fmla="*/ 53518 h 1117705"/>
                <a:gd name="connsiteX173" fmla="*/ 156995 w 1451038"/>
                <a:gd name="connsiteY173" fmla="*/ 66446 h 1117705"/>
                <a:gd name="connsiteX174" fmla="*/ 151884 w 1451038"/>
                <a:gd name="connsiteY174" fmla="*/ 96362 h 1117705"/>
                <a:gd name="connsiteX175" fmla="*/ 137653 w 1451038"/>
                <a:gd name="connsiteY175" fmla="*/ 124724 h 1117705"/>
                <a:gd name="connsiteX176" fmla="*/ 85839 w 1451038"/>
                <a:gd name="connsiteY176" fmla="*/ 176538 h 1117705"/>
                <a:gd name="connsiteX177" fmla="*/ 84636 w 1451038"/>
                <a:gd name="connsiteY177" fmla="*/ 177791 h 1117705"/>
                <a:gd name="connsiteX178" fmla="*/ 71207 w 1451038"/>
                <a:gd name="connsiteY178" fmla="*/ 194026 h 1117705"/>
                <a:gd name="connsiteX179" fmla="*/ 39838 w 1451038"/>
                <a:gd name="connsiteY179" fmla="*/ 265383 h 1117705"/>
                <a:gd name="connsiteX180" fmla="*/ 45700 w 1451038"/>
                <a:gd name="connsiteY180" fmla="*/ 277911 h 1117705"/>
                <a:gd name="connsiteX181" fmla="*/ 45550 w 1451038"/>
                <a:gd name="connsiteY181" fmla="*/ 278763 h 1117705"/>
                <a:gd name="connsiteX182" fmla="*/ 17088 w 1451038"/>
                <a:gd name="connsiteY182" fmla="*/ 305772 h 1117705"/>
                <a:gd name="connsiteX183" fmla="*/ 0 w 1451038"/>
                <a:gd name="connsiteY183" fmla="*/ 347313 h 1117705"/>
                <a:gd name="connsiteX184" fmla="*/ 702 w 1451038"/>
                <a:gd name="connsiteY184" fmla="*/ 348616 h 1117705"/>
                <a:gd name="connsiteX185" fmla="*/ 9170 w 1451038"/>
                <a:gd name="connsiteY185" fmla="*/ 377079 h 1117705"/>
                <a:gd name="connsiteX186" fmla="*/ 19092 w 1451038"/>
                <a:gd name="connsiteY186" fmla="*/ 393615 h 1117705"/>
                <a:gd name="connsiteX187" fmla="*/ 30617 w 1451038"/>
                <a:gd name="connsiteY187" fmla="*/ 401332 h 1117705"/>
                <a:gd name="connsiteX188" fmla="*/ 46652 w 1451038"/>
                <a:gd name="connsiteY188" fmla="*/ 411805 h 1117705"/>
                <a:gd name="connsiteX189" fmla="*/ 71607 w 1451038"/>
                <a:gd name="connsiteY189" fmla="*/ 441170 h 1117705"/>
                <a:gd name="connsiteX190" fmla="*/ 76869 w 1451038"/>
                <a:gd name="connsiteY190" fmla="*/ 453897 h 1117705"/>
                <a:gd name="connsiteX191" fmla="*/ 115253 w 1451038"/>
                <a:gd name="connsiteY191" fmla="*/ 529413 h 1117705"/>
                <a:gd name="connsiteX192" fmla="*/ 115554 w 1451038"/>
                <a:gd name="connsiteY192" fmla="*/ 552464 h 1117705"/>
                <a:gd name="connsiteX193" fmla="*/ 97464 w 1451038"/>
                <a:gd name="connsiteY193" fmla="*/ 598465 h 1117705"/>
                <a:gd name="connsiteX194" fmla="*/ 86340 w 1451038"/>
                <a:gd name="connsiteY194" fmla="*/ 631688 h 1117705"/>
                <a:gd name="connsiteX195" fmla="*/ 84887 w 1451038"/>
                <a:gd name="connsiteY195" fmla="*/ 651281 h 1117705"/>
                <a:gd name="connsiteX196" fmla="*/ 85037 w 1451038"/>
                <a:gd name="connsiteY196" fmla="*/ 653686 h 1117705"/>
                <a:gd name="connsiteX197" fmla="*/ 91902 w 1451038"/>
                <a:gd name="connsiteY197" fmla="*/ 661754 h 1117705"/>
                <a:gd name="connsiteX198" fmla="*/ 96562 w 1451038"/>
                <a:gd name="connsiteY198" fmla="*/ 665061 h 1117705"/>
                <a:gd name="connsiteX199" fmla="*/ 100170 w 1451038"/>
                <a:gd name="connsiteY199" fmla="*/ 669271 h 1117705"/>
                <a:gd name="connsiteX200" fmla="*/ 101974 w 1451038"/>
                <a:gd name="connsiteY200" fmla="*/ 671676 h 1117705"/>
                <a:gd name="connsiteX201" fmla="*/ 102525 w 1451038"/>
                <a:gd name="connsiteY201" fmla="*/ 672327 h 1117705"/>
                <a:gd name="connsiteX202" fmla="*/ 102525 w 1451038"/>
                <a:gd name="connsiteY202" fmla="*/ 673179 h 1117705"/>
                <a:gd name="connsiteX203" fmla="*/ 94558 w 1451038"/>
                <a:gd name="connsiteY203" fmla="*/ 722838 h 1117705"/>
                <a:gd name="connsiteX204" fmla="*/ 86490 w 1451038"/>
                <a:gd name="connsiteY204" fmla="*/ 762275 h 1117705"/>
                <a:gd name="connsiteX205" fmla="*/ 94157 w 1451038"/>
                <a:gd name="connsiteY205" fmla="*/ 767536 h 1117705"/>
                <a:gd name="connsiteX206" fmla="*/ 112547 w 1451038"/>
                <a:gd name="connsiteY206" fmla="*/ 780164 h 1117705"/>
                <a:gd name="connsiteX207" fmla="*/ 121818 w 1451038"/>
                <a:gd name="connsiteY207" fmla="*/ 786378 h 1117705"/>
                <a:gd name="connsiteX208" fmla="*/ 140308 w 1451038"/>
                <a:gd name="connsiteY208" fmla="*/ 820854 h 1117705"/>
                <a:gd name="connsiteX209" fmla="*/ 140308 w 1451038"/>
                <a:gd name="connsiteY209" fmla="*/ 831226 h 1117705"/>
                <a:gd name="connsiteX210" fmla="*/ 140409 w 1451038"/>
                <a:gd name="connsiteY210" fmla="*/ 892762 h 1117705"/>
                <a:gd name="connsiteX211" fmla="*/ 152034 w 1451038"/>
                <a:gd name="connsiteY211" fmla="*/ 910200 h 1117705"/>
                <a:gd name="connsiteX212" fmla="*/ 193726 w 1451038"/>
                <a:gd name="connsiteY212" fmla="*/ 915011 h 1117705"/>
                <a:gd name="connsiteX213" fmla="*/ 194928 w 1451038"/>
                <a:gd name="connsiteY213" fmla="*/ 913607 h 1117705"/>
                <a:gd name="connsiteX214" fmla="*/ 198386 w 1451038"/>
                <a:gd name="connsiteY214" fmla="*/ 908947 h 1117705"/>
                <a:gd name="connsiteX215" fmla="*/ 224293 w 1451038"/>
                <a:gd name="connsiteY215" fmla="*/ 890306 h 1117705"/>
                <a:gd name="connsiteX216" fmla="*/ 238173 w 1451038"/>
                <a:gd name="connsiteY216" fmla="*/ 891709 h 1117705"/>
                <a:gd name="connsiteX217" fmla="*/ 260823 w 1451038"/>
                <a:gd name="connsiteY217" fmla="*/ 897873 h 1117705"/>
                <a:gd name="connsiteX218" fmla="*/ 267638 w 1451038"/>
                <a:gd name="connsiteY218" fmla="*/ 897873 h 1117705"/>
                <a:gd name="connsiteX219" fmla="*/ 275505 w 1451038"/>
                <a:gd name="connsiteY219" fmla="*/ 897923 h 1117705"/>
                <a:gd name="connsiteX220" fmla="*/ 303567 w 1451038"/>
                <a:gd name="connsiteY220" fmla="*/ 903135 h 1117705"/>
                <a:gd name="connsiteX221" fmla="*/ 325465 w 1451038"/>
                <a:gd name="connsiteY221" fmla="*/ 899727 h 1117705"/>
                <a:gd name="connsiteX222" fmla="*/ 349318 w 1451038"/>
                <a:gd name="connsiteY222" fmla="*/ 886297 h 1117705"/>
                <a:gd name="connsiteX223" fmla="*/ 385747 w 1451038"/>
                <a:gd name="connsiteY223" fmla="*/ 860441 h 1117705"/>
                <a:gd name="connsiteX224" fmla="*/ 387952 w 1451038"/>
                <a:gd name="connsiteY224" fmla="*/ 857234 h 1117705"/>
                <a:gd name="connsiteX225" fmla="*/ 388754 w 1451038"/>
                <a:gd name="connsiteY225" fmla="*/ 856231 h 1117705"/>
                <a:gd name="connsiteX226" fmla="*/ 427289 w 1451038"/>
                <a:gd name="connsiteY226" fmla="*/ 845257 h 1117705"/>
                <a:gd name="connsiteX227" fmla="*/ 428040 w 1451038"/>
                <a:gd name="connsiteY227" fmla="*/ 845608 h 1117705"/>
                <a:gd name="connsiteX228" fmla="*/ 441570 w 1451038"/>
                <a:gd name="connsiteY228" fmla="*/ 868809 h 1117705"/>
                <a:gd name="connsiteX229" fmla="*/ 445078 w 1451038"/>
                <a:gd name="connsiteY229" fmla="*/ 869160 h 1117705"/>
                <a:gd name="connsiteX230" fmla="*/ 452795 w 1451038"/>
                <a:gd name="connsiteY230" fmla="*/ 869711 h 1117705"/>
                <a:gd name="connsiteX231" fmla="*/ 514781 w 1451038"/>
                <a:gd name="connsiteY231" fmla="*/ 893113 h 1117705"/>
                <a:gd name="connsiteX232" fmla="*/ 520043 w 1451038"/>
                <a:gd name="connsiteY232" fmla="*/ 896269 h 1117705"/>
                <a:gd name="connsiteX233" fmla="*/ 524302 w 1451038"/>
                <a:gd name="connsiteY233" fmla="*/ 898474 h 1117705"/>
                <a:gd name="connsiteX234" fmla="*/ 526557 w 1451038"/>
                <a:gd name="connsiteY234" fmla="*/ 899827 h 1117705"/>
                <a:gd name="connsiteX235" fmla="*/ 534324 w 1451038"/>
                <a:gd name="connsiteY235" fmla="*/ 905941 h 1117705"/>
                <a:gd name="connsiteX236" fmla="*/ 536930 w 1451038"/>
                <a:gd name="connsiteY236" fmla="*/ 909549 h 1117705"/>
                <a:gd name="connsiteX237" fmla="*/ 554468 w 1451038"/>
                <a:gd name="connsiteY237" fmla="*/ 944375 h 1117705"/>
                <a:gd name="connsiteX238" fmla="*/ 570203 w 1451038"/>
                <a:gd name="connsiteY238" fmla="*/ 968428 h 1117705"/>
                <a:gd name="connsiteX239" fmla="*/ 575615 w 1451038"/>
                <a:gd name="connsiteY239" fmla="*/ 973840 h 1117705"/>
                <a:gd name="connsiteX240" fmla="*/ 577419 w 1451038"/>
                <a:gd name="connsiteY240" fmla="*/ 976295 h 1117705"/>
                <a:gd name="connsiteX241" fmla="*/ 578471 w 1451038"/>
                <a:gd name="connsiteY241" fmla="*/ 977498 h 1117705"/>
                <a:gd name="connsiteX242" fmla="*/ 577870 w 1451038"/>
                <a:gd name="connsiteY242" fmla="*/ 979001 h 1117705"/>
                <a:gd name="connsiteX243" fmla="*/ 571706 w 1451038"/>
                <a:gd name="connsiteY243" fmla="*/ 994736 h 1117705"/>
                <a:gd name="connsiteX244" fmla="*/ 594055 w 1451038"/>
                <a:gd name="connsiteY244" fmla="*/ 1013477 h 1117705"/>
                <a:gd name="connsiteX245" fmla="*/ 595158 w 1451038"/>
                <a:gd name="connsiteY245" fmla="*/ 1013928 h 1117705"/>
                <a:gd name="connsiteX246" fmla="*/ 595558 w 1451038"/>
                <a:gd name="connsiteY246" fmla="*/ 1015030 h 1117705"/>
                <a:gd name="connsiteX247" fmla="*/ 594957 w 1451038"/>
                <a:gd name="connsiteY247" fmla="*/ 1053866 h 1117705"/>
                <a:gd name="connsiteX248" fmla="*/ 593103 w 1451038"/>
                <a:gd name="connsiteY248" fmla="*/ 1061833 h 1117705"/>
                <a:gd name="connsiteX249" fmla="*/ 626226 w 1451038"/>
                <a:gd name="connsiteY249" fmla="*/ 1080975 h 1117705"/>
                <a:gd name="connsiteX250" fmla="*/ 649978 w 1451038"/>
                <a:gd name="connsiteY250" fmla="*/ 1094154 h 1117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</a:cxnLst>
              <a:rect l="l" t="t" r="r" b="b"/>
              <a:pathLst>
                <a:path w="1451038" h="1117705">
                  <a:moveTo>
                    <a:pt x="650279" y="1094104"/>
                  </a:moveTo>
                  <a:cubicBezTo>
                    <a:pt x="656993" y="1101921"/>
                    <a:pt x="665161" y="1105329"/>
                    <a:pt x="675183" y="1104477"/>
                  </a:cubicBezTo>
                  <a:cubicBezTo>
                    <a:pt x="676036" y="1104427"/>
                    <a:pt x="676837" y="1104377"/>
                    <a:pt x="677689" y="1104377"/>
                  </a:cubicBezTo>
                  <a:cubicBezTo>
                    <a:pt x="685456" y="1104377"/>
                    <a:pt x="692321" y="1107433"/>
                    <a:pt x="698535" y="1113697"/>
                  </a:cubicBezTo>
                  <a:cubicBezTo>
                    <a:pt x="699687" y="1114850"/>
                    <a:pt x="701291" y="1115752"/>
                    <a:pt x="703195" y="1116804"/>
                  </a:cubicBezTo>
                  <a:cubicBezTo>
                    <a:pt x="703696" y="1117105"/>
                    <a:pt x="704247" y="1117405"/>
                    <a:pt x="704749" y="1117706"/>
                  </a:cubicBezTo>
                  <a:cubicBezTo>
                    <a:pt x="705901" y="1116704"/>
                    <a:pt x="707004" y="1115752"/>
                    <a:pt x="708156" y="1114800"/>
                  </a:cubicBezTo>
                  <a:cubicBezTo>
                    <a:pt x="711463" y="1111994"/>
                    <a:pt x="714620" y="1109338"/>
                    <a:pt x="717527" y="1106481"/>
                  </a:cubicBezTo>
                  <a:cubicBezTo>
                    <a:pt x="724492" y="1099666"/>
                    <a:pt x="731307" y="1092801"/>
                    <a:pt x="738172" y="1085936"/>
                  </a:cubicBezTo>
                  <a:cubicBezTo>
                    <a:pt x="744135" y="1079973"/>
                    <a:pt x="750048" y="1074010"/>
                    <a:pt x="756061" y="1068097"/>
                  </a:cubicBezTo>
                  <a:cubicBezTo>
                    <a:pt x="758567" y="1065642"/>
                    <a:pt x="760671" y="1063537"/>
                    <a:pt x="762525" y="1061633"/>
                  </a:cubicBezTo>
                  <a:cubicBezTo>
                    <a:pt x="775604" y="1048454"/>
                    <a:pt x="776206" y="1048203"/>
                    <a:pt x="794546" y="1048153"/>
                  </a:cubicBezTo>
                  <a:cubicBezTo>
                    <a:pt x="797001" y="1048153"/>
                    <a:pt x="799757" y="1048153"/>
                    <a:pt x="802914" y="1048153"/>
                  </a:cubicBezTo>
                  <a:lnTo>
                    <a:pt x="807624" y="1048153"/>
                  </a:lnTo>
                  <a:cubicBezTo>
                    <a:pt x="812385" y="1048003"/>
                    <a:pt x="817145" y="1047953"/>
                    <a:pt x="821906" y="1048003"/>
                  </a:cubicBezTo>
                  <a:cubicBezTo>
                    <a:pt x="828320" y="1048203"/>
                    <a:pt x="832429" y="1045848"/>
                    <a:pt x="835386" y="1040937"/>
                  </a:cubicBezTo>
                  <a:cubicBezTo>
                    <a:pt x="837139" y="1038081"/>
                    <a:pt x="838893" y="1035225"/>
                    <a:pt x="840647" y="1032368"/>
                  </a:cubicBezTo>
                  <a:cubicBezTo>
                    <a:pt x="850218" y="1016985"/>
                    <a:pt x="859288" y="1002503"/>
                    <a:pt x="862194" y="984613"/>
                  </a:cubicBezTo>
                  <a:cubicBezTo>
                    <a:pt x="863848" y="974591"/>
                    <a:pt x="867907" y="960460"/>
                    <a:pt x="884544" y="953245"/>
                  </a:cubicBezTo>
                  <a:cubicBezTo>
                    <a:pt x="891158" y="950388"/>
                    <a:pt x="892812" y="945377"/>
                    <a:pt x="890206" y="936608"/>
                  </a:cubicBezTo>
                  <a:cubicBezTo>
                    <a:pt x="889655" y="934804"/>
                    <a:pt x="889053" y="933050"/>
                    <a:pt x="888452" y="931246"/>
                  </a:cubicBezTo>
                  <a:cubicBezTo>
                    <a:pt x="887249" y="927839"/>
                    <a:pt x="886047" y="924281"/>
                    <a:pt x="885345" y="920623"/>
                  </a:cubicBezTo>
                  <a:cubicBezTo>
                    <a:pt x="884644" y="916714"/>
                    <a:pt x="886047" y="912856"/>
                    <a:pt x="889103" y="910350"/>
                  </a:cubicBezTo>
                  <a:cubicBezTo>
                    <a:pt x="892461" y="907594"/>
                    <a:pt x="897171" y="906893"/>
                    <a:pt x="901381" y="908596"/>
                  </a:cubicBezTo>
                  <a:lnTo>
                    <a:pt x="902282" y="908947"/>
                  </a:lnTo>
                  <a:cubicBezTo>
                    <a:pt x="903636" y="909448"/>
                    <a:pt x="905189" y="910000"/>
                    <a:pt x="906442" y="911152"/>
                  </a:cubicBezTo>
                  <a:cubicBezTo>
                    <a:pt x="913507" y="917767"/>
                    <a:pt x="922427" y="919871"/>
                    <a:pt x="931898" y="922076"/>
                  </a:cubicBezTo>
                  <a:lnTo>
                    <a:pt x="935505" y="922928"/>
                  </a:lnTo>
                  <a:cubicBezTo>
                    <a:pt x="939063" y="923780"/>
                    <a:pt x="942571" y="924732"/>
                    <a:pt x="946079" y="925684"/>
                  </a:cubicBezTo>
                  <a:cubicBezTo>
                    <a:pt x="951591" y="927137"/>
                    <a:pt x="957253" y="928691"/>
                    <a:pt x="962866" y="929843"/>
                  </a:cubicBezTo>
                  <a:cubicBezTo>
                    <a:pt x="975543" y="932399"/>
                    <a:pt x="991629" y="937009"/>
                    <a:pt x="1003705" y="950288"/>
                  </a:cubicBezTo>
                  <a:cubicBezTo>
                    <a:pt x="1003705" y="950238"/>
                    <a:pt x="1004457" y="950288"/>
                    <a:pt x="1004958" y="950388"/>
                  </a:cubicBezTo>
                  <a:cubicBezTo>
                    <a:pt x="1005309" y="950388"/>
                    <a:pt x="1005660" y="950488"/>
                    <a:pt x="1006010" y="950539"/>
                  </a:cubicBezTo>
                  <a:cubicBezTo>
                    <a:pt x="1026505" y="944225"/>
                    <a:pt x="1027057" y="944125"/>
                    <a:pt x="1043393" y="948634"/>
                  </a:cubicBezTo>
                  <a:lnTo>
                    <a:pt x="1044946" y="949035"/>
                  </a:lnTo>
                  <a:lnTo>
                    <a:pt x="1045948" y="953295"/>
                  </a:lnTo>
                  <a:cubicBezTo>
                    <a:pt x="1046399" y="955249"/>
                    <a:pt x="1046850" y="957304"/>
                    <a:pt x="1047401" y="959358"/>
                  </a:cubicBezTo>
                  <a:cubicBezTo>
                    <a:pt x="1052112" y="976897"/>
                    <a:pt x="1059177" y="982409"/>
                    <a:pt x="1076415" y="982158"/>
                  </a:cubicBezTo>
                  <a:cubicBezTo>
                    <a:pt x="1086237" y="982058"/>
                    <a:pt x="1096359" y="980605"/>
                    <a:pt x="1106080" y="979202"/>
                  </a:cubicBezTo>
                  <a:lnTo>
                    <a:pt x="1111141" y="978500"/>
                  </a:lnTo>
                  <a:cubicBezTo>
                    <a:pt x="1116203" y="977799"/>
                    <a:pt x="1121163" y="976696"/>
                    <a:pt x="1126425" y="975544"/>
                  </a:cubicBezTo>
                  <a:cubicBezTo>
                    <a:pt x="1128981" y="974992"/>
                    <a:pt x="1131536" y="974441"/>
                    <a:pt x="1134142" y="973890"/>
                  </a:cubicBezTo>
                  <a:lnTo>
                    <a:pt x="1136196" y="973489"/>
                  </a:lnTo>
                  <a:lnTo>
                    <a:pt x="1137098" y="975393"/>
                  </a:lnTo>
                  <a:cubicBezTo>
                    <a:pt x="1139454" y="980254"/>
                    <a:pt x="1140255" y="985315"/>
                    <a:pt x="1141057" y="990226"/>
                  </a:cubicBezTo>
                  <a:cubicBezTo>
                    <a:pt x="1142360" y="998043"/>
                    <a:pt x="1143462" y="1004808"/>
                    <a:pt x="1150177" y="1009218"/>
                  </a:cubicBezTo>
                  <a:cubicBezTo>
                    <a:pt x="1150528" y="1009318"/>
                    <a:pt x="1150829" y="1009418"/>
                    <a:pt x="1151179" y="1009568"/>
                  </a:cubicBezTo>
                  <a:cubicBezTo>
                    <a:pt x="1151881" y="1009819"/>
                    <a:pt x="1152683" y="1010120"/>
                    <a:pt x="1153134" y="1010069"/>
                  </a:cubicBezTo>
                  <a:cubicBezTo>
                    <a:pt x="1172827" y="1008466"/>
                    <a:pt x="1189213" y="1013327"/>
                    <a:pt x="1203294" y="1024802"/>
                  </a:cubicBezTo>
                  <a:cubicBezTo>
                    <a:pt x="1203494" y="1024952"/>
                    <a:pt x="1204446" y="1025052"/>
                    <a:pt x="1204998" y="1025153"/>
                  </a:cubicBezTo>
                  <a:cubicBezTo>
                    <a:pt x="1205348" y="1025203"/>
                    <a:pt x="1205699" y="1025253"/>
                    <a:pt x="1206050" y="1025353"/>
                  </a:cubicBezTo>
                  <a:cubicBezTo>
                    <a:pt x="1220381" y="1021695"/>
                    <a:pt x="1233761" y="1015381"/>
                    <a:pt x="1246940" y="1006161"/>
                  </a:cubicBezTo>
                  <a:cubicBezTo>
                    <a:pt x="1254156" y="1001100"/>
                    <a:pt x="1263927" y="994986"/>
                    <a:pt x="1275803" y="992882"/>
                  </a:cubicBezTo>
                  <a:lnTo>
                    <a:pt x="1276805" y="992681"/>
                  </a:lnTo>
                  <a:lnTo>
                    <a:pt x="1286477" y="998644"/>
                  </a:lnTo>
                  <a:cubicBezTo>
                    <a:pt x="1295045" y="1003906"/>
                    <a:pt x="1303514" y="1009117"/>
                    <a:pt x="1312083" y="1014229"/>
                  </a:cubicBezTo>
                  <a:cubicBezTo>
                    <a:pt x="1318647" y="1018137"/>
                    <a:pt x="1325212" y="1019139"/>
                    <a:pt x="1332728" y="1017285"/>
                  </a:cubicBezTo>
                  <a:cubicBezTo>
                    <a:pt x="1344003" y="1014479"/>
                    <a:pt x="1355579" y="1012024"/>
                    <a:pt x="1366753" y="1009668"/>
                  </a:cubicBezTo>
                  <a:cubicBezTo>
                    <a:pt x="1373117" y="1008316"/>
                    <a:pt x="1379531" y="1006963"/>
                    <a:pt x="1385895" y="1005559"/>
                  </a:cubicBezTo>
                  <a:cubicBezTo>
                    <a:pt x="1405789" y="1001100"/>
                    <a:pt x="1434752" y="983611"/>
                    <a:pt x="1451038" y="966273"/>
                  </a:cubicBezTo>
                  <a:cubicBezTo>
                    <a:pt x="1450337" y="961062"/>
                    <a:pt x="1447530" y="957103"/>
                    <a:pt x="1442770" y="954498"/>
                  </a:cubicBezTo>
                  <a:lnTo>
                    <a:pt x="1439964" y="952944"/>
                  </a:lnTo>
                  <a:cubicBezTo>
                    <a:pt x="1434853" y="950088"/>
                    <a:pt x="1429541" y="947131"/>
                    <a:pt x="1424129" y="944926"/>
                  </a:cubicBezTo>
                  <a:cubicBezTo>
                    <a:pt x="1413907" y="940767"/>
                    <a:pt x="1408194" y="933050"/>
                    <a:pt x="1406691" y="921224"/>
                  </a:cubicBezTo>
                  <a:lnTo>
                    <a:pt x="1405889" y="915011"/>
                  </a:lnTo>
                  <a:cubicBezTo>
                    <a:pt x="1404386" y="903235"/>
                    <a:pt x="1402832" y="891058"/>
                    <a:pt x="1400577" y="879282"/>
                  </a:cubicBezTo>
                  <a:cubicBezTo>
                    <a:pt x="1396819" y="860040"/>
                    <a:pt x="1387849" y="842251"/>
                    <a:pt x="1373919" y="826416"/>
                  </a:cubicBezTo>
                  <a:cubicBezTo>
                    <a:pt x="1368808" y="820603"/>
                    <a:pt x="1362945" y="817897"/>
                    <a:pt x="1355629" y="817897"/>
                  </a:cubicBezTo>
                  <a:cubicBezTo>
                    <a:pt x="1355478" y="817897"/>
                    <a:pt x="1355378" y="817897"/>
                    <a:pt x="1355228" y="817897"/>
                  </a:cubicBezTo>
                  <a:cubicBezTo>
                    <a:pt x="1349064" y="817997"/>
                    <a:pt x="1342801" y="817697"/>
                    <a:pt x="1336787" y="817446"/>
                  </a:cubicBezTo>
                  <a:cubicBezTo>
                    <a:pt x="1334332" y="817346"/>
                    <a:pt x="1331926" y="817246"/>
                    <a:pt x="1329521" y="817146"/>
                  </a:cubicBezTo>
                  <a:lnTo>
                    <a:pt x="1328269" y="817146"/>
                  </a:lnTo>
                  <a:cubicBezTo>
                    <a:pt x="1328269" y="817146"/>
                    <a:pt x="1327517" y="816093"/>
                    <a:pt x="1327517" y="816093"/>
                  </a:cubicBezTo>
                  <a:cubicBezTo>
                    <a:pt x="1326214" y="814390"/>
                    <a:pt x="1324961" y="812786"/>
                    <a:pt x="1323758" y="811283"/>
                  </a:cubicBezTo>
                  <a:cubicBezTo>
                    <a:pt x="1321303" y="808126"/>
                    <a:pt x="1318948" y="805169"/>
                    <a:pt x="1316793" y="802062"/>
                  </a:cubicBezTo>
                  <a:lnTo>
                    <a:pt x="1313987" y="798003"/>
                  </a:lnTo>
                  <a:cubicBezTo>
                    <a:pt x="1309126" y="790988"/>
                    <a:pt x="1304115" y="783772"/>
                    <a:pt x="1299706" y="776256"/>
                  </a:cubicBezTo>
                  <a:cubicBezTo>
                    <a:pt x="1292690" y="764380"/>
                    <a:pt x="1284873" y="759920"/>
                    <a:pt x="1273648" y="761373"/>
                  </a:cubicBezTo>
                  <a:cubicBezTo>
                    <a:pt x="1269339" y="761924"/>
                    <a:pt x="1264929" y="761574"/>
                    <a:pt x="1261171" y="761072"/>
                  </a:cubicBezTo>
                  <a:lnTo>
                    <a:pt x="1260269" y="760972"/>
                  </a:lnTo>
                  <a:cubicBezTo>
                    <a:pt x="1256962" y="760622"/>
                    <a:pt x="1253204" y="760170"/>
                    <a:pt x="1250748" y="757915"/>
                  </a:cubicBezTo>
                  <a:cubicBezTo>
                    <a:pt x="1248343" y="755660"/>
                    <a:pt x="1245837" y="753556"/>
                    <a:pt x="1243282" y="751401"/>
                  </a:cubicBezTo>
                  <a:cubicBezTo>
                    <a:pt x="1233109" y="742832"/>
                    <a:pt x="1222586" y="733963"/>
                    <a:pt x="1219930" y="718429"/>
                  </a:cubicBezTo>
                  <a:cubicBezTo>
                    <a:pt x="1219580" y="716374"/>
                    <a:pt x="1217776" y="714219"/>
                    <a:pt x="1215972" y="712115"/>
                  </a:cubicBezTo>
                  <a:cubicBezTo>
                    <a:pt x="1215571" y="711614"/>
                    <a:pt x="1215170" y="711163"/>
                    <a:pt x="1214769" y="710662"/>
                  </a:cubicBezTo>
                  <a:cubicBezTo>
                    <a:pt x="1208205" y="713167"/>
                    <a:pt x="1201791" y="715673"/>
                    <a:pt x="1195427" y="718128"/>
                  </a:cubicBezTo>
                  <a:cubicBezTo>
                    <a:pt x="1179542" y="724342"/>
                    <a:pt x="1164509" y="730154"/>
                    <a:pt x="1149025" y="735416"/>
                  </a:cubicBezTo>
                  <a:cubicBezTo>
                    <a:pt x="1145417" y="736619"/>
                    <a:pt x="1142510" y="737721"/>
                    <a:pt x="1140005" y="738673"/>
                  </a:cubicBezTo>
                  <a:cubicBezTo>
                    <a:pt x="1125924" y="743985"/>
                    <a:pt x="1123970" y="744135"/>
                    <a:pt x="1102422" y="732660"/>
                  </a:cubicBezTo>
                  <a:cubicBezTo>
                    <a:pt x="1090697" y="726396"/>
                    <a:pt x="1078520" y="723640"/>
                    <a:pt x="1065190" y="724141"/>
                  </a:cubicBezTo>
                  <a:cubicBezTo>
                    <a:pt x="1058826" y="724442"/>
                    <a:pt x="1052412" y="724342"/>
                    <a:pt x="1046149" y="724242"/>
                  </a:cubicBezTo>
                  <a:cubicBezTo>
                    <a:pt x="1041438" y="724191"/>
                    <a:pt x="1036728" y="724091"/>
                    <a:pt x="1031967" y="724191"/>
                  </a:cubicBezTo>
                  <a:cubicBezTo>
                    <a:pt x="1023649" y="724442"/>
                    <a:pt x="1016283" y="721235"/>
                    <a:pt x="1009117" y="714370"/>
                  </a:cubicBezTo>
                  <a:cubicBezTo>
                    <a:pt x="1002553" y="708056"/>
                    <a:pt x="994836" y="699136"/>
                    <a:pt x="993583" y="686508"/>
                  </a:cubicBezTo>
                  <a:cubicBezTo>
                    <a:pt x="992080" y="672127"/>
                    <a:pt x="984613" y="662305"/>
                    <a:pt x="969430" y="654639"/>
                  </a:cubicBezTo>
                  <a:cubicBezTo>
                    <a:pt x="959659" y="649728"/>
                    <a:pt x="948434" y="643564"/>
                    <a:pt x="938913" y="635446"/>
                  </a:cubicBezTo>
                  <a:cubicBezTo>
                    <a:pt x="917566" y="617206"/>
                    <a:pt x="895217" y="606984"/>
                    <a:pt x="870663" y="604278"/>
                  </a:cubicBezTo>
                  <a:cubicBezTo>
                    <a:pt x="856031" y="602674"/>
                    <a:pt x="842852" y="595509"/>
                    <a:pt x="830274" y="582530"/>
                  </a:cubicBezTo>
                  <a:cubicBezTo>
                    <a:pt x="815742" y="567447"/>
                    <a:pt x="805720" y="552464"/>
                    <a:pt x="799607" y="536880"/>
                  </a:cubicBezTo>
                  <a:cubicBezTo>
                    <a:pt x="797352" y="531117"/>
                    <a:pt x="793944" y="528712"/>
                    <a:pt x="787831" y="528562"/>
                  </a:cubicBezTo>
                  <a:cubicBezTo>
                    <a:pt x="783722" y="528461"/>
                    <a:pt x="779563" y="528411"/>
                    <a:pt x="775454" y="528411"/>
                  </a:cubicBezTo>
                  <a:cubicBezTo>
                    <a:pt x="770894" y="528411"/>
                    <a:pt x="766334" y="528411"/>
                    <a:pt x="761824" y="528211"/>
                  </a:cubicBezTo>
                  <a:cubicBezTo>
                    <a:pt x="740577" y="527509"/>
                    <a:pt x="720183" y="523500"/>
                    <a:pt x="701241" y="516285"/>
                  </a:cubicBezTo>
                  <a:lnTo>
                    <a:pt x="699988" y="515833"/>
                  </a:lnTo>
                  <a:lnTo>
                    <a:pt x="699637" y="514531"/>
                  </a:lnTo>
                  <a:cubicBezTo>
                    <a:pt x="696330" y="503156"/>
                    <a:pt x="696581" y="491680"/>
                    <a:pt x="696781" y="480556"/>
                  </a:cubicBezTo>
                  <a:cubicBezTo>
                    <a:pt x="696982" y="470634"/>
                    <a:pt x="697182" y="460412"/>
                    <a:pt x="694827" y="450289"/>
                  </a:cubicBezTo>
                  <a:cubicBezTo>
                    <a:pt x="675885" y="442072"/>
                    <a:pt x="672928" y="424032"/>
                    <a:pt x="670022" y="406593"/>
                  </a:cubicBezTo>
                  <a:lnTo>
                    <a:pt x="669722" y="404639"/>
                  </a:lnTo>
                  <a:cubicBezTo>
                    <a:pt x="666364" y="384294"/>
                    <a:pt x="674482" y="367107"/>
                    <a:pt x="683301" y="352875"/>
                  </a:cubicBezTo>
                  <a:cubicBezTo>
                    <a:pt x="682550" y="351923"/>
                    <a:pt x="681898" y="350971"/>
                    <a:pt x="681197" y="350069"/>
                  </a:cubicBezTo>
                  <a:cubicBezTo>
                    <a:pt x="679393" y="347564"/>
                    <a:pt x="677689" y="345158"/>
                    <a:pt x="675985" y="344607"/>
                  </a:cubicBezTo>
                  <a:cubicBezTo>
                    <a:pt x="664460" y="340849"/>
                    <a:pt x="656392" y="332781"/>
                    <a:pt x="648525" y="324914"/>
                  </a:cubicBezTo>
                  <a:lnTo>
                    <a:pt x="646370" y="322759"/>
                  </a:lnTo>
                  <a:cubicBezTo>
                    <a:pt x="644767" y="323461"/>
                    <a:pt x="643163" y="324212"/>
                    <a:pt x="641610" y="324964"/>
                  </a:cubicBezTo>
                  <a:cubicBezTo>
                    <a:pt x="636849" y="327169"/>
                    <a:pt x="632390" y="329274"/>
                    <a:pt x="627479" y="330226"/>
                  </a:cubicBezTo>
                  <a:cubicBezTo>
                    <a:pt x="621816" y="331328"/>
                    <a:pt x="616003" y="331228"/>
                    <a:pt x="610341" y="331128"/>
                  </a:cubicBezTo>
                  <a:cubicBezTo>
                    <a:pt x="608036" y="331128"/>
                    <a:pt x="605731" y="331078"/>
                    <a:pt x="603476" y="331128"/>
                  </a:cubicBezTo>
                  <a:cubicBezTo>
                    <a:pt x="601071" y="331178"/>
                    <a:pt x="598666" y="331228"/>
                    <a:pt x="596210" y="331128"/>
                  </a:cubicBezTo>
                  <a:cubicBezTo>
                    <a:pt x="585436" y="330827"/>
                    <a:pt x="573961" y="331278"/>
                    <a:pt x="563188" y="337241"/>
                  </a:cubicBezTo>
                  <a:cubicBezTo>
                    <a:pt x="561033" y="338444"/>
                    <a:pt x="558627" y="338694"/>
                    <a:pt x="556072" y="338945"/>
                  </a:cubicBezTo>
                  <a:cubicBezTo>
                    <a:pt x="554919" y="339045"/>
                    <a:pt x="553717" y="339195"/>
                    <a:pt x="552464" y="339446"/>
                  </a:cubicBezTo>
                  <a:lnTo>
                    <a:pt x="551111" y="339696"/>
                  </a:lnTo>
                  <a:lnTo>
                    <a:pt x="547052" y="335888"/>
                  </a:lnTo>
                  <a:cubicBezTo>
                    <a:pt x="529363" y="319452"/>
                    <a:pt x="511123" y="302415"/>
                    <a:pt x="502253" y="278161"/>
                  </a:cubicBezTo>
                  <a:lnTo>
                    <a:pt x="501552" y="276257"/>
                  </a:lnTo>
                  <a:lnTo>
                    <a:pt x="521145" y="261525"/>
                  </a:lnTo>
                  <a:cubicBezTo>
                    <a:pt x="519341" y="260021"/>
                    <a:pt x="517587" y="258568"/>
                    <a:pt x="515884" y="257065"/>
                  </a:cubicBezTo>
                  <a:cubicBezTo>
                    <a:pt x="505160" y="247995"/>
                    <a:pt x="495038" y="239426"/>
                    <a:pt x="483562" y="233212"/>
                  </a:cubicBezTo>
                  <a:cubicBezTo>
                    <a:pt x="474793" y="228452"/>
                    <a:pt x="465473" y="224644"/>
                    <a:pt x="455802" y="221838"/>
                  </a:cubicBezTo>
                  <a:cubicBezTo>
                    <a:pt x="452594" y="220885"/>
                    <a:pt x="448385" y="221687"/>
                    <a:pt x="444376" y="222439"/>
                  </a:cubicBezTo>
                  <a:cubicBezTo>
                    <a:pt x="443274" y="222639"/>
                    <a:pt x="442171" y="222840"/>
                    <a:pt x="441119" y="223040"/>
                  </a:cubicBezTo>
                  <a:cubicBezTo>
                    <a:pt x="438814" y="223441"/>
                    <a:pt x="436559" y="224293"/>
                    <a:pt x="434354" y="225095"/>
                  </a:cubicBezTo>
                  <a:cubicBezTo>
                    <a:pt x="433402" y="225445"/>
                    <a:pt x="432500" y="225796"/>
                    <a:pt x="431648" y="226047"/>
                  </a:cubicBezTo>
                  <a:lnTo>
                    <a:pt x="430295" y="226498"/>
                  </a:lnTo>
                  <a:lnTo>
                    <a:pt x="429193" y="225646"/>
                  </a:lnTo>
                  <a:cubicBezTo>
                    <a:pt x="428191" y="224894"/>
                    <a:pt x="427189" y="224243"/>
                    <a:pt x="426337" y="223692"/>
                  </a:cubicBezTo>
                  <a:cubicBezTo>
                    <a:pt x="424433" y="222439"/>
                    <a:pt x="422779" y="221336"/>
                    <a:pt x="421727" y="219583"/>
                  </a:cubicBezTo>
                  <a:cubicBezTo>
                    <a:pt x="416214" y="210563"/>
                    <a:pt x="409199" y="208809"/>
                    <a:pt x="398926" y="213870"/>
                  </a:cubicBezTo>
                  <a:cubicBezTo>
                    <a:pt x="396321" y="215123"/>
                    <a:pt x="393615" y="216025"/>
                    <a:pt x="390959" y="216827"/>
                  </a:cubicBezTo>
                  <a:cubicBezTo>
                    <a:pt x="389806" y="217177"/>
                    <a:pt x="388704" y="217528"/>
                    <a:pt x="387552" y="217929"/>
                  </a:cubicBezTo>
                  <a:lnTo>
                    <a:pt x="386449" y="218330"/>
                  </a:lnTo>
                  <a:lnTo>
                    <a:pt x="385447" y="217829"/>
                  </a:lnTo>
                  <a:cubicBezTo>
                    <a:pt x="383994" y="217077"/>
                    <a:pt x="382591" y="216325"/>
                    <a:pt x="381238" y="215524"/>
                  </a:cubicBezTo>
                  <a:cubicBezTo>
                    <a:pt x="378432" y="213920"/>
                    <a:pt x="375725" y="212417"/>
                    <a:pt x="373020" y="211665"/>
                  </a:cubicBezTo>
                  <a:cubicBezTo>
                    <a:pt x="370264" y="210863"/>
                    <a:pt x="367207" y="210763"/>
                    <a:pt x="364000" y="210613"/>
                  </a:cubicBezTo>
                  <a:cubicBezTo>
                    <a:pt x="362497" y="210563"/>
                    <a:pt x="360943" y="210513"/>
                    <a:pt x="359490" y="210362"/>
                  </a:cubicBezTo>
                  <a:cubicBezTo>
                    <a:pt x="343004" y="208909"/>
                    <a:pt x="333383" y="197634"/>
                    <a:pt x="334385" y="180848"/>
                  </a:cubicBezTo>
                  <a:cubicBezTo>
                    <a:pt x="334585" y="177791"/>
                    <a:pt x="335086" y="174684"/>
                    <a:pt x="335588" y="171427"/>
                  </a:cubicBezTo>
                  <a:cubicBezTo>
                    <a:pt x="335738" y="170575"/>
                    <a:pt x="335838" y="169723"/>
                    <a:pt x="335988" y="168821"/>
                  </a:cubicBezTo>
                  <a:cubicBezTo>
                    <a:pt x="316395" y="164211"/>
                    <a:pt x="306523" y="153487"/>
                    <a:pt x="306674" y="136901"/>
                  </a:cubicBezTo>
                  <a:cubicBezTo>
                    <a:pt x="306824" y="121667"/>
                    <a:pt x="316646" y="111946"/>
                    <a:pt x="333733" y="109992"/>
                  </a:cubicBezTo>
                  <a:cubicBezTo>
                    <a:pt x="334535" y="107286"/>
                    <a:pt x="335287" y="104630"/>
                    <a:pt x="335988" y="102024"/>
                  </a:cubicBezTo>
                  <a:cubicBezTo>
                    <a:pt x="337993" y="94859"/>
                    <a:pt x="339897" y="88094"/>
                    <a:pt x="342352" y="81429"/>
                  </a:cubicBezTo>
                  <a:cubicBezTo>
                    <a:pt x="344056" y="76819"/>
                    <a:pt x="347363" y="73411"/>
                    <a:pt x="350520" y="70104"/>
                  </a:cubicBezTo>
                  <a:cubicBezTo>
                    <a:pt x="354278" y="66196"/>
                    <a:pt x="357836" y="62487"/>
                    <a:pt x="358989" y="56975"/>
                  </a:cubicBezTo>
                  <a:cubicBezTo>
                    <a:pt x="352725" y="48507"/>
                    <a:pt x="349869" y="37984"/>
                    <a:pt x="350470" y="25807"/>
                  </a:cubicBezTo>
                  <a:cubicBezTo>
                    <a:pt x="351021" y="14732"/>
                    <a:pt x="348666" y="6715"/>
                    <a:pt x="342853" y="0"/>
                  </a:cubicBezTo>
                  <a:lnTo>
                    <a:pt x="337041" y="2005"/>
                  </a:lnTo>
                  <a:cubicBezTo>
                    <a:pt x="329875" y="4460"/>
                    <a:pt x="322809" y="6915"/>
                    <a:pt x="315744" y="9521"/>
                  </a:cubicBezTo>
                  <a:cubicBezTo>
                    <a:pt x="311685" y="11024"/>
                    <a:pt x="309330" y="13680"/>
                    <a:pt x="308478" y="17639"/>
                  </a:cubicBezTo>
                  <a:cubicBezTo>
                    <a:pt x="307927" y="20245"/>
                    <a:pt x="307125" y="22750"/>
                    <a:pt x="306223" y="25406"/>
                  </a:cubicBezTo>
                  <a:cubicBezTo>
                    <a:pt x="305822" y="26659"/>
                    <a:pt x="305371" y="28012"/>
                    <a:pt x="304920" y="29465"/>
                  </a:cubicBezTo>
                  <a:lnTo>
                    <a:pt x="304269" y="31619"/>
                  </a:lnTo>
                  <a:lnTo>
                    <a:pt x="302014" y="31369"/>
                  </a:lnTo>
                  <a:cubicBezTo>
                    <a:pt x="289436" y="29866"/>
                    <a:pt x="279264" y="35027"/>
                    <a:pt x="268440" y="40539"/>
                  </a:cubicBezTo>
                  <a:cubicBezTo>
                    <a:pt x="260873" y="44347"/>
                    <a:pt x="253056" y="48356"/>
                    <a:pt x="244287" y="49860"/>
                  </a:cubicBezTo>
                  <a:lnTo>
                    <a:pt x="242433" y="50210"/>
                  </a:lnTo>
                  <a:lnTo>
                    <a:pt x="227400" y="24504"/>
                  </a:lnTo>
                  <a:cubicBezTo>
                    <a:pt x="226999" y="24354"/>
                    <a:pt x="226648" y="24253"/>
                    <a:pt x="226297" y="24103"/>
                  </a:cubicBezTo>
                  <a:cubicBezTo>
                    <a:pt x="225696" y="23903"/>
                    <a:pt x="224894" y="23552"/>
                    <a:pt x="224594" y="23552"/>
                  </a:cubicBezTo>
                  <a:cubicBezTo>
                    <a:pt x="224594" y="23552"/>
                    <a:pt x="224594" y="23552"/>
                    <a:pt x="224594" y="23552"/>
                  </a:cubicBezTo>
                  <a:cubicBezTo>
                    <a:pt x="204650" y="27110"/>
                    <a:pt x="185658" y="36380"/>
                    <a:pt x="163058" y="53518"/>
                  </a:cubicBezTo>
                  <a:cubicBezTo>
                    <a:pt x="159400" y="56274"/>
                    <a:pt x="157596" y="63941"/>
                    <a:pt x="156995" y="66446"/>
                  </a:cubicBezTo>
                  <a:cubicBezTo>
                    <a:pt x="154540" y="76669"/>
                    <a:pt x="152836" y="86741"/>
                    <a:pt x="151884" y="96362"/>
                  </a:cubicBezTo>
                  <a:cubicBezTo>
                    <a:pt x="150831" y="107336"/>
                    <a:pt x="146322" y="116356"/>
                    <a:pt x="137653" y="124724"/>
                  </a:cubicBezTo>
                  <a:cubicBezTo>
                    <a:pt x="122118" y="139807"/>
                    <a:pt x="105682" y="156293"/>
                    <a:pt x="85839" y="176538"/>
                  </a:cubicBezTo>
                  <a:lnTo>
                    <a:pt x="84636" y="177791"/>
                  </a:lnTo>
                  <a:cubicBezTo>
                    <a:pt x="79625" y="182852"/>
                    <a:pt x="74464" y="188113"/>
                    <a:pt x="71207" y="194026"/>
                  </a:cubicBezTo>
                  <a:cubicBezTo>
                    <a:pt x="56324" y="221336"/>
                    <a:pt x="46352" y="244036"/>
                    <a:pt x="39838" y="265383"/>
                  </a:cubicBezTo>
                  <a:lnTo>
                    <a:pt x="45700" y="277911"/>
                  </a:lnTo>
                  <a:lnTo>
                    <a:pt x="45550" y="278763"/>
                  </a:lnTo>
                  <a:cubicBezTo>
                    <a:pt x="42443" y="294597"/>
                    <a:pt x="32872" y="303667"/>
                    <a:pt x="17088" y="305772"/>
                  </a:cubicBezTo>
                  <a:cubicBezTo>
                    <a:pt x="11425" y="319552"/>
                    <a:pt x="6063" y="332581"/>
                    <a:pt x="0" y="347313"/>
                  </a:cubicBezTo>
                  <a:lnTo>
                    <a:pt x="702" y="348616"/>
                  </a:lnTo>
                  <a:cubicBezTo>
                    <a:pt x="5713" y="357686"/>
                    <a:pt x="10473" y="366255"/>
                    <a:pt x="9170" y="377079"/>
                  </a:cubicBezTo>
                  <a:cubicBezTo>
                    <a:pt x="8368" y="383743"/>
                    <a:pt x="11325" y="388704"/>
                    <a:pt x="19092" y="393615"/>
                  </a:cubicBezTo>
                  <a:cubicBezTo>
                    <a:pt x="23001" y="396120"/>
                    <a:pt x="26809" y="398726"/>
                    <a:pt x="30617" y="401332"/>
                  </a:cubicBezTo>
                  <a:cubicBezTo>
                    <a:pt x="35829" y="404890"/>
                    <a:pt x="41191" y="408548"/>
                    <a:pt x="46652" y="411805"/>
                  </a:cubicBezTo>
                  <a:cubicBezTo>
                    <a:pt x="58228" y="418720"/>
                    <a:pt x="66145" y="428040"/>
                    <a:pt x="71607" y="441170"/>
                  </a:cubicBezTo>
                  <a:cubicBezTo>
                    <a:pt x="73361" y="445429"/>
                    <a:pt x="75115" y="449688"/>
                    <a:pt x="76869" y="453897"/>
                  </a:cubicBezTo>
                  <a:cubicBezTo>
                    <a:pt x="87442" y="479704"/>
                    <a:pt x="98416" y="506363"/>
                    <a:pt x="115253" y="529413"/>
                  </a:cubicBezTo>
                  <a:cubicBezTo>
                    <a:pt x="120415" y="536529"/>
                    <a:pt x="120515" y="544697"/>
                    <a:pt x="115554" y="552464"/>
                  </a:cubicBezTo>
                  <a:cubicBezTo>
                    <a:pt x="106484" y="566545"/>
                    <a:pt x="101924" y="582780"/>
                    <a:pt x="97464" y="598465"/>
                  </a:cubicBezTo>
                  <a:cubicBezTo>
                    <a:pt x="94357" y="609489"/>
                    <a:pt x="91100" y="620915"/>
                    <a:pt x="86340" y="631688"/>
                  </a:cubicBezTo>
                  <a:cubicBezTo>
                    <a:pt x="83934" y="637100"/>
                    <a:pt x="84435" y="644316"/>
                    <a:pt x="84887" y="651281"/>
                  </a:cubicBezTo>
                  <a:lnTo>
                    <a:pt x="85037" y="653686"/>
                  </a:lnTo>
                  <a:cubicBezTo>
                    <a:pt x="85237" y="657294"/>
                    <a:pt x="87793" y="659098"/>
                    <a:pt x="91902" y="661754"/>
                  </a:cubicBezTo>
                  <a:cubicBezTo>
                    <a:pt x="93455" y="662756"/>
                    <a:pt x="95109" y="663809"/>
                    <a:pt x="96562" y="665061"/>
                  </a:cubicBezTo>
                  <a:cubicBezTo>
                    <a:pt x="97965" y="666264"/>
                    <a:pt x="98967" y="667617"/>
                    <a:pt x="100170" y="669271"/>
                  </a:cubicBezTo>
                  <a:cubicBezTo>
                    <a:pt x="100721" y="670022"/>
                    <a:pt x="101323" y="670824"/>
                    <a:pt x="101974" y="671676"/>
                  </a:cubicBezTo>
                  <a:lnTo>
                    <a:pt x="102525" y="672327"/>
                  </a:lnTo>
                  <a:lnTo>
                    <a:pt x="102525" y="673179"/>
                  </a:lnTo>
                  <a:cubicBezTo>
                    <a:pt x="103577" y="690267"/>
                    <a:pt x="99018" y="706803"/>
                    <a:pt x="94558" y="722838"/>
                  </a:cubicBezTo>
                  <a:cubicBezTo>
                    <a:pt x="91050" y="735566"/>
                    <a:pt x="87392" y="748745"/>
                    <a:pt x="86490" y="762275"/>
                  </a:cubicBezTo>
                  <a:lnTo>
                    <a:pt x="94157" y="767536"/>
                  </a:lnTo>
                  <a:cubicBezTo>
                    <a:pt x="100321" y="771796"/>
                    <a:pt x="106434" y="776005"/>
                    <a:pt x="112547" y="780164"/>
                  </a:cubicBezTo>
                  <a:cubicBezTo>
                    <a:pt x="116105" y="782569"/>
                    <a:pt x="119162" y="784624"/>
                    <a:pt x="121818" y="786378"/>
                  </a:cubicBezTo>
                  <a:cubicBezTo>
                    <a:pt x="139857" y="798354"/>
                    <a:pt x="140409" y="799306"/>
                    <a:pt x="140308" y="820854"/>
                  </a:cubicBezTo>
                  <a:cubicBezTo>
                    <a:pt x="140308" y="823860"/>
                    <a:pt x="140308" y="827268"/>
                    <a:pt x="140308" y="831226"/>
                  </a:cubicBezTo>
                  <a:cubicBezTo>
                    <a:pt x="140509" y="853626"/>
                    <a:pt x="140559" y="873720"/>
                    <a:pt x="140409" y="892762"/>
                  </a:cubicBezTo>
                  <a:cubicBezTo>
                    <a:pt x="140308" y="901681"/>
                    <a:pt x="143916" y="907093"/>
                    <a:pt x="152034" y="910200"/>
                  </a:cubicBezTo>
                  <a:cubicBezTo>
                    <a:pt x="166867" y="915913"/>
                    <a:pt x="179695" y="918919"/>
                    <a:pt x="193726" y="915011"/>
                  </a:cubicBezTo>
                  <a:cubicBezTo>
                    <a:pt x="194126" y="914560"/>
                    <a:pt x="194527" y="914059"/>
                    <a:pt x="194928" y="913607"/>
                  </a:cubicBezTo>
                  <a:cubicBezTo>
                    <a:pt x="196181" y="912104"/>
                    <a:pt x="197534" y="910601"/>
                    <a:pt x="198386" y="908947"/>
                  </a:cubicBezTo>
                  <a:cubicBezTo>
                    <a:pt x="204199" y="897773"/>
                    <a:pt x="214822" y="893513"/>
                    <a:pt x="224293" y="890306"/>
                  </a:cubicBezTo>
                  <a:cubicBezTo>
                    <a:pt x="228051" y="889053"/>
                    <a:pt x="235016" y="888653"/>
                    <a:pt x="238173" y="891709"/>
                  </a:cubicBezTo>
                  <a:cubicBezTo>
                    <a:pt x="244688" y="898224"/>
                    <a:pt x="252505" y="898073"/>
                    <a:pt x="260823" y="897873"/>
                  </a:cubicBezTo>
                  <a:cubicBezTo>
                    <a:pt x="263128" y="897873"/>
                    <a:pt x="265383" y="897773"/>
                    <a:pt x="267638" y="897873"/>
                  </a:cubicBezTo>
                  <a:cubicBezTo>
                    <a:pt x="270244" y="897973"/>
                    <a:pt x="272850" y="897973"/>
                    <a:pt x="275505" y="897923"/>
                  </a:cubicBezTo>
                  <a:cubicBezTo>
                    <a:pt x="284826" y="897823"/>
                    <a:pt x="294547" y="897773"/>
                    <a:pt x="303567" y="903135"/>
                  </a:cubicBezTo>
                  <a:cubicBezTo>
                    <a:pt x="312086" y="908196"/>
                    <a:pt x="319051" y="907093"/>
                    <a:pt x="325465" y="899727"/>
                  </a:cubicBezTo>
                  <a:cubicBezTo>
                    <a:pt x="332330" y="891810"/>
                    <a:pt x="340348" y="887250"/>
                    <a:pt x="349318" y="886297"/>
                  </a:cubicBezTo>
                  <a:cubicBezTo>
                    <a:pt x="366054" y="884443"/>
                    <a:pt x="377980" y="875975"/>
                    <a:pt x="385747" y="860441"/>
                  </a:cubicBezTo>
                  <a:cubicBezTo>
                    <a:pt x="386399" y="859188"/>
                    <a:pt x="387201" y="858136"/>
                    <a:pt x="387952" y="857234"/>
                  </a:cubicBezTo>
                  <a:lnTo>
                    <a:pt x="388754" y="856231"/>
                  </a:lnTo>
                  <a:cubicBezTo>
                    <a:pt x="399227" y="841950"/>
                    <a:pt x="412206" y="838192"/>
                    <a:pt x="427289" y="845257"/>
                  </a:cubicBezTo>
                  <a:lnTo>
                    <a:pt x="428040" y="845608"/>
                  </a:lnTo>
                  <a:lnTo>
                    <a:pt x="441570" y="868809"/>
                  </a:lnTo>
                  <a:cubicBezTo>
                    <a:pt x="442773" y="868909"/>
                    <a:pt x="443975" y="869060"/>
                    <a:pt x="445078" y="869160"/>
                  </a:cubicBezTo>
                  <a:cubicBezTo>
                    <a:pt x="447934" y="869461"/>
                    <a:pt x="450390" y="869711"/>
                    <a:pt x="452795" y="869711"/>
                  </a:cubicBezTo>
                  <a:cubicBezTo>
                    <a:pt x="480005" y="869761"/>
                    <a:pt x="499698" y="877228"/>
                    <a:pt x="514781" y="893113"/>
                  </a:cubicBezTo>
                  <a:cubicBezTo>
                    <a:pt x="516034" y="894415"/>
                    <a:pt x="517988" y="895317"/>
                    <a:pt x="520043" y="896269"/>
                  </a:cubicBezTo>
                  <a:cubicBezTo>
                    <a:pt x="521496" y="896971"/>
                    <a:pt x="522949" y="897622"/>
                    <a:pt x="524302" y="898474"/>
                  </a:cubicBezTo>
                  <a:cubicBezTo>
                    <a:pt x="525054" y="898925"/>
                    <a:pt x="525805" y="899376"/>
                    <a:pt x="526557" y="899827"/>
                  </a:cubicBezTo>
                  <a:cubicBezTo>
                    <a:pt x="529413" y="901481"/>
                    <a:pt x="532370" y="903185"/>
                    <a:pt x="534324" y="905941"/>
                  </a:cubicBezTo>
                  <a:lnTo>
                    <a:pt x="536930" y="909549"/>
                  </a:lnTo>
                  <a:cubicBezTo>
                    <a:pt x="544446" y="919871"/>
                    <a:pt x="552264" y="930545"/>
                    <a:pt x="554468" y="944375"/>
                  </a:cubicBezTo>
                  <a:cubicBezTo>
                    <a:pt x="556573" y="957254"/>
                    <a:pt x="561233" y="964419"/>
                    <a:pt x="570203" y="968428"/>
                  </a:cubicBezTo>
                  <a:cubicBezTo>
                    <a:pt x="572608" y="969480"/>
                    <a:pt x="574111" y="971735"/>
                    <a:pt x="575615" y="973840"/>
                  </a:cubicBezTo>
                  <a:cubicBezTo>
                    <a:pt x="576166" y="974692"/>
                    <a:pt x="576767" y="975544"/>
                    <a:pt x="577419" y="976295"/>
                  </a:cubicBezTo>
                  <a:lnTo>
                    <a:pt x="578471" y="977498"/>
                  </a:lnTo>
                  <a:lnTo>
                    <a:pt x="577870" y="979001"/>
                  </a:lnTo>
                  <a:cubicBezTo>
                    <a:pt x="575665" y="984613"/>
                    <a:pt x="573611" y="989825"/>
                    <a:pt x="571706" y="994736"/>
                  </a:cubicBezTo>
                  <a:cubicBezTo>
                    <a:pt x="576617" y="1003305"/>
                    <a:pt x="583933" y="1009418"/>
                    <a:pt x="594055" y="1013477"/>
                  </a:cubicBezTo>
                  <a:lnTo>
                    <a:pt x="595158" y="1013928"/>
                  </a:lnTo>
                  <a:lnTo>
                    <a:pt x="595558" y="1015030"/>
                  </a:lnTo>
                  <a:cubicBezTo>
                    <a:pt x="601021" y="1029111"/>
                    <a:pt x="597964" y="1041689"/>
                    <a:pt x="594957" y="1053866"/>
                  </a:cubicBezTo>
                  <a:cubicBezTo>
                    <a:pt x="594306" y="1056572"/>
                    <a:pt x="593655" y="1059227"/>
                    <a:pt x="593103" y="1061833"/>
                  </a:cubicBezTo>
                  <a:cubicBezTo>
                    <a:pt x="602925" y="1070953"/>
                    <a:pt x="613748" y="1077217"/>
                    <a:pt x="626226" y="1080975"/>
                  </a:cubicBezTo>
                  <a:cubicBezTo>
                    <a:pt x="634695" y="1083531"/>
                    <a:pt x="643514" y="1086688"/>
                    <a:pt x="649978" y="109415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3E73FD65-7933-4FA2-B916-4530CD09D2DD}"/>
                </a:ext>
              </a:extLst>
            </p:cNvPr>
            <p:cNvSpPr/>
            <p:nvPr/>
          </p:nvSpPr>
          <p:spPr>
            <a:xfrm>
              <a:off x="2348038" y="1952764"/>
              <a:ext cx="1120814" cy="1048452"/>
            </a:xfrm>
            <a:custGeom>
              <a:avLst/>
              <a:gdLst>
                <a:gd name="connsiteX0" fmla="*/ 682746 w 898720"/>
                <a:gd name="connsiteY0" fmla="*/ 177691 h 840697"/>
                <a:gd name="connsiteX1" fmla="*/ 682696 w 898720"/>
                <a:gd name="connsiteY1" fmla="*/ 173732 h 840697"/>
                <a:gd name="connsiteX2" fmla="*/ 682796 w 898720"/>
                <a:gd name="connsiteY2" fmla="*/ 167268 h 840697"/>
                <a:gd name="connsiteX3" fmla="*/ 673475 w 898720"/>
                <a:gd name="connsiteY3" fmla="*/ 151132 h 840697"/>
                <a:gd name="connsiteX4" fmla="*/ 671972 w 898720"/>
                <a:gd name="connsiteY4" fmla="*/ 150781 h 840697"/>
                <a:gd name="connsiteX5" fmla="*/ 665157 w 898720"/>
                <a:gd name="connsiteY5" fmla="*/ 142663 h 840697"/>
                <a:gd name="connsiteX6" fmla="*/ 665157 w 898720"/>
                <a:gd name="connsiteY6" fmla="*/ 141361 h 840697"/>
                <a:gd name="connsiteX7" fmla="*/ 682696 w 898720"/>
                <a:gd name="connsiteY7" fmla="*/ 126278 h 840697"/>
                <a:gd name="connsiteX8" fmla="*/ 650876 w 898720"/>
                <a:gd name="connsiteY8" fmla="*/ 64542 h 840697"/>
                <a:gd name="connsiteX9" fmla="*/ 616200 w 898720"/>
                <a:gd name="connsiteY9" fmla="*/ 72008 h 840697"/>
                <a:gd name="connsiteX10" fmla="*/ 603722 w 898720"/>
                <a:gd name="connsiteY10" fmla="*/ 74213 h 840697"/>
                <a:gd name="connsiteX11" fmla="*/ 556970 w 898720"/>
                <a:gd name="connsiteY11" fmla="*/ 67949 h 840697"/>
                <a:gd name="connsiteX12" fmla="*/ 552059 w 898720"/>
                <a:gd name="connsiteY12" fmla="*/ 65143 h 840697"/>
                <a:gd name="connsiteX13" fmla="*/ 550305 w 898720"/>
                <a:gd name="connsiteY13" fmla="*/ 64291 h 840697"/>
                <a:gd name="connsiteX14" fmla="*/ 546246 w 898720"/>
                <a:gd name="connsiteY14" fmla="*/ 65494 h 840697"/>
                <a:gd name="connsiteX15" fmla="*/ 505807 w 898720"/>
                <a:gd name="connsiteY15" fmla="*/ 71607 h 840697"/>
                <a:gd name="connsiteX16" fmla="*/ 475240 w 898720"/>
                <a:gd name="connsiteY16" fmla="*/ 83083 h 840697"/>
                <a:gd name="connsiteX17" fmla="*/ 469678 w 898720"/>
                <a:gd name="connsiteY17" fmla="*/ 87041 h 840697"/>
                <a:gd name="connsiteX18" fmla="*/ 452440 w 898720"/>
                <a:gd name="connsiteY18" fmla="*/ 114301 h 840697"/>
                <a:gd name="connsiteX19" fmla="*/ 442819 w 898720"/>
                <a:gd name="connsiteY19" fmla="*/ 152936 h 840697"/>
                <a:gd name="connsiteX20" fmla="*/ 438509 w 898720"/>
                <a:gd name="connsiteY20" fmla="*/ 169422 h 840697"/>
                <a:gd name="connsiteX21" fmla="*/ 438158 w 898720"/>
                <a:gd name="connsiteY21" fmla="*/ 170775 h 840697"/>
                <a:gd name="connsiteX22" fmla="*/ 436856 w 898720"/>
                <a:gd name="connsiteY22" fmla="*/ 171276 h 840697"/>
                <a:gd name="connsiteX23" fmla="*/ 418716 w 898720"/>
                <a:gd name="connsiteY23" fmla="*/ 178091 h 840697"/>
                <a:gd name="connsiteX24" fmla="*/ 416611 w 898720"/>
                <a:gd name="connsiteY24" fmla="*/ 178893 h 840697"/>
                <a:gd name="connsiteX25" fmla="*/ 409245 w 898720"/>
                <a:gd name="connsiteY25" fmla="*/ 166416 h 840697"/>
                <a:gd name="connsiteX26" fmla="*/ 407992 w 898720"/>
                <a:gd name="connsiteY26" fmla="*/ 166115 h 840697"/>
                <a:gd name="connsiteX27" fmla="*/ 405086 w 898720"/>
                <a:gd name="connsiteY27" fmla="*/ 165564 h 840697"/>
                <a:gd name="connsiteX28" fmla="*/ 363344 w 898720"/>
                <a:gd name="connsiteY28" fmla="*/ 132842 h 840697"/>
                <a:gd name="connsiteX29" fmla="*/ 346156 w 898720"/>
                <a:gd name="connsiteY29" fmla="*/ 102876 h 840697"/>
                <a:gd name="connsiteX30" fmla="*/ 344904 w 898720"/>
                <a:gd name="connsiteY30" fmla="*/ 101172 h 840697"/>
                <a:gd name="connsiteX31" fmla="*/ 323907 w 898720"/>
                <a:gd name="connsiteY31" fmla="*/ 96913 h 840697"/>
                <a:gd name="connsiteX32" fmla="*/ 318997 w 898720"/>
                <a:gd name="connsiteY32" fmla="*/ 97414 h 840697"/>
                <a:gd name="connsiteX33" fmla="*/ 316942 w 898720"/>
                <a:gd name="connsiteY33" fmla="*/ 97164 h 840697"/>
                <a:gd name="connsiteX34" fmla="*/ 314386 w 898720"/>
                <a:gd name="connsiteY34" fmla="*/ 97013 h 840697"/>
                <a:gd name="connsiteX35" fmla="*/ 314386 w 898720"/>
                <a:gd name="connsiteY35" fmla="*/ 94458 h 840697"/>
                <a:gd name="connsiteX36" fmla="*/ 314236 w 898720"/>
                <a:gd name="connsiteY36" fmla="*/ 91100 h 840697"/>
                <a:gd name="connsiteX37" fmla="*/ 314687 w 898720"/>
                <a:gd name="connsiteY37" fmla="*/ 82431 h 840697"/>
                <a:gd name="connsiteX38" fmla="*/ 331925 w 898720"/>
                <a:gd name="connsiteY38" fmla="*/ 67599 h 840697"/>
                <a:gd name="connsiteX39" fmla="*/ 337988 w 898720"/>
                <a:gd name="connsiteY39" fmla="*/ 64943 h 840697"/>
                <a:gd name="connsiteX40" fmla="*/ 306870 w 898720"/>
                <a:gd name="connsiteY40" fmla="*/ 0 h 840697"/>
                <a:gd name="connsiteX41" fmla="*/ 301608 w 898720"/>
                <a:gd name="connsiteY41" fmla="*/ 2405 h 840697"/>
                <a:gd name="connsiteX42" fmla="*/ 285523 w 898720"/>
                <a:gd name="connsiteY42" fmla="*/ 10423 h 840697"/>
                <a:gd name="connsiteX43" fmla="*/ 279760 w 898720"/>
                <a:gd name="connsiteY43" fmla="*/ 17489 h 840697"/>
                <a:gd name="connsiteX44" fmla="*/ 273346 w 898720"/>
                <a:gd name="connsiteY44" fmla="*/ 75065 h 840697"/>
                <a:gd name="connsiteX45" fmla="*/ 282867 w 898720"/>
                <a:gd name="connsiteY45" fmla="*/ 80828 h 840697"/>
                <a:gd name="connsiteX46" fmla="*/ 297048 w 898720"/>
                <a:gd name="connsiteY46" fmla="*/ 91852 h 840697"/>
                <a:gd name="connsiteX47" fmla="*/ 297850 w 898720"/>
                <a:gd name="connsiteY47" fmla="*/ 93105 h 840697"/>
                <a:gd name="connsiteX48" fmla="*/ 297199 w 898720"/>
                <a:gd name="connsiteY48" fmla="*/ 94458 h 840697"/>
                <a:gd name="connsiteX49" fmla="*/ 248592 w 898720"/>
                <a:gd name="connsiteY49" fmla="*/ 153788 h 840697"/>
                <a:gd name="connsiteX50" fmla="*/ 247439 w 898720"/>
                <a:gd name="connsiteY50" fmla="*/ 154740 h 840697"/>
                <a:gd name="connsiteX51" fmla="*/ 245986 w 898720"/>
                <a:gd name="connsiteY51" fmla="*/ 154239 h 840697"/>
                <a:gd name="connsiteX52" fmla="*/ 234411 w 898720"/>
                <a:gd name="connsiteY52" fmla="*/ 150180 h 840697"/>
                <a:gd name="connsiteX53" fmla="*/ 226293 w 898720"/>
                <a:gd name="connsiteY53" fmla="*/ 158699 h 840697"/>
                <a:gd name="connsiteX54" fmla="*/ 224389 w 898720"/>
                <a:gd name="connsiteY54" fmla="*/ 156344 h 840697"/>
                <a:gd name="connsiteX55" fmla="*/ 193621 w 898720"/>
                <a:gd name="connsiteY55" fmla="*/ 107787 h 840697"/>
                <a:gd name="connsiteX56" fmla="*/ 192619 w 898720"/>
                <a:gd name="connsiteY56" fmla="*/ 105582 h 840697"/>
                <a:gd name="connsiteX57" fmla="*/ 185303 w 898720"/>
                <a:gd name="connsiteY57" fmla="*/ 98216 h 840697"/>
                <a:gd name="connsiteX58" fmla="*/ 180793 w 898720"/>
                <a:gd name="connsiteY58" fmla="*/ 101824 h 840697"/>
                <a:gd name="connsiteX59" fmla="*/ 153583 w 898720"/>
                <a:gd name="connsiteY59" fmla="*/ 116857 h 840697"/>
                <a:gd name="connsiteX60" fmla="*/ 153283 w 898720"/>
                <a:gd name="connsiteY60" fmla="*/ 116857 h 840697"/>
                <a:gd name="connsiteX61" fmla="*/ 152982 w 898720"/>
                <a:gd name="connsiteY61" fmla="*/ 116857 h 840697"/>
                <a:gd name="connsiteX62" fmla="*/ 143010 w 898720"/>
                <a:gd name="connsiteY62" fmla="*/ 112297 h 840697"/>
                <a:gd name="connsiteX63" fmla="*/ 135343 w 898720"/>
                <a:gd name="connsiteY63" fmla="*/ 109691 h 840697"/>
                <a:gd name="connsiteX64" fmla="*/ 133639 w 898720"/>
                <a:gd name="connsiteY64" fmla="*/ 114051 h 840697"/>
                <a:gd name="connsiteX65" fmla="*/ 128628 w 898720"/>
                <a:gd name="connsiteY65" fmla="*/ 127580 h 840697"/>
                <a:gd name="connsiteX66" fmla="*/ 128328 w 898720"/>
                <a:gd name="connsiteY66" fmla="*/ 128583 h 840697"/>
                <a:gd name="connsiteX67" fmla="*/ 98412 w 898720"/>
                <a:gd name="connsiteY67" fmla="*/ 184505 h 840697"/>
                <a:gd name="connsiteX68" fmla="*/ 96007 w 898720"/>
                <a:gd name="connsiteY68" fmla="*/ 197334 h 840697"/>
                <a:gd name="connsiteX69" fmla="*/ 96408 w 898720"/>
                <a:gd name="connsiteY69" fmla="*/ 198987 h 840697"/>
                <a:gd name="connsiteX70" fmla="*/ 109937 w 898720"/>
                <a:gd name="connsiteY70" fmla="*/ 233463 h 840697"/>
                <a:gd name="connsiteX71" fmla="*/ 116652 w 898720"/>
                <a:gd name="connsiteY71" fmla="*/ 244738 h 840697"/>
                <a:gd name="connsiteX72" fmla="*/ 119408 w 898720"/>
                <a:gd name="connsiteY72" fmla="*/ 249849 h 840697"/>
                <a:gd name="connsiteX73" fmla="*/ 120060 w 898720"/>
                <a:gd name="connsiteY73" fmla="*/ 251052 h 840697"/>
                <a:gd name="connsiteX74" fmla="*/ 119508 w 898720"/>
                <a:gd name="connsiteY74" fmla="*/ 252304 h 840697"/>
                <a:gd name="connsiteX75" fmla="*/ 102571 w 898720"/>
                <a:gd name="connsiteY75" fmla="*/ 273501 h 840697"/>
                <a:gd name="connsiteX76" fmla="*/ 95556 w 898720"/>
                <a:gd name="connsiteY76" fmla="*/ 280366 h 840697"/>
                <a:gd name="connsiteX77" fmla="*/ 82828 w 898720"/>
                <a:gd name="connsiteY77" fmla="*/ 300711 h 840697"/>
                <a:gd name="connsiteX78" fmla="*/ 54215 w 898720"/>
                <a:gd name="connsiteY78" fmla="*/ 358438 h 840697"/>
                <a:gd name="connsiteX79" fmla="*/ 50907 w 898720"/>
                <a:gd name="connsiteY79" fmla="*/ 361043 h 840697"/>
                <a:gd name="connsiteX80" fmla="*/ 49805 w 898720"/>
                <a:gd name="connsiteY80" fmla="*/ 361745 h 840697"/>
                <a:gd name="connsiteX81" fmla="*/ 48502 w 898720"/>
                <a:gd name="connsiteY81" fmla="*/ 362597 h 840697"/>
                <a:gd name="connsiteX82" fmla="*/ 38731 w 898720"/>
                <a:gd name="connsiteY82" fmla="*/ 357786 h 840697"/>
                <a:gd name="connsiteX83" fmla="*/ 22595 w 898720"/>
                <a:gd name="connsiteY83" fmla="*/ 380186 h 840697"/>
                <a:gd name="connsiteX84" fmla="*/ 20340 w 898720"/>
                <a:gd name="connsiteY84" fmla="*/ 387502 h 840697"/>
                <a:gd name="connsiteX85" fmla="*/ 6760 w 898720"/>
                <a:gd name="connsiteY85" fmla="*/ 425084 h 840697"/>
                <a:gd name="connsiteX86" fmla="*/ 1399 w 898720"/>
                <a:gd name="connsiteY86" fmla="*/ 468179 h 840697"/>
                <a:gd name="connsiteX87" fmla="*/ 19288 w 898720"/>
                <a:gd name="connsiteY87" fmla="*/ 496391 h 840697"/>
                <a:gd name="connsiteX88" fmla="*/ 26304 w 898720"/>
                <a:gd name="connsiteY88" fmla="*/ 504108 h 840697"/>
                <a:gd name="connsiteX89" fmla="*/ 38380 w 898720"/>
                <a:gd name="connsiteY89" fmla="*/ 508517 h 840697"/>
                <a:gd name="connsiteX90" fmla="*/ 44093 w 898720"/>
                <a:gd name="connsiteY90" fmla="*/ 510522 h 840697"/>
                <a:gd name="connsiteX91" fmla="*/ 45245 w 898720"/>
                <a:gd name="connsiteY91" fmla="*/ 510923 h 840697"/>
                <a:gd name="connsiteX92" fmla="*/ 45696 w 898720"/>
                <a:gd name="connsiteY92" fmla="*/ 512075 h 840697"/>
                <a:gd name="connsiteX93" fmla="*/ 73257 w 898720"/>
                <a:gd name="connsiteY93" fmla="*/ 547904 h 840697"/>
                <a:gd name="connsiteX94" fmla="*/ 105427 w 898720"/>
                <a:gd name="connsiteY94" fmla="*/ 585938 h 840697"/>
                <a:gd name="connsiteX95" fmla="*/ 140555 w 898720"/>
                <a:gd name="connsiteY95" fmla="*/ 581778 h 840697"/>
                <a:gd name="connsiteX96" fmla="*/ 141456 w 898720"/>
                <a:gd name="connsiteY96" fmla="*/ 582480 h 840697"/>
                <a:gd name="connsiteX97" fmla="*/ 147420 w 898720"/>
                <a:gd name="connsiteY97" fmla="*/ 587190 h 840697"/>
                <a:gd name="connsiteX98" fmla="*/ 180091 w 898720"/>
                <a:gd name="connsiteY98" fmla="*/ 625374 h 840697"/>
                <a:gd name="connsiteX99" fmla="*/ 192318 w 898720"/>
                <a:gd name="connsiteY99" fmla="*/ 636599 h 840697"/>
                <a:gd name="connsiteX100" fmla="*/ 203844 w 898720"/>
                <a:gd name="connsiteY100" fmla="*/ 640006 h 840697"/>
                <a:gd name="connsiteX101" fmla="*/ 210007 w 898720"/>
                <a:gd name="connsiteY101" fmla="*/ 641359 h 840697"/>
                <a:gd name="connsiteX102" fmla="*/ 211611 w 898720"/>
                <a:gd name="connsiteY102" fmla="*/ 641760 h 840697"/>
                <a:gd name="connsiteX103" fmla="*/ 211961 w 898720"/>
                <a:gd name="connsiteY103" fmla="*/ 643364 h 840697"/>
                <a:gd name="connsiteX104" fmla="*/ 216471 w 898720"/>
                <a:gd name="connsiteY104" fmla="*/ 663658 h 840697"/>
                <a:gd name="connsiteX105" fmla="*/ 240574 w 898720"/>
                <a:gd name="connsiteY105" fmla="*/ 662756 h 840697"/>
                <a:gd name="connsiteX106" fmla="*/ 257361 w 898720"/>
                <a:gd name="connsiteY106" fmla="*/ 659048 h 840697"/>
                <a:gd name="connsiteX107" fmla="*/ 258714 w 898720"/>
                <a:gd name="connsiteY107" fmla="*/ 659048 h 840697"/>
                <a:gd name="connsiteX108" fmla="*/ 259516 w 898720"/>
                <a:gd name="connsiteY108" fmla="*/ 660201 h 840697"/>
                <a:gd name="connsiteX109" fmla="*/ 267984 w 898720"/>
                <a:gd name="connsiteY109" fmla="*/ 672277 h 840697"/>
                <a:gd name="connsiteX110" fmla="*/ 285373 w 898720"/>
                <a:gd name="connsiteY110" fmla="*/ 696631 h 840697"/>
                <a:gd name="connsiteX111" fmla="*/ 292639 w 898720"/>
                <a:gd name="connsiteY111" fmla="*/ 706352 h 840697"/>
                <a:gd name="connsiteX112" fmla="*/ 320700 w 898720"/>
                <a:gd name="connsiteY112" fmla="*/ 722187 h 840697"/>
                <a:gd name="connsiteX113" fmla="*/ 335032 w 898720"/>
                <a:gd name="connsiteY113" fmla="*/ 722037 h 840697"/>
                <a:gd name="connsiteX114" fmla="*/ 339943 w 898720"/>
                <a:gd name="connsiteY114" fmla="*/ 721886 h 840697"/>
                <a:gd name="connsiteX115" fmla="*/ 362091 w 898720"/>
                <a:gd name="connsiteY115" fmla="*/ 727599 h 840697"/>
                <a:gd name="connsiteX116" fmla="*/ 362843 w 898720"/>
                <a:gd name="connsiteY116" fmla="*/ 728250 h 840697"/>
                <a:gd name="connsiteX117" fmla="*/ 366250 w 898720"/>
                <a:gd name="connsiteY117" fmla="*/ 753155 h 840697"/>
                <a:gd name="connsiteX118" fmla="*/ 387698 w 898720"/>
                <a:gd name="connsiteY118" fmla="*/ 783772 h 840697"/>
                <a:gd name="connsiteX119" fmla="*/ 388199 w 898720"/>
                <a:gd name="connsiteY119" fmla="*/ 786027 h 840697"/>
                <a:gd name="connsiteX120" fmla="*/ 388750 w 898720"/>
                <a:gd name="connsiteY120" fmla="*/ 788282 h 840697"/>
                <a:gd name="connsiteX121" fmla="*/ 402680 w 898720"/>
                <a:gd name="connsiteY121" fmla="*/ 800760 h 840697"/>
                <a:gd name="connsiteX122" fmla="*/ 411149 w 898720"/>
                <a:gd name="connsiteY122" fmla="*/ 802563 h 840697"/>
                <a:gd name="connsiteX123" fmla="*/ 421071 w 898720"/>
                <a:gd name="connsiteY123" fmla="*/ 804518 h 840697"/>
                <a:gd name="connsiteX124" fmla="*/ 443320 w 898720"/>
                <a:gd name="connsiteY124" fmla="*/ 820252 h 840697"/>
                <a:gd name="connsiteX125" fmla="*/ 461860 w 898720"/>
                <a:gd name="connsiteY125" fmla="*/ 840697 h 840697"/>
                <a:gd name="connsiteX126" fmla="*/ 467573 w 898720"/>
                <a:gd name="connsiteY126" fmla="*/ 838843 h 840697"/>
                <a:gd name="connsiteX127" fmla="*/ 484009 w 898720"/>
                <a:gd name="connsiteY127" fmla="*/ 834985 h 840697"/>
                <a:gd name="connsiteX128" fmla="*/ 519938 w 898720"/>
                <a:gd name="connsiteY128" fmla="*/ 826917 h 840697"/>
                <a:gd name="connsiteX129" fmla="*/ 534019 w 898720"/>
                <a:gd name="connsiteY129" fmla="*/ 822307 h 840697"/>
                <a:gd name="connsiteX130" fmla="*/ 562081 w 898720"/>
                <a:gd name="connsiteY130" fmla="*/ 785877 h 840697"/>
                <a:gd name="connsiteX131" fmla="*/ 579118 w 898720"/>
                <a:gd name="connsiteY131" fmla="*/ 761974 h 840697"/>
                <a:gd name="connsiteX132" fmla="*/ 606729 w 898720"/>
                <a:gd name="connsiteY132" fmla="*/ 739926 h 840697"/>
                <a:gd name="connsiteX133" fmla="*/ 647518 w 898720"/>
                <a:gd name="connsiteY133" fmla="*/ 698886 h 840697"/>
                <a:gd name="connsiteX134" fmla="*/ 644712 w 898720"/>
                <a:gd name="connsiteY134" fmla="*/ 692321 h 840697"/>
                <a:gd name="connsiteX135" fmla="*/ 634991 w 898720"/>
                <a:gd name="connsiteY135" fmla="*/ 674933 h 840697"/>
                <a:gd name="connsiteX136" fmla="*/ 623917 w 898720"/>
                <a:gd name="connsiteY136" fmla="*/ 676386 h 840697"/>
                <a:gd name="connsiteX137" fmla="*/ 597659 w 898720"/>
                <a:gd name="connsiteY137" fmla="*/ 679293 h 840697"/>
                <a:gd name="connsiteX138" fmla="*/ 581724 w 898720"/>
                <a:gd name="connsiteY138" fmla="*/ 689716 h 840697"/>
                <a:gd name="connsiteX139" fmla="*/ 577364 w 898720"/>
                <a:gd name="connsiteY139" fmla="*/ 699938 h 840697"/>
                <a:gd name="connsiteX140" fmla="*/ 575109 w 898720"/>
                <a:gd name="connsiteY140" fmla="*/ 705049 h 840697"/>
                <a:gd name="connsiteX141" fmla="*/ 574408 w 898720"/>
                <a:gd name="connsiteY141" fmla="*/ 706653 h 840697"/>
                <a:gd name="connsiteX142" fmla="*/ 572654 w 898720"/>
                <a:gd name="connsiteY142" fmla="*/ 706653 h 840697"/>
                <a:gd name="connsiteX143" fmla="*/ 566941 w 898720"/>
                <a:gd name="connsiteY143" fmla="*/ 706953 h 840697"/>
                <a:gd name="connsiteX144" fmla="*/ 554614 w 898720"/>
                <a:gd name="connsiteY144" fmla="*/ 706102 h 840697"/>
                <a:gd name="connsiteX145" fmla="*/ 524097 w 898720"/>
                <a:gd name="connsiteY145" fmla="*/ 696080 h 840697"/>
                <a:gd name="connsiteX146" fmla="*/ 511720 w 898720"/>
                <a:gd name="connsiteY146" fmla="*/ 676436 h 840697"/>
                <a:gd name="connsiteX147" fmla="*/ 512873 w 898720"/>
                <a:gd name="connsiteY147" fmla="*/ 670022 h 840697"/>
                <a:gd name="connsiteX148" fmla="*/ 523646 w 898720"/>
                <a:gd name="connsiteY148" fmla="*/ 637250 h 840697"/>
                <a:gd name="connsiteX149" fmla="*/ 541335 w 898720"/>
                <a:gd name="connsiteY149" fmla="*/ 613498 h 840697"/>
                <a:gd name="connsiteX150" fmla="*/ 548401 w 898720"/>
                <a:gd name="connsiteY150" fmla="*/ 604378 h 840697"/>
                <a:gd name="connsiteX151" fmla="*/ 548952 w 898720"/>
                <a:gd name="connsiteY151" fmla="*/ 603626 h 840697"/>
                <a:gd name="connsiteX152" fmla="*/ 549854 w 898720"/>
                <a:gd name="connsiteY152" fmla="*/ 603376 h 840697"/>
                <a:gd name="connsiteX153" fmla="*/ 564486 w 898720"/>
                <a:gd name="connsiteY153" fmla="*/ 601021 h 840697"/>
                <a:gd name="connsiteX154" fmla="*/ 588990 w 898720"/>
                <a:gd name="connsiteY154" fmla="*/ 592251 h 840697"/>
                <a:gd name="connsiteX155" fmla="*/ 592748 w 898720"/>
                <a:gd name="connsiteY155" fmla="*/ 546300 h 840697"/>
                <a:gd name="connsiteX156" fmla="*/ 596306 w 898720"/>
                <a:gd name="connsiteY156" fmla="*/ 475094 h 840697"/>
                <a:gd name="connsiteX157" fmla="*/ 584480 w 898720"/>
                <a:gd name="connsiteY157" fmla="*/ 412055 h 840697"/>
                <a:gd name="connsiteX158" fmla="*/ 587036 w 898720"/>
                <a:gd name="connsiteY158" fmla="*/ 402635 h 840697"/>
                <a:gd name="connsiteX159" fmla="*/ 588388 w 898720"/>
                <a:gd name="connsiteY159" fmla="*/ 398776 h 840697"/>
                <a:gd name="connsiteX160" fmla="*/ 589090 w 898720"/>
                <a:gd name="connsiteY160" fmla="*/ 396471 h 840697"/>
                <a:gd name="connsiteX161" fmla="*/ 591445 w 898720"/>
                <a:gd name="connsiteY161" fmla="*/ 396922 h 840697"/>
                <a:gd name="connsiteX162" fmla="*/ 594853 w 898720"/>
                <a:gd name="connsiteY162" fmla="*/ 397473 h 840697"/>
                <a:gd name="connsiteX163" fmla="*/ 600265 w 898720"/>
                <a:gd name="connsiteY163" fmla="*/ 398676 h 840697"/>
                <a:gd name="connsiteX164" fmla="*/ 606528 w 898720"/>
                <a:gd name="connsiteY164" fmla="*/ 401181 h 840697"/>
                <a:gd name="connsiteX165" fmla="*/ 694722 w 898720"/>
                <a:gd name="connsiteY165" fmla="*/ 448335 h 840697"/>
                <a:gd name="connsiteX166" fmla="*/ 711710 w 898720"/>
                <a:gd name="connsiteY166" fmla="*/ 460462 h 840697"/>
                <a:gd name="connsiteX167" fmla="*/ 730451 w 898720"/>
                <a:gd name="connsiteY167" fmla="*/ 491330 h 840697"/>
                <a:gd name="connsiteX168" fmla="*/ 732104 w 898720"/>
                <a:gd name="connsiteY168" fmla="*/ 493134 h 840697"/>
                <a:gd name="connsiteX169" fmla="*/ 733257 w 898720"/>
                <a:gd name="connsiteY169" fmla="*/ 494487 h 840697"/>
                <a:gd name="connsiteX170" fmla="*/ 754403 w 898720"/>
                <a:gd name="connsiteY170" fmla="*/ 488924 h 840697"/>
                <a:gd name="connsiteX171" fmla="*/ 755456 w 898720"/>
                <a:gd name="connsiteY171" fmla="*/ 490528 h 840697"/>
                <a:gd name="connsiteX172" fmla="*/ 775049 w 898720"/>
                <a:gd name="connsiteY172" fmla="*/ 497994 h 840697"/>
                <a:gd name="connsiteX173" fmla="*/ 789430 w 898720"/>
                <a:gd name="connsiteY173" fmla="*/ 499748 h 840697"/>
                <a:gd name="connsiteX174" fmla="*/ 790232 w 898720"/>
                <a:gd name="connsiteY174" fmla="*/ 499999 h 840697"/>
                <a:gd name="connsiteX175" fmla="*/ 790733 w 898720"/>
                <a:gd name="connsiteY175" fmla="*/ 500700 h 840697"/>
                <a:gd name="connsiteX176" fmla="*/ 797448 w 898720"/>
                <a:gd name="connsiteY176" fmla="*/ 509971 h 840697"/>
                <a:gd name="connsiteX177" fmla="*/ 831823 w 898720"/>
                <a:gd name="connsiteY177" fmla="*/ 519993 h 840697"/>
                <a:gd name="connsiteX178" fmla="*/ 842346 w 898720"/>
                <a:gd name="connsiteY178" fmla="*/ 529163 h 840697"/>
                <a:gd name="connsiteX179" fmla="*/ 844100 w 898720"/>
                <a:gd name="connsiteY179" fmla="*/ 529413 h 840697"/>
                <a:gd name="connsiteX180" fmla="*/ 845654 w 898720"/>
                <a:gd name="connsiteY180" fmla="*/ 529614 h 840697"/>
                <a:gd name="connsiteX181" fmla="*/ 854573 w 898720"/>
                <a:gd name="connsiteY181" fmla="*/ 519792 h 840697"/>
                <a:gd name="connsiteX182" fmla="*/ 852218 w 898720"/>
                <a:gd name="connsiteY182" fmla="*/ 477850 h 840697"/>
                <a:gd name="connsiteX183" fmla="*/ 855425 w 898720"/>
                <a:gd name="connsiteY183" fmla="*/ 468179 h 840697"/>
                <a:gd name="connsiteX184" fmla="*/ 860837 w 898720"/>
                <a:gd name="connsiteY184" fmla="*/ 450941 h 840697"/>
                <a:gd name="connsiteX185" fmla="*/ 861589 w 898720"/>
                <a:gd name="connsiteY185" fmla="*/ 442372 h 840697"/>
                <a:gd name="connsiteX186" fmla="*/ 861639 w 898720"/>
                <a:gd name="connsiteY186" fmla="*/ 439265 h 840697"/>
                <a:gd name="connsiteX187" fmla="*/ 837987 w 898720"/>
                <a:gd name="connsiteY187" fmla="*/ 433102 h 840697"/>
                <a:gd name="connsiteX188" fmla="*/ 838388 w 898720"/>
                <a:gd name="connsiteY188" fmla="*/ 430696 h 840697"/>
                <a:gd name="connsiteX189" fmla="*/ 855726 w 898720"/>
                <a:gd name="connsiteY189" fmla="*/ 387251 h 840697"/>
                <a:gd name="connsiteX190" fmla="*/ 888297 w 898720"/>
                <a:gd name="connsiteY190" fmla="*/ 343755 h 840697"/>
                <a:gd name="connsiteX191" fmla="*/ 896165 w 898720"/>
                <a:gd name="connsiteY191" fmla="*/ 332130 h 840697"/>
                <a:gd name="connsiteX192" fmla="*/ 898720 w 898720"/>
                <a:gd name="connsiteY192" fmla="*/ 328221 h 840697"/>
                <a:gd name="connsiteX193" fmla="*/ 871611 w 898720"/>
                <a:gd name="connsiteY193" fmla="*/ 306824 h 840697"/>
                <a:gd name="connsiteX194" fmla="*/ 844301 w 898720"/>
                <a:gd name="connsiteY194" fmla="*/ 312637 h 840697"/>
                <a:gd name="connsiteX195" fmla="*/ 813834 w 898720"/>
                <a:gd name="connsiteY195" fmla="*/ 321807 h 840697"/>
                <a:gd name="connsiteX196" fmla="*/ 812681 w 898720"/>
                <a:gd name="connsiteY196" fmla="*/ 321557 h 840697"/>
                <a:gd name="connsiteX197" fmla="*/ 812130 w 898720"/>
                <a:gd name="connsiteY197" fmla="*/ 320504 h 840697"/>
                <a:gd name="connsiteX198" fmla="*/ 803110 w 898720"/>
                <a:gd name="connsiteY198" fmla="*/ 304168 h 840697"/>
                <a:gd name="connsiteX199" fmla="*/ 783467 w 898720"/>
                <a:gd name="connsiteY199" fmla="*/ 267187 h 840697"/>
                <a:gd name="connsiteX200" fmla="*/ 738568 w 898720"/>
                <a:gd name="connsiteY200" fmla="*/ 189967 h 840697"/>
                <a:gd name="connsiteX201" fmla="*/ 737216 w 898720"/>
                <a:gd name="connsiteY201" fmla="*/ 188063 h 840697"/>
                <a:gd name="connsiteX202" fmla="*/ 723736 w 898720"/>
                <a:gd name="connsiteY202" fmla="*/ 157095 h 840697"/>
                <a:gd name="connsiteX203" fmla="*/ 707901 w 898720"/>
                <a:gd name="connsiteY203" fmla="*/ 167518 h 840697"/>
                <a:gd name="connsiteX204" fmla="*/ 686304 w 898720"/>
                <a:gd name="connsiteY204" fmla="*/ 180396 h 840697"/>
                <a:gd name="connsiteX205" fmla="*/ 682796 w 898720"/>
                <a:gd name="connsiteY205" fmla="*/ 181499 h 840697"/>
                <a:gd name="connsiteX206" fmla="*/ 682796 w 898720"/>
                <a:gd name="connsiteY206" fmla="*/ 177841 h 840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</a:cxnLst>
              <a:rect l="l" t="t" r="r" b="b"/>
              <a:pathLst>
                <a:path w="898720" h="840697">
                  <a:moveTo>
                    <a:pt x="682746" y="177691"/>
                  </a:moveTo>
                  <a:cubicBezTo>
                    <a:pt x="682746" y="176237"/>
                    <a:pt x="682746" y="174934"/>
                    <a:pt x="682696" y="173732"/>
                  </a:cubicBezTo>
                  <a:cubicBezTo>
                    <a:pt x="682646" y="171377"/>
                    <a:pt x="682596" y="169322"/>
                    <a:pt x="682796" y="167268"/>
                  </a:cubicBezTo>
                  <a:cubicBezTo>
                    <a:pt x="683999" y="155592"/>
                    <a:pt x="683548" y="154840"/>
                    <a:pt x="673475" y="151132"/>
                  </a:cubicBezTo>
                  <a:cubicBezTo>
                    <a:pt x="672974" y="150932"/>
                    <a:pt x="672473" y="150882"/>
                    <a:pt x="671972" y="150781"/>
                  </a:cubicBezTo>
                  <a:cubicBezTo>
                    <a:pt x="669667" y="150330"/>
                    <a:pt x="665408" y="149479"/>
                    <a:pt x="665157" y="142663"/>
                  </a:cubicBezTo>
                  <a:lnTo>
                    <a:pt x="665157" y="141361"/>
                  </a:lnTo>
                  <a:cubicBezTo>
                    <a:pt x="665157" y="141361"/>
                    <a:pt x="682696" y="126278"/>
                    <a:pt x="682696" y="126278"/>
                  </a:cubicBezTo>
                  <a:cubicBezTo>
                    <a:pt x="675179" y="104680"/>
                    <a:pt x="661950" y="78974"/>
                    <a:pt x="650876" y="64542"/>
                  </a:cubicBezTo>
                  <a:cubicBezTo>
                    <a:pt x="641806" y="70304"/>
                    <a:pt x="630982" y="72559"/>
                    <a:pt x="616200" y="72008"/>
                  </a:cubicBezTo>
                  <a:cubicBezTo>
                    <a:pt x="611439" y="71808"/>
                    <a:pt x="606879" y="72610"/>
                    <a:pt x="603722" y="74213"/>
                  </a:cubicBezTo>
                  <a:cubicBezTo>
                    <a:pt x="587988" y="82131"/>
                    <a:pt x="572704" y="80076"/>
                    <a:pt x="556970" y="67949"/>
                  </a:cubicBezTo>
                  <a:cubicBezTo>
                    <a:pt x="555566" y="66897"/>
                    <a:pt x="553863" y="66045"/>
                    <a:pt x="552059" y="65143"/>
                  </a:cubicBezTo>
                  <a:cubicBezTo>
                    <a:pt x="551457" y="64842"/>
                    <a:pt x="550856" y="64592"/>
                    <a:pt x="550305" y="64291"/>
                  </a:cubicBezTo>
                  <a:lnTo>
                    <a:pt x="546246" y="65494"/>
                  </a:lnTo>
                  <a:cubicBezTo>
                    <a:pt x="533267" y="69403"/>
                    <a:pt x="519888" y="73461"/>
                    <a:pt x="505807" y="71607"/>
                  </a:cubicBezTo>
                  <a:cubicBezTo>
                    <a:pt x="493430" y="69954"/>
                    <a:pt x="484560" y="76318"/>
                    <a:pt x="475240" y="83083"/>
                  </a:cubicBezTo>
                  <a:cubicBezTo>
                    <a:pt x="473386" y="84386"/>
                    <a:pt x="471582" y="85738"/>
                    <a:pt x="469678" y="87041"/>
                  </a:cubicBezTo>
                  <a:cubicBezTo>
                    <a:pt x="460457" y="93305"/>
                    <a:pt x="455146" y="101724"/>
                    <a:pt x="452440" y="114301"/>
                  </a:cubicBezTo>
                  <a:cubicBezTo>
                    <a:pt x="449634" y="127230"/>
                    <a:pt x="446176" y="140308"/>
                    <a:pt x="442819" y="152936"/>
                  </a:cubicBezTo>
                  <a:cubicBezTo>
                    <a:pt x="441365" y="158398"/>
                    <a:pt x="439912" y="163910"/>
                    <a:pt x="438509" y="169422"/>
                  </a:cubicBezTo>
                  <a:lnTo>
                    <a:pt x="438158" y="170775"/>
                  </a:lnTo>
                  <a:lnTo>
                    <a:pt x="436856" y="171276"/>
                  </a:lnTo>
                  <a:cubicBezTo>
                    <a:pt x="430241" y="173732"/>
                    <a:pt x="424428" y="175937"/>
                    <a:pt x="418716" y="178091"/>
                  </a:cubicBezTo>
                  <a:lnTo>
                    <a:pt x="416611" y="178893"/>
                  </a:lnTo>
                  <a:lnTo>
                    <a:pt x="409245" y="166416"/>
                  </a:lnTo>
                  <a:cubicBezTo>
                    <a:pt x="408794" y="166315"/>
                    <a:pt x="408393" y="166215"/>
                    <a:pt x="407992" y="166115"/>
                  </a:cubicBezTo>
                  <a:cubicBezTo>
                    <a:pt x="406840" y="165814"/>
                    <a:pt x="405988" y="165614"/>
                    <a:pt x="405086" y="165564"/>
                  </a:cubicBezTo>
                  <a:cubicBezTo>
                    <a:pt x="382887" y="164311"/>
                    <a:pt x="369608" y="153938"/>
                    <a:pt x="363344" y="132842"/>
                  </a:cubicBezTo>
                  <a:cubicBezTo>
                    <a:pt x="360187" y="122269"/>
                    <a:pt x="353071" y="112397"/>
                    <a:pt x="346156" y="102876"/>
                  </a:cubicBezTo>
                  <a:lnTo>
                    <a:pt x="344904" y="101172"/>
                  </a:lnTo>
                  <a:cubicBezTo>
                    <a:pt x="340794" y="95510"/>
                    <a:pt x="333829" y="90198"/>
                    <a:pt x="323907" y="96913"/>
                  </a:cubicBezTo>
                  <a:cubicBezTo>
                    <a:pt x="322404" y="97965"/>
                    <a:pt x="320700" y="97665"/>
                    <a:pt x="318997" y="97414"/>
                  </a:cubicBezTo>
                  <a:cubicBezTo>
                    <a:pt x="318395" y="97314"/>
                    <a:pt x="317694" y="97214"/>
                    <a:pt x="316942" y="97164"/>
                  </a:cubicBezTo>
                  <a:lnTo>
                    <a:pt x="314386" y="97013"/>
                  </a:lnTo>
                  <a:lnTo>
                    <a:pt x="314386" y="94458"/>
                  </a:lnTo>
                  <a:cubicBezTo>
                    <a:pt x="314386" y="93355"/>
                    <a:pt x="314286" y="92203"/>
                    <a:pt x="314236" y="91100"/>
                  </a:cubicBezTo>
                  <a:cubicBezTo>
                    <a:pt x="314036" y="88244"/>
                    <a:pt x="313835" y="85287"/>
                    <a:pt x="314687" y="82431"/>
                  </a:cubicBezTo>
                  <a:cubicBezTo>
                    <a:pt x="317543" y="73311"/>
                    <a:pt x="325210" y="70304"/>
                    <a:pt x="331925" y="67599"/>
                  </a:cubicBezTo>
                  <a:cubicBezTo>
                    <a:pt x="334080" y="66747"/>
                    <a:pt x="336184" y="65945"/>
                    <a:pt x="337988" y="64943"/>
                  </a:cubicBezTo>
                  <a:cubicBezTo>
                    <a:pt x="337587" y="37933"/>
                    <a:pt x="327666" y="17238"/>
                    <a:pt x="306870" y="0"/>
                  </a:cubicBezTo>
                  <a:cubicBezTo>
                    <a:pt x="305116" y="802"/>
                    <a:pt x="303362" y="1604"/>
                    <a:pt x="301608" y="2405"/>
                  </a:cubicBezTo>
                  <a:cubicBezTo>
                    <a:pt x="296196" y="4861"/>
                    <a:pt x="290634" y="7416"/>
                    <a:pt x="285523" y="10423"/>
                  </a:cubicBezTo>
                  <a:cubicBezTo>
                    <a:pt x="282767" y="12027"/>
                    <a:pt x="280211" y="15133"/>
                    <a:pt x="279760" y="17489"/>
                  </a:cubicBezTo>
                  <a:cubicBezTo>
                    <a:pt x="275000" y="39988"/>
                    <a:pt x="272945" y="58328"/>
                    <a:pt x="273346" y="75065"/>
                  </a:cubicBezTo>
                  <a:cubicBezTo>
                    <a:pt x="276253" y="77470"/>
                    <a:pt x="279610" y="79174"/>
                    <a:pt x="282867" y="80828"/>
                  </a:cubicBezTo>
                  <a:cubicBezTo>
                    <a:pt x="288079" y="83483"/>
                    <a:pt x="293490" y="86189"/>
                    <a:pt x="297048" y="91852"/>
                  </a:cubicBezTo>
                  <a:lnTo>
                    <a:pt x="297850" y="93105"/>
                  </a:lnTo>
                  <a:lnTo>
                    <a:pt x="297199" y="94458"/>
                  </a:lnTo>
                  <a:cubicBezTo>
                    <a:pt x="287127" y="115905"/>
                    <a:pt x="272144" y="134195"/>
                    <a:pt x="248592" y="153788"/>
                  </a:cubicBezTo>
                  <a:lnTo>
                    <a:pt x="247439" y="154740"/>
                  </a:lnTo>
                  <a:lnTo>
                    <a:pt x="245986" y="154239"/>
                  </a:lnTo>
                  <a:cubicBezTo>
                    <a:pt x="241827" y="152786"/>
                    <a:pt x="238019" y="151433"/>
                    <a:pt x="234411" y="150180"/>
                  </a:cubicBezTo>
                  <a:lnTo>
                    <a:pt x="226293" y="158699"/>
                  </a:lnTo>
                  <a:lnTo>
                    <a:pt x="224389" y="156344"/>
                  </a:lnTo>
                  <a:cubicBezTo>
                    <a:pt x="212613" y="141912"/>
                    <a:pt x="202591" y="126027"/>
                    <a:pt x="193621" y="107787"/>
                  </a:cubicBezTo>
                  <a:cubicBezTo>
                    <a:pt x="193270" y="107085"/>
                    <a:pt x="192920" y="106334"/>
                    <a:pt x="192619" y="105582"/>
                  </a:cubicBezTo>
                  <a:cubicBezTo>
                    <a:pt x="190765" y="101423"/>
                    <a:pt x="189362" y="98717"/>
                    <a:pt x="185303" y="98216"/>
                  </a:cubicBezTo>
                  <a:cubicBezTo>
                    <a:pt x="183800" y="99368"/>
                    <a:pt x="182296" y="100621"/>
                    <a:pt x="180793" y="101824"/>
                  </a:cubicBezTo>
                  <a:cubicBezTo>
                    <a:pt x="172424" y="108539"/>
                    <a:pt x="163806" y="115504"/>
                    <a:pt x="153583" y="116857"/>
                  </a:cubicBezTo>
                  <a:lnTo>
                    <a:pt x="153283" y="116857"/>
                  </a:lnTo>
                  <a:cubicBezTo>
                    <a:pt x="153283" y="116857"/>
                    <a:pt x="152982" y="116857"/>
                    <a:pt x="152982" y="116857"/>
                  </a:cubicBezTo>
                  <a:cubicBezTo>
                    <a:pt x="148622" y="116356"/>
                    <a:pt x="145616" y="114201"/>
                    <a:pt x="143010" y="112297"/>
                  </a:cubicBezTo>
                  <a:cubicBezTo>
                    <a:pt x="139953" y="110042"/>
                    <a:pt x="138149" y="108889"/>
                    <a:pt x="135343" y="109691"/>
                  </a:cubicBezTo>
                  <a:cubicBezTo>
                    <a:pt x="134792" y="111144"/>
                    <a:pt x="134241" y="112547"/>
                    <a:pt x="133639" y="114051"/>
                  </a:cubicBezTo>
                  <a:cubicBezTo>
                    <a:pt x="131885" y="118460"/>
                    <a:pt x="130082" y="122970"/>
                    <a:pt x="128628" y="127580"/>
                  </a:cubicBezTo>
                  <a:lnTo>
                    <a:pt x="128328" y="128583"/>
                  </a:lnTo>
                  <a:cubicBezTo>
                    <a:pt x="121914" y="148526"/>
                    <a:pt x="115249" y="169172"/>
                    <a:pt x="98412" y="184505"/>
                  </a:cubicBezTo>
                  <a:cubicBezTo>
                    <a:pt x="95305" y="187362"/>
                    <a:pt x="94553" y="191321"/>
                    <a:pt x="96007" y="197334"/>
                  </a:cubicBezTo>
                  <a:lnTo>
                    <a:pt x="96408" y="198987"/>
                  </a:lnTo>
                  <a:cubicBezTo>
                    <a:pt x="99364" y="211515"/>
                    <a:pt x="102170" y="223341"/>
                    <a:pt x="109937" y="233463"/>
                  </a:cubicBezTo>
                  <a:cubicBezTo>
                    <a:pt x="112643" y="236971"/>
                    <a:pt x="114698" y="240929"/>
                    <a:pt x="116652" y="244738"/>
                  </a:cubicBezTo>
                  <a:cubicBezTo>
                    <a:pt x="117554" y="246442"/>
                    <a:pt x="118456" y="248195"/>
                    <a:pt x="119408" y="249849"/>
                  </a:cubicBezTo>
                  <a:lnTo>
                    <a:pt x="120060" y="251052"/>
                  </a:lnTo>
                  <a:lnTo>
                    <a:pt x="119508" y="252304"/>
                  </a:lnTo>
                  <a:cubicBezTo>
                    <a:pt x="115449" y="261424"/>
                    <a:pt x="108935" y="267588"/>
                    <a:pt x="102571" y="273501"/>
                  </a:cubicBezTo>
                  <a:cubicBezTo>
                    <a:pt x="100116" y="275806"/>
                    <a:pt x="97760" y="278011"/>
                    <a:pt x="95556" y="280366"/>
                  </a:cubicBezTo>
                  <a:cubicBezTo>
                    <a:pt x="89893" y="286480"/>
                    <a:pt x="84531" y="292242"/>
                    <a:pt x="82828" y="300711"/>
                  </a:cubicBezTo>
                  <a:cubicBezTo>
                    <a:pt x="79069" y="319903"/>
                    <a:pt x="69949" y="338243"/>
                    <a:pt x="54215" y="358438"/>
                  </a:cubicBezTo>
                  <a:cubicBezTo>
                    <a:pt x="53213" y="359640"/>
                    <a:pt x="52010" y="360392"/>
                    <a:pt x="50907" y="361043"/>
                  </a:cubicBezTo>
                  <a:cubicBezTo>
                    <a:pt x="50507" y="361244"/>
                    <a:pt x="50156" y="361494"/>
                    <a:pt x="49805" y="361745"/>
                  </a:cubicBezTo>
                  <a:lnTo>
                    <a:pt x="48502" y="362597"/>
                  </a:lnTo>
                  <a:lnTo>
                    <a:pt x="38731" y="357786"/>
                  </a:lnTo>
                  <a:cubicBezTo>
                    <a:pt x="30863" y="362647"/>
                    <a:pt x="26003" y="369412"/>
                    <a:pt x="22595" y="380186"/>
                  </a:cubicBezTo>
                  <a:lnTo>
                    <a:pt x="20340" y="387502"/>
                  </a:lnTo>
                  <a:cubicBezTo>
                    <a:pt x="16482" y="400029"/>
                    <a:pt x="12473" y="413008"/>
                    <a:pt x="6760" y="425084"/>
                  </a:cubicBezTo>
                  <a:cubicBezTo>
                    <a:pt x="146" y="439065"/>
                    <a:pt x="-1558" y="452745"/>
                    <a:pt x="1399" y="468179"/>
                  </a:cubicBezTo>
                  <a:cubicBezTo>
                    <a:pt x="10920" y="475244"/>
                    <a:pt x="19338" y="482861"/>
                    <a:pt x="19288" y="496391"/>
                  </a:cubicBezTo>
                  <a:cubicBezTo>
                    <a:pt x="19288" y="499648"/>
                    <a:pt x="21643" y="502254"/>
                    <a:pt x="26304" y="504108"/>
                  </a:cubicBezTo>
                  <a:cubicBezTo>
                    <a:pt x="30212" y="505661"/>
                    <a:pt x="34271" y="507064"/>
                    <a:pt x="38380" y="508517"/>
                  </a:cubicBezTo>
                  <a:cubicBezTo>
                    <a:pt x="40284" y="509169"/>
                    <a:pt x="42188" y="509820"/>
                    <a:pt x="44093" y="510522"/>
                  </a:cubicBezTo>
                  <a:lnTo>
                    <a:pt x="45245" y="510923"/>
                  </a:lnTo>
                  <a:lnTo>
                    <a:pt x="45696" y="512075"/>
                  </a:lnTo>
                  <a:cubicBezTo>
                    <a:pt x="52060" y="528161"/>
                    <a:pt x="63786" y="539686"/>
                    <a:pt x="73257" y="547904"/>
                  </a:cubicBezTo>
                  <a:cubicBezTo>
                    <a:pt x="84431" y="557625"/>
                    <a:pt x="98211" y="569602"/>
                    <a:pt x="105427" y="585938"/>
                  </a:cubicBezTo>
                  <a:lnTo>
                    <a:pt x="140555" y="581778"/>
                  </a:lnTo>
                  <a:lnTo>
                    <a:pt x="141456" y="582480"/>
                  </a:lnTo>
                  <a:cubicBezTo>
                    <a:pt x="143461" y="584083"/>
                    <a:pt x="145465" y="585687"/>
                    <a:pt x="147420" y="587190"/>
                  </a:cubicBezTo>
                  <a:cubicBezTo>
                    <a:pt x="161851" y="598515"/>
                    <a:pt x="174329" y="608337"/>
                    <a:pt x="180091" y="625374"/>
                  </a:cubicBezTo>
                  <a:cubicBezTo>
                    <a:pt x="181294" y="628882"/>
                    <a:pt x="185654" y="632891"/>
                    <a:pt x="192318" y="636599"/>
                  </a:cubicBezTo>
                  <a:cubicBezTo>
                    <a:pt x="195575" y="638403"/>
                    <a:pt x="199584" y="639155"/>
                    <a:pt x="203844" y="640006"/>
                  </a:cubicBezTo>
                  <a:cubicBezTo>
                    <a:pt x="205848" y="640407"/>
                    <a:pt x="207953" y="640808"/>
                    <a:pt x="210007" y="641359"/>
                  </a:cubicBezTo>
                  <a:lnTo>
                    <a:pt x="211611" y="641760"/>
                  </a:lnTo>
                  <a:lnTo>
                    <a:pt x="211961" y="643364"/>
                  </a:lnTo>
                  <a:cubicBezTo>
                    <a:pt x="213565" y="650730"/>
                    <a:pt x="215169" y="657745"/>
                    <a:pt x="216471" y="663658"/>
                  </a:cubicBezTo>
                  <a:cubicBezTo>
                    <a:pt x="225040" y="668268"/>
                    <a:pt x="232256" y="665713"/>
                    <a:pt x="240574" y="662756"/>
                  </a:cubicBezTo>
                  <a:cubicBezTo>
                    <a:pt x="245886" y="660902"/>
                    <a:pt x="251248" y="659048"/>
                    <a:pt x="257361" y="659048"/>
                  </a:cubicBezTo>
                  <a:lnTo>
                    <a:pt x="258714" y="659048"/>
                  </a:lnTo>
                  <a:cubicBezTo>
                    <a:pt x="258714" y="659048"/>
                    <a:pt x="259516" y="660201"/>
                    <a:pt x="259516" y="660201"/>
                  </a:cubicBezTo>
                  <a:cubicBezTo>
                    <a:pt x="262372" y="664210"/>
                    <a:pt x="265178" y="668268"/>
                    <a:pt x="267984" y="672277"/>
                  </a:cubicBezTo>
                  <a:cubicBezTo>
                    <a:pt x="273597" y="680345"/>
                    <a:pt x="279410" y="688663"/>
                    <a:pt x="285373" y="696631"/>
                  </a:cubicBezTo>
                  <a:cubicBezTo>
                    <a:pt x="288179" y="700389"/>
                    <a:pt x="290584" y="703596"/>
                    <a:pt x="292639" y="706352"/>
                  </a:cubicBezTo>
                  <a:cubicBezTo>
                    <a:pt x="300591" y="717141"/>
                    <a:pt x="309942" y="722422"/>
                    <a:pt x="320700" y="722187"/>
                  </a:cubicBezTo>
                  <a:cubicBezTo>
                    <a:pt x="324559" y="722087"/>
                    <a:pt x="329219" y="722037"/>
                    <a:pt x="335032" y="722037"/>
                  </a:cubicBezTo>
                  <a:cubicBezTo>
                    <a:pt x="336635" y="722037"/>
                    <a:pt x="338289" y="721987"/>
                    <a:pt x="339943" y="721886"/>
                  </a:cubicBezTo>
                  <a:cubicBezTo>
                    <a:pt x="347008" y="721586"/>
                    <a:pt x="354976" y="721185"/>
                    <a:pt x="362091" y="727599"/>
                  </a:cubicBezTo>
                  <a:lnTo>
                    <a:pt x="362843" y="728250"/>
                  </a:lnTo>
                  <a:lnTo>
                    <a:pt x="366250" y="753155"/>
                  </a:lnTo>
                  <a:cubicBezTo>
                    <a:pt x="378377" y="758567"/>
                    <a:pt x="385392" y="768589"/>
                    <a:pt x="387698" y="783772"/>
                  </a:cubicBezTo>
                  <a:cubicBezTo>
                    <a:pt x="387798" y="784524"/>
                    <a:pt x="387998" y="785276"/>
                    <a:pt x="388199" y="786027"/>
                  </a:cubicBezTo>
                  <a:cubicBezTo>
                    <a:pt x="388399" y="786779"/>
                    <a:pt x="388600" y="787530"/>
                    <a:pt x="388750" y="788282"/>
                  </a:cubicBezTo>
                  <a:cubicBezTo>
                    <a:pt x="390003" y="795598"/>
                    <a:pt x="394312" y="799457"/>
                    <a:pt x="402680" y="800760"/>
                  </a:cubicBezTo>
                  <a:cubicBezTo>
                    <a:pt x="405537" y="801211"/>
                    <a:pt x="408393" y="801862"/>
                    <a:pt x="411149" y="802563"/>
                  </a:cubicBezTo>
                  <a:cubicBezTo>
                    <a:pt x="414557" y="803365"/>
                    <a:pt x="417814" y="804167"/>
                    <a:pt x="421071" y="804518"/>
                  </a:cubicBezTo>
                  <a:cubicBezTo>
                    <a:pt x="431694" y="805720"/>
                    <a:pt x="438960" y="810882"/>
                    <a:pt x="443320" y="820252"/>
                  </a:cubicBezTo>
                  <a:cubicBezTo>
                    <a:pt x="447679" y="829723"/>
                    <a:pt x="453743" y="836438"/>
                    <a:pt x="461860" y="840697"/>
                  </a:cubicBezTo>
                  <a:cubicBezTo>
                    <a:pt x="463765" y="840146"/>
                    <a:pt x="465669" y="839495"/>
                    <a:pt x="467573" y="838843"/>
                  </a:cubicBezTo>
                  <a:cubicBezTo>
                    <a:pt x="472885" y="837039"/>
                    <a:pt x="478347" y="835235"/>
                    <a:pt x="484009" y="834985"/>
                  </a:cubicBezTo>
                  <a:cubicBezTo>
                    <a:pt x="497789" y="834434"/>
                    <a:pt x="510417" y="830375"/>
                    <a:pt x="519938" y="826917"/>
                  </a:cubicBezTo>
                  <a:cubicBezTo>
                    <a:pt x="525601" y="824863"/>
                    <a:pt x="530261" y="823459"/>
                    <a:pt x="534019" y="822307"/>
                  </a:cubicBezTo>
                  <a:cubicBezTo>
                    <a:pt x="550205" y="817446"/>
                    <a:pt x="551508" y="817045"/>
                    <a:pt x="562081" y="785877"/>
                  </a:cubicBezTo>
                  <a:cubicBezTo>
                    <a:pt x="565588" y="775654"/>
                    <a:pt x="571000" y="768038"/>
                    <a:pt x="579118" y="761974"/>
                  </a:cubicBezTo>
                  <a:cubicBezTo>
                    <a:pt x="587587" y="755660"/>
                    <a:pt x="596356" y="748695"/>
                    <a:pt x="606729" y="739926"/>
                  </a:cubicBezTo>
                  <a:cubicBezTo>
                    <a:pt x="619407" y="729303"/>
                    <a:pt x="634089" y="716124"/>
                    <a:pt x="647518" y="698886"/>
                  </a:cubicBezTo>
                  <a:cubicBezTo>
                    <a:pt x="646516" y="696731"/>
                    <a:pt x="645614" y="694526"/>
                    <a:pt x="644712" y="692321"/>
                  </a:cubicBezTo>
                  <a:cubicBezTo>
                    <a:pt x="641956" y="685707"/>
                    <a:pt x="639300" y="679393"/>
                    <a:pt x="634991" y="674933"/>
                  </a:cubicBezTo>
                  <a:cubicBezTo>
                    <a:pt x="631183" y="675384"/>
                    <a:pt x="627524" y="675885"/>
                    <a:pt x="623917" y="676386"/>
                  </a:cubicBezTo>
                  <a:cubicBezTo>
                    <a:pt x="614847" y="677589"/>
                    <a:pt x="606278" y="678741"/>
                    <a:pt x="597659" y="679293"/>
                  </a:cubicBezTo>
                  <a:cubicBezTo>
                    <a:pt x="588990" y="679844"/>
                    <a:pt x="584380" y="682851"/>
                    <a:pt x="581724" y="689716"/>
                  </a:cubicBezTo>
                  <a:cubicBezTo>
                    <a:pt x="580421" y="693123"/>
                    <a:pt x="578918" y="696430"/>
                    <a:pt x="577364" y="699938"/>
                  </a:cubicBezTo>
                  <a:cubicBezTo>
                    <a:pt x="576613" y="701592"/>
                    <a:pt x="575861" y="703295"/>
                    <a:pt x="575109" y="705049"/>
                  </a:cubicBezTo>
                  <a:lnTo>
                    <a:pt x="574408" y="706653"/>
                  </a:lnTo>
                  <a:lnTo>
                    <a:pt x="572654" y="706653"/>
                  </a:lnTo>
                  <a:cubicBezTo>
                    <a:pt x="570700" y="706653"/>
                    <a:pt x="568795" y="706803"/>
                    <a:pt x="566941" y="706953"/>
                  </a:cubicBezTo>
                  <a:cubicBezTo>
                    <a:pt x="562532" y="707304"/>
                    <a:pt x="558373" y="707655"/>
                    <a:pt x="554614" y="706102"/>
                  </a:cubicBezTo>
                  <a:cubicBezTo>
                    <a:pt x="545194" y="702193"/>
                    <a:pt x="535071" y="698184"/>
                    <a:pt x="524097" y="696080"/>
                  </a:cubicBezTo>
                  <a:cubicBezTo>
                    <a:pt x="515679" y="694476"/>
                    <a:pt x="510016" y="685456"/>
                    <a:pt x="511720" y="676436"/>
                  </a:cubicBezTo>
                  <a:cubicBezTo>
                    <a:pt x="512121" y="674332"/>
                    <a:pt x="512522" y="672177"/>
                    <a:pt x="512873" y="670022"/>
                  </a:cubicBezTo>
                  <a:cubicBezTo>
                    <a:pt x="514827" y="658798"/>
                    <a:pt x="516831" y="647222"/>
                    <a:pt x="523646" y="637250"/>
                  </a:cubicBezTo>
                  <a:cubicBezTo>
                    <a:pt x="529309" y="628932"/>
                    <a:pt x="535422" y="621115"/>
                    <a:pt x="541335" y="613498"/>
                  </a:cubicBezTo>
                  <a:cubicBezTo>
                    <a:pt x="543740" y="610391"/>
                    <a:pt x="546146" y="607335"/>
                    <a:pt x="548401" y="604378"/>
                  </a:cubicBezTo>
                  <a:lnTo>
                    <a:pt x="548952" y="603626"/>
                  </a:lnTo>
                  <a:lnTo>
                    <a:pt x="549854" y="603376"/>
                  </a:lnTo>
                  <a:cubicBezTo>
                    <a:pt x="554815" y="602023"/>
                    <a:pt x="559725" y="601522"/>
                    <a:pt x="564486" y="601021"/>
                  </a:cubicBezTo>
                  <a:cubicBezTo>
                    <a:pt x="574057" y="600019"/>
                    <a:pt x="582375" y="599116"/>
                    <a:pt x="588990" y="592251"/>
                  </a:cubicBezTo>
                  <a:cubicBezTo>
                    <a:pt x="584229" y="579524"/>
                    <a:pt x="580822" y="563087"/>
                    <a:pt x="592748" y="546300"/>
                  </a:cubicBezTo>
                  <a:cubicBezTo>
                    <a:pt x="611389" y="520043"/>
                    <a:pt x="604975" y="493084"/>
                    <a:pt x="596306" y="475094"/>
                  </a:cubicBezTo>
                  <a:cubicBezTo>
                    <a:pt x="586484" y="454649"/>
                    <a:pt x="582626" y="434004"/>
                    <a:pt x="584480" y="412055"/>
                  </a:cubicBezTo>
                  <a:cubicBezTo>
                    <a:pt x="584781" y="408748"/>
                    <a:pt x="585933" y="405641"/>
                    <a:pt x="587036" y="402635"/>
                  </a:cubicBezTo>
                  <a:cubicBezTo>
                    <a:pt x="587537" y="401332"/>
                    <a:pt x="587988" y="400079"/>
                    <a:pt x="588388" y="398776"/>
                  </a:cubicBezTo>
                  <a:lnTo>
                    <a:pt x="589090" y="396471"/>
                  </a:lnTo>
                  <a:lnTo>
                    <a:pt x="591445" y="396922"/>
                  </a:lnTo>
                  <a:cubicBezTo>
                    <a:pt x="592698" y="397173"/>
                    <a:pt x="593850" y="397323"/>
                    <a:pt x="594853" y="397473"/>
                  </a:cubicBezTo>
                  <a:cubicBezTo>
                    <a:pt x="596857" y="397774"/>
                    <a:pt x="598561" y="398025"/>
                    <a:pt x="600265" y="398676"/>
                  </a:cubicBezTo>
                  <a:lnTo>
                    <a:pt x="606528" y="401181"/>
                  </a:lnTo>
                  <a:cubicBezTo>
                    <a:pt x="636995" y="413459"/>
                    <a:pt x="668514" y="426187"/>
                    <a:pt x="694722" y="448335"/>
                  </a:cubicBezTo>
                  <a:cubicBezTo>
                    <a:pt x="699533" y="452394"/>
                    <a:pt x="705045" y="456353"/>
                    <a:pt x="711710" y="460462"/>
                  </a:cubicBezTo>
                  <a:cubicBezTo>
                    <a:pt x="720930" y="466174"/>
                    <a:pt x="731403" y="474793"/>
                    <a:pt x="730451" y="491330"/>
                  </a:cubicBezTo>
                  <a:cubicBezTo>
                    <a:pt x="730551" y="491480"/>
                    <a:pt x="731453" y="492432"/>
                    <a:pt x="732104" y="493134"/>
                  </a:cubicBezTo>
                  <a:cubicBezTo>
                    <a:pt x="732505" y="493535"/>
                    <a:pt x="732856" y="493986"/>
                    <a:pt x="733257" y="494487"/>
                  </a:cubicBezTo>
                  <a:lnTo>
                    <a:pt x="754403" y="488924"/>
                  </a:lnTo>
                  <a:lnTo>
                    <a:pt x="755456" y="490528"/>
                  </a:lnTo>
                  <a:cubicBezTo>
                    <a:pt x="760216" y="497844"/>
                    <a:pt x="767081" y="497894"/>
                    <a:pt x="775049" y="497994"/>
                  </a:cubicBezTo>
                  <a:cubicBezTo>
                    <a:pt x="779759" y="498044"/>
                    <a:pt x="784670" y="498095"/>
                    <a:pt x="789430" y="499748"/>
                  </a:cubicBezTo>
                  <a:lnTo>
                    <a:pt x="790232" y="499999"/>
                  </a:lnTo>
                  <a:lnTo>
                    <a:pt x="790733" y="500700"/>
                  </a:lnTo>
                  <a:cubicBezTo>
                    <a:pt x="792888" y="503657"/>
                    <a:pt x="795193" y="506814"/>
                    <a:pt x="797448" y="509971"/>
                  </a:cubicBezTo>
                  <a:cubicBezTo>
                    <a:pt x="816740" y="506613"/>
                    <a:pt x="818043" y="507214"/>
                    <a:pt x="831823" y="519993"/>
                  </a:cubicBezTo>
                  <a:cubicBezTo>
                    <a:pt x="835131" y="523049"/>
                    <a:pt x="838638" y="526256"/>
                    <a:pt x="842346" y="529163"/>
                  </a:cubicBezTo>
                  <a:cubicBezTo>
                    <a:pt x="842497" y="529213"/>
                    <a:pt x="843399" y="529313"/>
                    <a:pt x="844100" y="529413"/>
                  </a:cubicBezTo>
                  <a:cubicBezTo>
                    <a:pt x="844551" y="529413"/>
                    <a:pt x="845103" y="529514"/>
                    <a:pt x="845654" y="529614"/>
                  </a:cubicBezTo>
                  <a:cubicBezTo>
                    <a:pt x="848510" y="526507"/>
                    <a:pt x="851617" y="523049"/>
                    <a:pt x="854573" y="519792"/>
                  </a:cubicBezTo>
                  <a:cubicBezTo>
                    <a:pt x="845654" y="499598"/>
                    <a:pt x="845754" y="498295"/>
                    <a:pt x="852218" y="477850"/>
                  </a:cubicBezTo>
                  <a:cubicBezTo>
                    <a:pt x="853220" y="474643"/>
                    <a:pt x="854323" y="471386"/>
                    <a:pt x="855425" y="468179"/>
                  </a:cubicBezTo>
                  <a:cubicBezTo>
                    <a:pt x="857329" y="462566"/>
                    <a:pt x="859284" y="456754"/>
                    <a:pt x="860837" y="450941"/>
                  </a:cubicBezTo>
                  <a:cubicBezTo>
                    <a:pt x="861539" y="448435"/>
                    <a:pt x="861589" y="445629"/>
                    <a:pt x="861589" y="442372"/>
                  </a:cubicBezTo>
                  <a:cubicBezTo>
                    <a:pt x="861589" y="441370"/>
                    <a:pt x="861589" y="440318"/>
                    <a:pt x="861639" y="439265"/>
                  </a:cubicBezTo>
                  <a:lnTo>
                    <a:pt x="837987" y="433102"/>
                  </a:lnTo>
                  <a:lnTo>
                    <a:pt x="838388" y="430696"/>
                  </a:lnTo>
                  <a:cubicBezTo>
                    <a:pt x="841344" y="412306"/>
                    <a:pt x="846706" y="398927"/>
                    <a:pt x="855726" y="387251"/>
                  </a:cubicBezTo>
                  <a:cubicBezTo>
                    <a:pt x="866449" y="373421"/>
                    <a:pt x="876822" y="359340"/>
                    <a:pt x="888297" y="343755"/>
                  </a:cubicBezTo>
                  <a:cubicBezTo>
                    <a:pt x="891104" y="339947"/>
                    <a:pt x="893659" y="335988"/>
                    <a:pt x="896165" y="332130"/>
                  </a:cubicBezTo>
                  <a:cubicBezTo>
                    <a:pt x="897017" y="330827"/>
                    <a:pt x="897869" y="329524"/>
                    <a:pt x="898720" y="328221"/>
                  </a:cubicBezTo>
                  <a:cubicBezTo>
                    <a:pt x="893308" y="317899"/>
                    <a:pt x="884890" y="311234"/>
                    <a:pt x="871611" y="306824"/>
                  </a:cubicBezTo>
                  <a:cubicBezTo>
                    <a:pt x="859785" y="302865"/>
                    <a:pt x="849612" y="305020"/>
                    <a:pt x="844301" y="312637"/>
                  </a:cubicBezTo>
                  <a:cubicBezTo>
                    <a:pt x="835281" y="325616"/>
                    <a:pt x="824758" y="324413"/>
                    <a:pt x="813834" y="321807"/>
                  </a:cubicBezTo>
                  <a:lnTo>
                    <a:pt x="812681" y="321557"/>
                  </a:lnTo>
                  <a:lnTo>
                    <a:pt x="812130" y="320504"/>
                  </a:lnTo>
                  <a:cubicBezTo>
                    <a:pt x="809174" y="315092"/>
                    <a:pt x="806167" y="309630"/>
                    <a:pt x="803110" y="304168"/>
                  </a:cubicBezTo>
                  <a:cubicBezTo>
                    <a:pt x="796446" y="292192"/>
                    <a:pt x="789580" y="279815"/>
                    <a:pt x="783467" y="267187"/>
                  </a:cubicBezTo>
                  <a:cubicBezTo>
                    <a:pt x="769286" y="237973"/>
                    <a:pt x="754604" y="212667"/>
                    <a:pt x="738568" y="189967"/>
                  </a:cubicBezTo>
                  <a:lnTo>
                    <a:pt x="737216" y="188063"/>
                  </a:lnTo>
                  <a:cubicBezTo>
                    <a:pt x="730902" y="179094"/>
                    <a:pt x="724337" y="169873"/>
                    <a:pt x="723736" y="157095"/>
                  </a:cubicBezTo>
                  <a:cubicBezTo>
                    <a:pt x="717873" y="159701"/>
                    <a:pt x="713012" y="163509"/>
                    <a:pt x="707901" y="167518"/>
                  </a:cubicBezTo>
                  <a:cubicBezTo>
                    <a:pt x="701587" y="172479"/>
                    <a:pt x="695023" y="177640"/>
                    <a:pt x="686304" y="180396"/>
                  </a:cubicBezTo>
                  <a:lnTo>
                    <a:pt x="682796" y="181499"/>
                  </a:lnTo>
                  <a:lnTo>
                    <a:pt x="682796" y="177841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38" name="Полилиния: фигура 37">
              <a:extLst>
                <a:ext uri="{FF2B5EF4-FFF2-40B4-BE49-F238E27FC236}">
                  <a16:creationId xmlns:a16="http://schemas.microsoft.com/office/drawing/2014/main" id="{8CAB129C-30E7-464D-B826-EE043F7120F2}"/>
                </a:ext>
              </a:extLst>
            </p:cNvPr>
            <p:cNvSpPr/>
            <p:nvPr/>
          </p:nvSpPr>
          <p:spPr>
            <a:xfrm>
              <a:off x="6455840" y="4927870"/>
              <a:ext cx="1590788" cy="1134773"/>
            </a:xfrm>
            <a:custGeom>
              <a:avLst/>
              <a:gdLst>
                <a:gd name="connsiteX0" fmla="*/ 698143 w 1275567"/>
                <a:gd name="connsiteY0" fmla="*/ 851435 h 909913"/>
                <a:gd name="connsiteX1" fmla="*/ 699045 w 1275567"/>
                <a:gd name="connsiteY1" fmla="*/ 851085 h 909913"/>
                <a:gd name="connsiteX2" fmla="*/ 699797 w 1275567"/>
                <a:gd name="connsiteY2" fmla="*/ 850734 h 909913"/>
                <a:gd name="connsiteX3" fmla="*/ 703103 w 1275567"/>
                <a:gd name="connsiteY3" fmla="*/ 846424 h 909913"/>
                <a:gd name="connsiteX4" fmla="*/ 702452 w 1275567"/>
                <a:gd name="connsiteY4" fmla="*/ 843518 h 909913"/>
                <a:gd name="connsiteX5" fmla="*/ 691378 w 1275567"/>
                <a:gd name="connsiteY5" fmla="*/ 834298 h 909913"/>
                <a:gd name="connsiteX6" fmla="*/ 684413 w 1275567"/>
                <a:gd name="connsiteY6" fmla="*/ 828685 h 909913"/>
                <a:gd name="connsiteX7" fmla="*/ 680103 w 1275567"/>
                <a:gd name="connsiteY7" fmla="*/ 825729 h 909913"/>
                <a:gd name="connsiteX8" fmla="*/ 668528 w 1275567"/>
                <a:gd name="connsiteY8" fmla="*/ 811798 h 909913"/>
                <a:gd name="connsiteX9" fmla="*/ 668227 w 1275567"/>
                <a:gd name="connsiteY9" fmla="*/ 810395 h 909913"/>
                <a:gd name="connsiteX10" fmla="*/ 702152 w 1275567"/>
                <a:gd name="connsiteY10" fmla="*/ 774115 h 909913"/>
                <a:gd name="connsiteX11" fmla="*/ 700648 w 1275567"/>
                <a:gd name="connsiteY11" fmla="*/ 768653 h 909913"/>
                <a:gd name="connsiteX12" fmla="*/ 696790 w 1275567"/>
                <a:gd name="connsiteY12" fmla="*/ 752568 h 909913"/>
                <a:gd name="connsiteX13" fmla="*/ 702703 w 1275567"/>
                <a:gd name="connsiteY13" fmla="*/ 731121 h 909913"/>
                <a:gd name="connsiteX14" fmla="*/ 720993 w 1275567"/>
                <a:gd name="connsiteY14" fmla="*/ 721299 h 909913"/>
                <a:gd name="connsiteX15" fmla="*/ 761783 w 1275567"/>
                <a:gd name="connsiteY15" fmla="*/ 725158 h 909913"/>
                <a:gd name="connsiteX16" fmla="*/ 772205 w 1275567"/>
                <a:gd name="connsiteY16" fmla="*/ 727563 h 909913"/>
                <a:gd name="connsiteX17" fmla="*/ 774962 w 1275567"/>
                <a:gd name="connsiteY17" fmla="*/ 728064 h 909913"/>
                <a:gd name="connsiteX18" fmla="*/ 783731 w 1275567"/>
                <a:gd name="connsiteY18" fmla="*/ 721350 h 909913"/>
                <a:gd name="connsiteX19" fmla="*/ 804928 w 1275567"/>
                <a:gd name="connsiteY19" fmla="*/ 704813 h 909913"/>
                <a:gd name="connsiteX20" fmla="*/ 844614 w 1275567"/>
                <a:gd name="connsiteY20" fmla="*/ 693839 h 909913"/>
                <a:gd name="connsiteX21" fmla="*/ 863757 w 1275567"/>
                <a:gd name="connsiteY21" fmla="*/ 697297 h 909913"/>
                <a:gd name="connsiteX22" fmla="*/ 870873 w 1275567"/>
                <a:gd name="connsiteY22" fmla="*/ 698750 h 909913"/>
                <a:gd name="connsiteX23" fmla="*/ 897732 w 1275567"/>
                <a:gd name="connsiteY23" fmla="*/ 668684 h 909913"/>
                <a:gd name="connsiteX24" fmla="*/ 917074 w 1275567"/>
                <a:gd name="connsiteY24" fmla="*/ 652949 h 909913"/>
                <a:gd name="connsiteX25" fmla="*/ 939674 w 1275567"/>
                <a:gd name="connsiteY25" fmla="*/ 644030 h 909913"/>
                <a:gd name="connsiteX26" fmla="*/ 940977 w 1275567"/>
                <a:gd name="connsiteY26" fmla="*/ 643479 h 909913"/>
                <a:gd name="connsiteX27" fmla="*/ 951850 w 1275567"/>
                <a:gd name="connsiteY27" fmla="*/ 631753 h 909913"/>
                <a:gd name="connsiteX28" fmla="*/ 955959 w 1275567"/>
                <a:gd name="connsiteY28" fmla="*/ 620327 h 909913"/>
                <a:gd name="connsiteX29" fmla="*/ 987779 w 1275567"/>
                <a:gd name="connsiteY29" fmla="*/ 601586 h 909913"/>
                <a:gd name="connsiteX30" fmla="*/ 995045 w 1275567"/>
                <a:gd name="connsiteY30" fmla="*/ 602238 h 909913"/>
                <a:gd name="connsiteX31" fmla="*/ 996649 w 1275567"/>
                <a:gd name="connsiteY31" fmla="*/ 601336 h 909913"/>
                <a:gd name="connsiteX32" fmla="*/ 998553 w 1275567"/>
                <a:gd name="connsiteY32" fmla="*/ 600133 h 909913"/>
                <a:gd name="connsiteX33" fmla="*/ 1045706 w 1275567"/>
                <a:gd name="connsiteY33" fmla="*/ 577132 h 909913"/>
                <a:gd name="connsiteX34" fmla="*/ 1063696 w 1275567"/>
                <a:gd name="connsiteY34" fmla="*/ 573926 h 909913"/>
                <a:gd name="connsiteX35" fmla="*/ 1066202 w 1275567"/>
                <a:gd name="connsiteY35" fmla="*/ 573324 h 909913"/>
                <a:gd name="connsiteX36" fmla="*/ 1076123 w 1275567"/>
                <a:gd name="connsiteY36" fmla="*/ 569716 h 909913"/>
                <a:gd name="connsiteX37" fmla="*/ 1081485 w 1275567"/>
                <a:gd name="connsiteY37" fmla="*/ 565758 h 909913"/>
                <a:gd name="connsiteX38" fmla="*/ 1113155 w 1275567"/>
                <a:gd name="connsiteY38" fmla="*/ 539299 h 909913"/>
                <a:gd name="connsiteX39" fmla="*/ 1101730 w 1275567"/>
                <a:gd name="connsiteY39" fmla="*/ 500163 h 909913"/>
                <a:gd name="connsiteX40" fmla="*/ 1099174 w 1275567"/>
                <a:gd name="connsiteY40" fmla="*/ 493399 h 909913"/>
                <a:gd name="connsiteX41" fmla="*/ 1085494 w 1275567"/>
                <a:gd name="connsiteY41" fmla="*/ 462230 h 909913"/>
                <a:gd name="connsiteX42" fmla="*/ 1078729 w 1275567"/>
                <a:gd name="connsiteY42" fmla="*/ 447748 h 909913"/>
                <a:gd name="connsiteX43" fmla="*/ 1077927 w 1275567"/>
                <a:gd name="connsiteY43" fmla="*/ 445994 h 909913"/>
                <a:gd name="connsiteX44" fmla="*/ 1079331 w 1275567"/>
                <a:gd name="connsiteY44" fmla="*/ 444692 h 909913"/>
                <a:gd name="connsiteX45" fmla="*/ 1089453 w 1275567"/>
                <a:gd name="connsiteY45" fmla="*/ 434970 h 909913"/>
                <a:gd name="connsiteX46" fmla="*/ 1111301 w 1275567"/>
                <a:gd name="connsiteY46" fmla="*/ 414926 h 909913"/>
                <a:gd name="connsiteX47" fmla="*/ 1191527 w 1275567"/>
                <a:gd name="connsiteY47" fmla="*/ 341966 h 909913"/>
                <a:gd name="connsiteX48" fmla="*/ 1255217 w 1275567"/>
                <a:gd name="connsiteY48" fmla="*/ 309996 h 909913"/>
                <a:gd name="connsiteX49" fmla="*/ 1256069 w 1275567"/>
                <a:gd name="connsiteY49" fmla="*/ 309845 h 909913"/>
                <a:gd name="connsiteX50" fmla="*/ 1264086 w 1275567"/>
                <a:gd name="connsiteY50" fmla="*/ 308292 h 909913"/>
                <a:gd name="connsiteX51" fmla="*/ 1274860 w 1275567"/>
                <a:gd name="connsiteY51" fmla="*/ 295815 h 909913"/>
                <a:gd name="connsiteX52" fmla="*/ 1274960 w 1275567"/>
                <a:gd name="connsiteY52" fmla="*/ 285041 h 909913"/>
                <a:gd name="connsiteX53" fmla="*/ 1275462 w 1275567"/>
                <a:gd name="connsiteY53" fmla="*/ 264947 h 909913"/>
                <a:gd name="connsiteX54" fmla="*/ 1261531 w 1275567"/>
                <a:gd name="connsiteY54" fmla="*/ 235131 h 909913"/>
                <a:gd name="connsiteX55" fmla="*/ 1235624 w 1275567"/>
                <a:gd name="connsiteY55" fmla="*/ 215989 h 909913"/>
                <a:gd name="connsiteX56" fmla="*/ 1212122 w 1275567"/>
                <a:gd name="connsiteY56" fmla="*/ 198551 h 909913"/>
                <a:gd name="connsiteX57" fmla="*/ 1193281 w 1275567"/>
                <a:gd name="connsiteY57" fmla="*/ 159465 h 909913"/>
                <a:gd name="connsiteX58" fmla="*/ 1192830 w 1275567"/>
                <a:gd name="connsiteY58" fmla="*/ 156458 h 909913"/>
                <a:gd name="connsiteX59" fmla="*/ 1193581 w 1275567"/>
                <a:gd name="connsiteY59" fmla="*/ 155556 h 909913"/>
                <a:gd name="connsiteX60" fmla="*/ 1194033 w 1275567"/>
                <a:gd name="connsiteY60" fmla="*/ 137416 h 909913"/>
                <a:gd name="connsiteX61" fmla="*/ 1191477 w 1275567"/>
                <a:gd name="connsiteY61" fmla="*/ 128447 h 909913"/>
                <a:gd name="connsiteX62" fmla="*/ 1173387 w 1275567"/>
                <a:gd name="connsiteY62" fmla="*/ 106899 h 909913"/>
                <a:gd name="connsiteX63" fmla="*/ 1169579 w 1275567"/>
                <a:gd name="connsiteY63" fmla="*/ 105997 h 909913"/>
                <a:gd name="connsiteX64" fmla="*/ 1171733 w 1275567"/>
                <a:gd name="connsiteY64" fmla="*/ 102740 h 909913"/>
                <a:gd name="connsiteX65" fmla="*/ 1174138 w 1275567"/>
                <a:gd name="connsiteY65" fmla="*/ 99232 h 909913"/>
                <a:gd name="connsiteX66" fmla="*/ 1177546 w 1275567"/>
                <a:gd name="connsiteY66" fmla="*/ 94021 h 909913"/>
                <a:gd name="connsiteX67" fmla="*/ 1174339 w 1275567"/>
                <a:gd name="connsiteY67" fmla="*/ 70419 h 909913"/>
                <a:gd name="connsiteX68" fmla="*/ 1161461 w 1275567"/>
                <a:gd name="connsiteY68" fmla="*/ 62001 h 909913"/>
                <a:gd name="connsiteX69" fmla="*/ 1154596 w 1275567"/>
                <a:gd name="connsiteY69" fmla="*/ 58042 h 909913"/>
                <a:gd name="connsiteX70" fmla="*/ 1152040 w 1275567"/>
                <a:gd name="connsiteY70" fmla="*/ 56489 h 909913"/>
                <a:gd name="connsiteX71" fmla="*/ 1153894 w 1275567"/>
                <a:gd name="connsiteY71" fmla="*/ 54133 h 909913"/>
                <a:gd name="connsiteX72" fmla="*/ 1164017 w 1275567"/>
                <a:gd name="connsiteY72" fmla="*/ 30582 h 909913"/>
                <a:gd name="connsiteX73" fmla="*/ 1168677 w 1275567"/>
                <a:gd name="connsiteY73" fmla="*/ 19558 h 909913"/>
                <a:gd name="connsiteX74" fmla="*/ 1169328 w 1275567"/>
                <a:gd name="connsiteY74" fmla="*/ 18605 h 909913"/>
                <a:gd name="connsiteX75" fmla="*/ 1174088 w 1275567"/>
                <a:gd name="connsiteY75" fmla="*/ 12692 h 909913"/>
                <a:gd name="connsiteX76" fmla="*/ 1178198 w 1275567"/>
                <a:gd name="connsiteY76" fmla="*/ 7631 h 909913"/>
                <a:gd name="connsiteX77" fmla="*/ 1178949 w 1275567"/>
                <a:gd name="connsiteY77" fmla="*/ 3823 h 909913"/>
                <a:gd name="connsiteX78" fmla="*/ 1175291 w 1275567"/>
                <a:gd name="connsiteY78" fmla="*/ 916 h 909913"/>
                <a:gd name="connsiteX79" fmla="*/ 1158805 w 1275567"/>
                <a:gd name="connsiteY79" fmla="*/ 4975 h 909913"/>
                <a:gd name="connsiteX80" fmla="*/ 1151088 w 1275567"/>
                <a:gd name="connsiteY80" fmla="*/ 13895 h 909913"/>
                <a:gd name="connsiteX81" fmla="*/ 1137758 w 1275567"/>
                <a:gd name="connsiteY81" fmla="*/ 30231 h 909913"/>
                <a:gd name="connsiteX82" fmla="*/ 1091207 w 1275567"/>
                <a:gd name="connsiteY82" fmla="*/ 63604 h 909913"/>
                <a:gd name="connsiteX83" fmla="*/ 1082838 w 1275567"/>
                <a:gd name="connsiteY83" fmla="*/ 66911 h 909913"/>
                <a:gd name="connsiteX84" fmla="*/ 1053323 w 1275567"/>
                <a:gd name="connsiteY84" fmla="*/ 69116 h 909913"/>
                <a:gd name="connsiteX85" fmla="*/ 1016342 w 1275567"/>
                <a:gd name="connsiteY85" fmla="*/ 69818 h 909913"/>
                <a:gd name="connsiteX86" fmla="*/ 977005 w 1275567"/>
                <a:gd name="connsiteY86" fmla="*/ 59746 h 909913"/>
                <a:gd name="connsiteX87" fmla="*/ 967384 w 1275567"/>
                <a:gd name="connsiteY87" fmla="*/ 49072 h 909913"/>
                <a:gd name="connsiteX88" fmla="*/ 962574 w 1275567"/>
                <a:gd name="connsiteY88" fmla="*/ 43961 h 909913"/>
                <a:gd name="connsiteX89" fmla="*/ 955258 w 1275567"/>
                <a:gd name="connsiteY89" fmla="*/ 43961 h 909913"/>
                <a:gd name="connsiteX90" fmla="*/ 933911 w 1275567"/>
                <a:gd name="connsiteY90" fmla="*/ 43961 h 909913"/>
                <a:gd name="connsiteX91" fmla="*/ 927998 w 1275567"/>
                <a:gd name="connsiteY91" fmla="*/ 44061 h 909913"/>
                <a:gd name="connsiteX92" fmla="*/ 912113 w 1275567"/>
                <a:gd name="connsiteY92" fmla="*/ 43209 h 909913"/>
                <a:gd name="connsiteX93" fmla="*/ 896980 w 1275567"/>
                <a:gd name="connsiteY93" fmla="*/ 37096 h 909913"/>
                <a:gd name="connsiteX94" fmla="*/ 893372 w 1275567"/>
                <a:gd name="connsiteY94" fmla="*/ 35342 h 909913"/>
                <a:gd name="connsiteX95" fmla="*/ 884653 w 1275567"/>
                <a:gd name="connsiteY95" fmla="*/ 41806 h 909913"/>
                <a:gd name="connsiteX96" fmla="*/ 863055 w 1275567"/>
                <a:gd name="connsiteY96" fmla="*/ 57140 h 909913"/>
                <a:gd name="connsiteX97" fmla="*/ 846369 w 1275567"/>
                <a:gd name="connsiteY97" fmla="*/ 62351 h 909913"/>
                <a:gd name="connsiteX98" fmla="*/ 779471 w 1275567"/>
                <a:gd name="connsiteY98" fmla="*/ 48170 h 909913"/>
                <a:gd name="connsiteX99" fmla="*/ 777567 w 1275567"/>
                <a:gd name="connsiteY99" fmla="*/ 47469 h 909913"/>
                <a:gd name="connsiteX100" fmla="*/ 776615 w 1275567"/>
                <a:gd name="connsiteY100" fmla="*/ 47168 h 909913"/>
                <a:gd name="connsiteX101" fmla="*/ 758526 w 1275567"/>
                <a:gd name="connsiteY101" fmla="*/ 63253 h 909913"/>
                <a:gd name="connsiteX102" fmla="*/ 754016 w 1275567"/>
                <a:gd name="connsiteY102" fmla="*/ 68716 h 909913"/>
                <a:gd name="connsiteX103" fmla="*/ 751861 w 1275567"/>
                <a:gd name="connsiteY103" fmla="*/ 70971 h 909913"/>
                <a:gd name="connsiteX104" fmla="*/ 750909 w 1275567"/>
                <a:gd name="connsiteY104" fmla="*/ 72023 h 909913"/>
                <a:gd name="connsiteX105" fmla="*/ 749505 w 1275567"/>
                <a:gd name="connsiteY105" fmla="*/ 71822 h 909913"/>
                <a:gd name="connsiteX106" fmla="*/ 729913 w 1275567"/>
                <a:gd name="connsiteY106" fmla="*/ 69116 h 909913"/>
                <a:gd name="connsiteX107" fmla="*/ 716734 w 1275567"/>
                <a:gd name="connsiteY107" fmla="*/ 79339 h 909913"/>
                <a:gd name="connsiteX108" fmla="*/ 694334 w 1275567"/>
                <a:gd name="connsiteY108" fmla="*/ 96727 h 909913"/>
                <a:gd name="connsiteX109" fmla="*/ 701350 w 1275567"/>
                <a:gd name="connsiteY109" fmla="*/ 130451 h 909913"/>
                <a:gd name="connsiteX110" fmla="*/ 717987 w 1275567"/>
                <a:gd name="connsiteY110" fmla="*/ 135913 h 909913"/>
                <a:gd name="connsiteX111" fmla="*/ 718187 w 1275567"/>
                <a:gd name="connsiteY111" fmla="*/ 137617 h 909913"/>
                <a:gd name="connsiteX112" fmla="*/ 731516 w 1275567"/>
                <a:gd name="connsiteY112" fmla="*/ 160918 h 909913"/>
                <a:gd name="connsiteX113" fmla="*/ 742540 w 1275567"/>
                <a:gd name="connsiteY113" fmla="*/ 175801 h 909913"/>
                <a:gd name="connsiteX114" fmla="*/ 745296 w 1275567"/>
                <a:gd name="connsiteY114" fmla="*/ 180962 h 909913"/>
                <a:gd name="connsiteX115" fmla="*/ 745948 w 1275567"/>
                <a:gd name="connsiteY115" fmla="*/ 187076 h 909913"/>
                <a:gd name="connsiteX116" fmla="*/ 745797 w 1275567"/>
                <a:gd name="connsiteY116" fmla="*/ 188829 h 909913"/>
                <a:gd name="connsiteX117" fmla="*/ 745797 w 1275567"/>
                <a:gd name="connsiteY117" fmla="*/ 190683 h 909913"/>
                <a:gd name="connsiteX118" fmla="*/ 744044 w 1275567"/>
                <a:gd name="connsiteY118" fmla="*/ 191335 h 909913"/>
                <a:gd name="connsiteX119" fmla="*/ 731366 w 1275567"/>
                <a:gd name="connsiteY119" fmla="*/ 196146 h 909913"/>
                <a:gd name="connsiteX120" fmla="*/ 726405 w 1275567"/>
                <a:gd name="connsiteY120" fmla="*/ 216440 h 909913"/>
                <a:gd name="connsiteX121" fmla="*/ 714428 w 1275567"/>
                <a:gd name="connsiteY121" fmla="*/ 265498 h 909913"/>
                <a:gd name="connsiteX122" fmla="*/ 713376 w 1275567"/>
                <a:gd name="connsiteY122" fmla="*/ 269557 h 909913"/>
                <a:gd name="connsiteX123" fmla="*/ 711271 w 1275567"/>
                <a:gd name="connsiteY123" fmla="*/ 283187 h 909913"/>
                <a:gd name="connsiteX124" fmla="*/ 717084 w 1275567"/>
                <a:gd name="connsiteY124" fmla="*/ 331092 h 909913"/>
                <a:gd name="connsiteX125" fmla="*/ 718137 w 1275567"/>
                <a:gd name="connsiteY125" fmla="*/ 338859 h 909913"/>
                <a:gd name="connsiteX126" fmla="*/ 718488 w 1275567"/>
                <a:gd name="connsiteY126" fmla="*/ 339160 h 909913"/>
                <a:gd name="connsiteX127" fmla="*/ 719239 w 1275567"/>
                <a:gd name="connsiteY127" fmla="*/ 337205 h 909913"/>
                <a:gd name="connsiteX128" fmla="*/ 723348 w 1275567"/>
                <a:gd name="connsiteY128" fmla="*/ 325329 h 909913"/>
                <a:gd name="connsiteX129" fmla="*/ 728610 w 1275567"/>
                <a:gd name="connsiteY129" fmla="*/ 305486 h 909913"/>
                <a:gd name="connsiteX130" fmla="*/ 739083 w 1275567"/>
                <a:gd name="connsiteY130" fmla="*/ 268254 h 909913"/>
                <a:gd name="connsiteX131" fmla="*/ 754266 w 1275567"/>
                <a:gd name="connsiteY131" fmla="*/ 231423 h 909913"/>
                <a:gd name="connsiteX132" fmla="*/ 757373 w 1275567"/>
                <a:gd name="connsiteY132" fmla="*/ 224558 h 909913"/>
                <a:gd name="connsiteX133" fmla="*/ 781375 w 1275567"/>
                <a:gd name="connsiteY133" fmla="*/ 212732 h 909913"/>
                <a:gd name="connsiteX134" fmla="*/ 783229 w 1275567"/>
                <a:gd name="connsiteY134" fmla="*/ 213183 h 909913"/>
                <a:gd name="connsiteX135" fmla="*/ 783430 w 1275567"/>
                <a:gd name="connsiteY135" fmla="*/ 215087 h 909913"/>
                <a:gd name="connsiteX136" fmla="*/ 759628 w 1275567"/>
                <a:gd name="connsiteY136" fmla="*/ 448650 h 909913"/>
                <a:gd name="connsiteX137" fmla="*/ 759277 w 1275567"/>
                <a:gd name="connsiteY137" fmla="*/ 450604 h 909913"/>
                <a:gd name="connsiteX138" fmla="*/ 750107 w 1275567"/>
                <a:gd name="connsiteY138" fmla="*/ 462531 h 909913"/>
                <a:gd name="connsiteX139" fmla="*/ 747952 w 1275567"/>
                <a:gd name="connsiteY139" fmla="*/ 463232 h 909913"/>
                <a:gd name="connsiteX140" fmla="*/ 746900 w 1275567"/>
                <a:gd name="connsiteY140" fmla="*/ 461228 h 909913"/>
                <a:gd name="connsiteX141" fmla="*/ 744545 w 1275567"/>
                <a:gd name="connsiteY141" fmla="*/ 456417 h 909913"/>
                <a:gd name="connsiteX142" fmla="*/ 738932 w 1275567"/>
                <a:gd name="connsiteY142" fmla="*/ 446446 h 909913"/>
                <a:gd name="connsiteX143" fmla="*/ 732418 w 1275567"/>
                <a:gd name="connsiteY143" fmla="*/ 442136 h 909913"/>
                <a:gd name="connsiteX144" fmla="*/ 730113 w 1275567"/>
                <a:gd name="connsiteY144" fmla="*/ 440933 h 909913"/>
                <a:gd name="connsiteX145" fmla="*/ 726104 w 1275567"/>
                <a:gd name="connsiteY145" fmla="*/ 449001 h 909913"/>
                <a:gd name="connsiteX146" fmla="*/ 712875 w 1275567"/>
                <a:gd name="connsiteY146" fmla="*/ 475810 h 909913"/>
                <a:gd name="connsiteX147" fmla="*/ 712424 w 1275567"/>
                <a:gd name="connsiteY147" fmla="*/ 479368 h 909913"/>
                <a:gd name="connsiteX148" fmla="*/ 712424 w 1275567"/>
                <a:gd name="connsiteY148" fmla="*/ 480220 h 909913"/>
                <a:gd name="connsiteX149" fmla="*/ 736978 w 1275567"/>
                <a:gd name="connsiteY149" fmla="*/ 484178 h 909913"/>
                <a:gd name="connsiteX150" fmla="*/ 736978 w 1275567"/>
                <a:gd name="connsiteY150" fmla="*/ 486383 h 909913"/>
                <a:gd name="connsiteX151" fmla="*/ 710620 w 1275567"/>
                <a:gd name="connsiteY151" fmla="*/ 518153 h 909913"/>
                <a:gd name="connsiteX152" fmla="*/ 701249 w 1275567"/>
                <a:gd name="connsiteY152" fmla="*/ 531031 h 909913"/>
                <a:gd name="connsiteX153" fmla="*/ 676996 w 1275567"/>
                <a:gd name="connsiteY153" fmla="*/ 565206 h 909913"/>
                <a:gd name="connsiteX154" fmla="*/ 644676 w 1275567"/>
                <a:gd name="connsiteY154" fmla="*/ 590261 h 909913"/>
                <a:gd name="connsiteX155" fmla="*/ 599776 w 1275567"/>
                <a:gd name="connsiteY155" fmla="*/ 608752 h 909913"/>
                <a:gd name="connsiteX156" fmla="*/ 561643 w 1275567"/>
                <a:gd name="connsiteY156" fmla="*/ 624587 h 909913"/>
                <a:gd name="connsiteX157" fmla="*/ 546259 w 1275567"/>
                <a:gd name="connsiteY157" fmla="*/ 640722 h 909913"/>
                <a:gd name="connsiteX158" fmla="*/ 543352 w 1275567"/>
                <a:gd name="connsiteY158" fmla="*/ 649993 h 909913"/>
                <a:gd name="connsiteX159" fmla="*/ 537139 w 1275567"/>
                <a:gd name="connsiteY159" fmla="*/ 668333 h 909913"/>
                <a:gd name="connsiteX160" fmla="*/ 512886 w 1275567"/>
                <a:gd name="connsiteY160" fmla="*/ 696896 h 909913"/>
                <a:gd name="connsiteX161" fmla="*/ 496500 w 1275567"/>
                <a:gd name="connsiteY161" fmla="*/ 706316 h 909913"/>
                <a:gd name="connsiteX162" fmla="*/ 492942 w 1275567"/>
                <a:gd name="connsiteY162" fmla="*/ 708421 h 909913"/>
                <a:gd name="connsiteX163" fmla="*/ 443934 w 1275567"/>
                <a:gd name="connsiteY163" fmla="*/ 729367 h 909913"/>
                <a:gd name="connsiteX164" fmla="*/ 426145 w 1275567"/>
                <a:gd name="connsiteY164" fmla="*/ 742546 h 909913"/>
                <a:gd name="connsiteX165" fmla="*/ 415923 w 1275567"/>
                <a:gd name="connsiteY165" fmla="*/ 755124 h 909913"/>
                <a:gd name="connsiteX166" fmla="*/ 410511 w 1275567"/>
                <a:gd name="connsiteY166" fmla="*/ 760936 h 909913"/>
                <a:gd name="connsiteX167" fmla="*/ 381447 w 1275567"/>
                <a:gd name="connsiteY167" fmla="*/ 773965 h 909913"/>
                <a:gd name="connsiteX168" fmla="*/ 351230 w 1275567"/>
                <a:gd name="connsiteY168" fmla="*/ 780329 h 909913"/>
                <a:gd name="connsiteX169" fmla="*/ 325975 w 1275567"/>
                <a:gd name="connsiteY169" fmla="*/ 778876 h 909913"/>
                <a:gd name="connsiteX170" fmla="*/ 324923 w 1275567"/>
                <a:gd name="connsiteY170" fmla="*/ 778174 h 909913"/>
                <a:gd name="connsiteX171" fmla="*/ 324672 w 1275567"/>
                <a:gd name="connsiteY171" fmla="*/ 776270 h 909913"/>
                <a:gd name="connsiteX172" fmla="*/ 324522 w 1275567"/>
                <a:gd name="connsiteY172" fmla="*/ 773815 h 909913"/>
                <a:gd name="connsiteX173" fmla="*/ 324622 w 1275567"/>
                <a:gd name="connsiteY173" fmla="*/ 772763 h 909913"/>
                <a:gd name="connsiteX174" fmla="*/ 325674 w 1275567"/>
                <a:gd name="connsiteY174" fmla="*/ 768403 h 909913"/>
                <a:gd name="connsiteX175" fmla="*/ 316454 w 1275567"/>
                <a:gd name="connsiteY175" fmla="*/ 725909 h 909913"/>
                <a:gd name="connsiteX176" fmla="*/ 293754 w 1275567"/>
                <a:gd name="connsiteY176" fmla="*/ 683567 h 909913"/>
                <a:gd name="connsiteX177" fmla="*/ 286990 w 1275567"/>
                <a:gd name="connsiteY177" fmla="*/ 671340 h 909913"/>
                <a:gd name="connsiteX178" fmla="*/ 239134 w 1275567"/>
                <a:gd name="connsiteY178" fmla="*/ 630349 h 909913"/>
                <a:gd name="connsiteX179" fmla="*/ 236278 w 1275567"/>
                <a:gd name="connsiteY179" fmla="*/ 630249 h 909913"/>
                <a:gd name="connsiteX180" fmla="*/ 233622 w 1275567"/>
                <a:gd name="connsiteY180" fmla="*/ 630249 h 909913"/>
                <a:gd name="connsiteX181" fmla="*/ 203506 w 1275567"/>
                <a:gd name="connsiteY181" fmla="*/ 616619 h 909913"/>
                <a:gd name="connsiteX182" fmla="*/ 203105 w 1275567"/>
                <a:gd name="connsiteY182" fmla="*/ 615717 h 909913"/>
                <a:gd name="connsiteX183" fmla="*/ 197292 w 1275567"/>
                <a:gd name="connsiteY183" fmla="*/ 600684 h 909913"/>
                <a:gd name="connsiteX184" fmla="*/ 175344 w 1275567"/>
                <a:gd name="connsiteY184" fmla="*/ 574326 h 909913"/>
                <a:gd name="connsiteX185" fmla="*/ 143624 w 1275567"/>
                <a:gd name="connsiteY185" fmla="*/ 553631 h 909913"/>
                <a:gd name="connsiteX186" fmla="*/ 123981 w 1275567"/>
                <a:gd name="connsiteY186" fmla="*/ 540502 h 909913"/>
                <a:gd name="connsiteX187" fmla="*/ 100930 w 1275567"/>
                <a:gd name="connsiteY187" fmla="*/ 509384 h 909913"/>
                <a:gd name="connsiteX188" fmla="*/ 100379 w 1275567"/>
                <a:gd name="connsiteY188" fmla="*/ 507079 h 909913"/>
                <a:gd name="connsiteX189" fmla="*/ 93514 w 1275567"/>
                <a:gd name="connsiteY189" fmla="*/ 495754 h 909913"/>
                <a:gd name="connsiteX190" fmla="*/ 88203 w 1275567"/>
                <a:gd name="connsiteY190" fmla="*/ 499662 h 909913"/>
                <a:gd name="connsiteX191" fmla="*/ 76627 w 1275567"/>
                <a:gd name="connsiteY191" fmla="*/ 508331 h 909913"/>
                <a:gd name="connsiteX192" fmla="*/ 61794 w 1275567"/>
                <a:gd name="connsiteY192" fmla="*/ 519757 h 909913"/>
                <a:gd name="connsiteX193" fmla="*/ 37191 w 1275567"/>
                <a:gd name="connsiteY193" fmla="*/ 538598 h 909913"/>
                <a:gd name="connsiteX194" fmla="*/ 10081 w 1275567"/>
                <a:gd name="connsiteY194" fmla="*/ 546666 h 909913"/>
                <a:gd name="connsiteX195" fmla="*/ 9981 w 1275567"/>
                <a:gd name="connsiteY195" fmla="*/ 547217 h 909913"/>
                <a:gd name="connsiteX196" fmla="*/ 9329 w 1275567"/>
                <a:gd name="connsiteY196" fmla="*/ 553080 h 909913"/>
                <a:gd name="connsiteX197" fmla="*/ 9229 w 1275567"/>
                <a:gd name="connsiteY197" fmla="*/ 555986 h 909913"/>
                <a:gd name="connsiteX198" fmla="*/ 1613 w 1275567"/>
                <a:gd name="connsiteY198" fmla="*/ 592917 h 909913"/>
                <a:gd name="connsiteX199" fmla="*/ 4869 w 1275567"/>
                <a:gd name="connsiteY199" fmla="*/ 612310 h 909913"/>
                <a:gd name="connsiteX200" fmla="*/ 10682 w 1275567"/>
                <a:gd name="connsiteY200" fmla="*/ 631903 h 909913"/>
                <a:gd name="connsiteX201" fmla="*/ 15092 w 1275567"/>
                <a:gd name="connsiteY201" fmla="*/ 636814 h 909913"/>
                <a:gd name="connsiteX202" fmla="*/ 18600 w 1275567"/>
                <a:gd name="connsiteY202" fmla="*/ 640221 h 909913"/>
                <a:gd name="connsiteX203" fmla="*/ 19251 w 1275567"/>
                <a:gd name="connsiteY203" fmla="*/ 640572 h 909913"/>
                <a:gd name="connsiteX204" fmla="*/ 19852 w 1275567"/>
                <a:gd name="connsiteY204" fmla="*/ 640873 h 909913"/>
                <a:gd name="connsiteX205" fmla="*/ 55531 w 1275567"/>
                <a:gd name="connsiteY205" fmla="*/ 660415 h 909913"/>
                <a:gd name="connsiteX206" fmla="*/ 140618 w 1275567"/>
                <a:gd name="connsiteY206" fmla="*/ 705615 h 909913"/>
                <a:gd name="connsiteX207" fmla="*/ 144526 w 1275567"/>
                <a:gd name="connsiteY207" fmla="*/ 707569 h 909913"/>
                <a:gd name="connsiteX208" fmla="*/ 205460 w 1275567"/>
                <a:gd name="connsiteY208" fmla="*/ 730770 h 909913"/>
                <a:gd name="connsiteX209" fmla="*/ 240588 w 1275567"/>
                <a:gd name="connsiteY209" fmla="*/ 745152 h 909913"/>
                <a:gd name="connsiteX210" fmla="*/ 241590 w 1275567"/>
                <a:gd name="connsiteY210" fmla="*/ 745953 h 909913"/>
                <a:gd name="connsiteX211" fmla="*/ 241590 w 1275567"/>
                <a:gd name="connsiteY211" fmla="*/ 747256 h 909913"/>
                <a:gd name="connsiteX212" fmla="*/ 241941 w 1275567"/>
                <a:gd name="connsiteY212" fmla="*/ 759283 h 909913"/>
                <a:gd name="connsiteX213" fmla="*/ 242291 w 1275567"/>
                <a:gd name="connsiteY213" fmla="*/ 786543 h 909913"/>
                <a:gd name="connsiteX214" fmla="*/ 250660 w 1275567"/>
                <a:gd name="connsiteY214" fmla="*/ 810646 h 909913"/>
                <a:gd name="connsiteX215" fmla="*/ 287691 w 1275567"/>
                <a:gd name="connsiteY215" fmla="*/ 853841 h 909913"/>
                <a:gd name="connsiteX216" fmla="*/ 308086 w 1275567"/>
                <a:gd name="connsiteY216" fmla="*/ 865767 h 909913"/>
                <a:gd name="connsiteX217" fmla="*/ 335095 w 1275567"/>
                <a:gd name="connsiteY217" fmla="*/ 871680 h 909913"/>
                <a:gd name="connsiteX218" fmla="*/ 365813 w 1275567"/>
                <a:gd name="connsiteY218" fmla="*/ 878345 h 909913"/>
                <a:gd name="connsiteX219" fmla="*/ 380846 w 1275567"/>
                <a:gd name="connsiteY219" fmla="*/ 878996 h 909913"/>
                <a:gd name="connsiteX220" fmla="*/ 405901 w 1275567"/>
                <a:gd name="connsiteY220" fmla="*/ 872983 h 909913"/>
                <a:gd name="connsiteX221" fmla="*/ 457664 w 1275567"/>
                <a:gd name="connsiteY221" fmla="*/ 857398 h 909913"/>
                <a:gd name="connsiteX222" fmla="*/ 489284 w 1275567"/>
                <a:gd name="connsiteY222" fmla="*/ 855194 h 909913"/>
                <a:gd name="connsiteX223" fmla="*/ 539695 w 1275567"/>
                <a:gd name="connsiteY223" fmla="*/ 867621 h 909913"/>
                <a:gd name="connsiteX224" fmla="*/ 544205 w 1275567"/>
                <a:gd name="connsiteY224" fmla="*/ 868723 h 909913"/>
                <a:gd name="connsiteX225" fmla="*/ 559588 w 1275567"/>
                <a:gd name="connsiteY225" fmla="*/ 870878 h 909913"/>
                <a:gd name="connsiteX226" fmla="*/ 565902 w 1275567"/>
                <a:gd name="connsiteY226" fmla="*/ 870527 h 909913"/>
                <a:gd name="connsiteX227" fmla="*/ 609047 w 1275567"/>
                <a:gd name="connsiteY227" fmla="*/ 888517 h 909913"/>
                <a:gd name="connsiteX228" fmla="*/ 624280 w 1275567"/>
                <a:gd name="connsiteY228" fmla="*/ 901996 h 909913"/>
                <a:gd name="connsiteX229" fmla="*/ 625132 w 1275567"/>
                <a:gd name="connsiteY229" fmla="*/ 902798 h 909913"/>
                <a:gd name="connsiteX230" fmla="*/ 638011 w 1275567"/>
                <a:gd name="connsiteY230" fmla="*/ 908811 h 909913"/>
                <a:gd name="connsiteX231" fmla="*/ 652943 w 1275567"/>
                <a:gd name="connsiteY231" fmla="*/ 909663 h 909913"/>
                <a:gd name="connsiteX232" fmla="*/ 656652 w 1275567"/>
                <a:gd name="connsiteY232" fmla="*/ 909914 h 909913"/>
                <a:gd name="connsiteX233" fmla="*/ 657002 w 1275567"/>
                <a:gd name="connsiteY233" fmla="*/ 907459 h 909913"/>
                <a:gd name="connsiteX234" fmla="*/ 657654 w 1275567"/>
                <a:gd name="connsiteY234" fmla="*/ 899942 h 909913"/>
                <a:gd name="connsiteX235" fmla="*/ 668578 w 1275567"/>
                <a:gd name="connsiteY235" fmla="*/ 870076 h 909913"/>
                <a:gd name="connsiteX236" fmla="*/ 673639 w 1275567"/>
                <a:gd name="connsiteY236" fmla="*/ 862309 h 909913"/>
                <a:gd name="connsiteX237" fmla="*/ 693382 w 1275567"/>
                <a:gd name="connsiteY237" fmla="*/ 852137 h 909913"/>
                <a:gd name="connsiteX238" fmla="*/ 698343 w 1275567"/>
                <a:gd name="connsiteY238" fmla="*/ 851435 h 90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</a:cxnLst>
              <a:rect l="l" t="t" r="r" b="b"/>
              <a:pathLst>
                <a:path w="1275567" h="909913">
                  <a:moveTo>
                    <a:pt x="698143" y="851435"/>
                  </a:moveTo>
                  <a:cubicBezTo>
                    <a:pt x="698143" y="851435"/>
                    <a:pt x="698694" y="851235"/>
                    <a:pt x="699045" y="851085"/>
                  </a:cubicBezTo>
                  <a:lnTo>
                    <a:pt x="699797" y="850734"/>
                  </a:lnTo>
                  <a:cubicBezTo>
                    <a:pt x="701400" y="850133"/>
                    <a:pt x="702753" y="848328"/>
                    <a:pt x="703103" y="846424"/>
                  </a:cubicBezTo>
                  <a:cubicBezTo>
                    <a:pt x="703254" y="845673"/>
                    <a:pt x="703354" y="844370"/>
                    <a:pt x="702452" y="843518"/>
                  </a:cubicBezTo>
                  <a:cubicBezTo>
                    <a:pt x="698945" y="840261"/>
                    <a:pt x="695086" y="837204"/>
                    <a:pt x="691378" y="834298"/>
                  </a:cubicBezTo>
                  <a:cubicBezTo>
                    <a:pt x="689023" y="832444"/>
                    <a:pt x="686718" y="830589"/>
                    <a:pt x="684413" y="828685"/>
                  </a:cubicBezTo>
                  <a:cubicBezTo>
                    <a:pt x="683160" y="827633"/>
                    <a:pt x="681657" y="826681"/>
                    <a:pt x="680103" y="825729"/>
                  </a:cubicBezTo>
                  <a:cubicBezTo>
                    <a:pt x="675493" y="822873"/>
                    <a:pt x="670282" y="819615"/>
                    <a:pt x="668528" y="811798"/>
                  </a:cubicBezTo>
                  <a:lnTo>
                    <a:pt x="668227" y="810395"/>
                  </a:lnTo>
                  <a:lnTo>
                    <a:pt x="702152" y="774115"/>
                  </a:lnTo>
                  <a:cubicBezTo>
                    <a:pt x="701651" y="772261"/>
                    <a:pt x="701149" y="770457"/>
                    <a:pt x="700648" y="768653"/>
                  </a:cubicBezTo>
                  <a:cubicBezTo>
                    <a:pt x="699195" y="763442"/>
                    <a:pt x="697692" y="758030"/>
                    <a:pt x="696790" y="752568"/>
                  </a:cubicBezTo>
                  <a:cubicBezTo>
                    <a:pt x="695537" y="745202"/>
                    <a:pt x="697692" y="737385"/>
                    <a:pt x="702703" y="731121"/>
                  </a:cubicBezTo>
                  <a:cubicBezTo>
                    <a:pt x="707463" y="725208"/>
                    <a:pt x="714078" y="721650"/>
                    <a:pt x="720993" y="721299"/>
                  </a:cubicBezTo>
                  <a:cubicBezTo>
                    <a:pt x="734924" y="720648"/>
                    <a:pt x="748554" y="720448"/>
                    <a:pt x="761783" y="725158"/>
                  </a:cubicBezTo>
                  <a:cubicBezTo>
                    <a:pt x="765140" y="726361"/>
                    <a:pt x="768898" y="727012"/>
                    <a:pt x="772205" y="727563"/>
                  </a:cubicBezTo>
                  <a:cubicBezTo>
                    <a:pt x="773158" y="727714"/>
                    <a:pt x="774110" y="727914"/>
                    <a:pt x="774962" y="728064"/>
                  </a:cubicBezTo>
                  <a:lnTo>
                    <a:pt x="783731" y="721350"/>
                  </a:lnTo>
                  <a:cubicBezTo>
                    <a:pt x="791147" y="715687"/>
                    <a:pt x="798113" y="710325"/>
                    <a:pt x="804928" y="704813"/>
                  </a:cubicBezTo>
                  <a:cubicBezTo>
                    <a:pt x="816402" y="695593"/>
                    <a:pt x="829782" y="691885"/>
                    <a:pt x="844614" y="693839"/>
                  </a:cubicBezTo>
                  <a:cubicBezTo>
                    <a:pt x="851079" y="694691"/>
                    <a:pt x="857543" y="695994"/>
                    <a:pt x="863757" y="697297"/>
                  </a:cubicBezTo>
                  <a:cubicBezTo>
                    <a:pt x="866112" y="697798"/>
                    <a:pt x="868517" y="698299"/>
                    <a:pt x="870873" y="698750"/>
                  </a:cubicBezTo>
                  <a:cubicBezTo>
                    <a:pt x="881846" y="689529"/>
                    <a:pt x="891919" y="680810"/>
                    <a:pt x="897732" y="668684"/>
                  </a:cubicBezTo>
                  <a:cubicBezTo>
                    <a:pt x="901490" y="660917"/>
                    <a:pt x="907402" y="656056"/>
                    <a:pt x="917074" y="652949"/>
                  </a:cubicBezTo>
                  <a:cubicBezTo>
                    <a:pt x="924691" y="650444"/>
                    <a:pt x="932307" y="647187"/>
                    <a:pt x="939674" y="644030"/>
                  </a:cubicBezTo>
                  <a:lnTo>
                    <a:pt x="940977" y="643479"/>
                  </a:lnTo>
                  <a:cubicBezTo>
                    <a:pt x="946689" y="641023"/>
                    <a:pt x="950247" y="637165"/>
                    <a:pt x="951850" y="631753"/>
                  </a:cubicBezTo>
                  <a:cubicBezTo>
                    <a:pt x="952903" y="628145"/>
                    <a:pt x="954255" y="624286"/>
                    <a:pt x="955959" y="620327"/>
                  </a:cubicBezTo>
                  <a:cubicBezTo>
                    <a:pt x="963125" y="603691"/>
                    <a:pt x="969690" y="599833"/>
                    <a:pt x="987779" y="601586"/>
                  </a:cubicBezTo>
                  <a:lnTo>
                    <a:pt x="995045" y="602238"/>
                  </a:lnTo>
                  <a:cubicBezTo>
                    <a:pt x="995646" y="601887"/>
                    <a:pt x="996148" y="601586"/>
                    <a:pt x="996649" y="601336"/>
                  </a:cubicBezTo>
                  <a:cubicBezTo>
                    <a:pt x="997500" y="600885"/>
                    <a:pt x="998302" y="600434"/>
                    <a:pt x="998553" y="600133"/>
                  </a:cubicBezTo>
                  <a:cubicBezTo>
                    <a:pt x="1009828" y="586052"/>
                    <a:pt x="1025261" y="578536"/>
                    <a:pt x="1045706" y="577132"/>
                  </a:cubicBezTo>
                  <a:cubicBezTo>
                    <a:pt x="1051670" y="576732"/>
                    <a:pt x="1057783" y="575278"/>
                    <a:pt x="1063696" y="573926"/>
                  </a:cubicBezTo>
                  <a:lnTo>
                    <a:pt x="1066202" y="573324"/>
                  </a:lnTo>
                  <a:cubicBezTo>
                    <a:pt x="1069659" y="572522"/>
                    <a:pt x="1073568" y="571620"/>
                    <a:pt x="1076123" y="569716"/>
                  </a:cubicBezTo>
                  <a:lnTo>
                    <a:pt x="1081485" y="565758"/>
                  </a:lnTo>
                  <a:cubicBezTo>
                    <a:pt x="1092359" y="557740"/>
                    <a:pt x="1103634" y="549472"/>
                    <a:pt x="1113155" y="539299"/>
                  </a:cubicBezTo>
                  <a:cubicBezTo>
                    <a:pt x="1111451" y="525469"/>
                    <a:pt x="1106490" y="512591"/>
                    <a:pt x="1101730" y="500163"/>
                  </a:cubicBezTo>
                  <a:cubicBezTo>
                    <a:pt x="1100877" y="497908"/>
                    <a:pt x="1099976" y="495654"/>
                    <a:pt x="1099174" y="493399"/>
                  </a:cubicBezTo>
                  <a:cubicBezTo>
                    <a:pt x="1095265" y="482926"/>
                    <a:pt x="1090505" y="472904"/>
                    <a:pt x="1085494" y="462230"/>
                  </a:cubicBezTo>
                  <a:cubicBezTo>
                    <a:pt x="1083239" y="457470"/>
                    <a:pt x="1080984" y="452659"/>
                    <a:pt x="1078729" y="447748"/>
                  </a:cubicBezTo>
                  <a:lnTo>
                    <a:pt x="1077927" y="445994"/>
                  </a:lnTo>
                  <a:lnTo>
                    <a:pt x="1079331" y="444692"/>
                  </a:lnTo>
                  <a:cubicBezTo>
                    <a:pt x="1082838" y="441435"/>
                    <a:pt x="1086196" y="438177"/>
                    <a:pt x="1089453" y="434970"/>
                  </a:cubicBezTo>
                  <a:cubicBezTo>
                    <a:pt x="1096819" y="427855"/>
                    <a:pt x="1103784" y="421140"/>
                    <a:pt x="1111301" y="414926"/>
                  </a:cubicBezTo>
                  <a:cubicBezTo>
                    <a:pt x="1144223" y="387817"/>
                    <a:pt x="1169729" y="364616"/>
                    <a:pt x="1191527" y="341966"/>
                  </a:cubicBezTo>
                  <a:cubicBezTo>
                    <a:pt x="1208464" y="324377"/>
                    <a:pt x="1229861" y="313604"/>
                    <a:pt x="1255217" y="309996"/>
                  </a:cubicBezTo>
                  <a:lnTo>
                    <a:pt x="1256069" y="309845"/>
                  </a:lnTo>
                  <a:cubicBezTo>
                    <a:pt x="1258774" y="309444"/>
                    <a:pt x="1261531" y="309043"/>
                    <a:pt x="1264086" y="308292"/>
                  </a:cubicBezTo>
                  <a:cubicBezTo>
                    <a:pt x="1271302" y="306137"/>
                    <a:pt x="1274710" y="302178"/>
                    <a:pt x="1274860" y="295815"/>
                  </a:cubicBezTo>
                  <a:cubicBezTo>
                    <a:pt x="1274960" y="292206"/>
                    <a:pt x="1274960" y="288649"/>
                    <a:pt x="1274960" y="285041"/>
                  </a:cubicBezTo>
                  <a:cubicBezTo>
                    <a:pt x="1274960" y="278476"/>
                    <a:pt x="1275010" y="271661"/>
                    <a:pt x="1275462" y="264947"/>
                  </a:cubicBezTo>
                  <a:cubicBezTo>
                    <a:pt x="1276313" y="251567"/>
                    <a:pt x="1272054" y="242397"/>
                    <a:pt x="1261531" y="235131"/>
                  </a:cubicBezTo>
                  <a:cubicBezTo>
                    <a:pt x="1252661" y="229068"/>
                    <a:pt x="1243992" y="222403"/>
                    <a:pt x="1235624" y="215989"/>
                  </a:cubicBezTo>
                  <a:cubicBezTo>
                    <a:pt x="1228007" y="210176"/>
                    <a:pt x="1220090" y="204113"/>
                    <a:pt x="1212122" y="198551"/>
                  </a:cubicBezTo>
                  <a:cubicBezTo>
                    <a:pt x="1197791" y="188529"/>
                    <a:pt x="1195485" y="173746"/>
                    <a:pt x="1193281" y="159465"/>
                  </a:cubicBezTo>
                  <a:lnTo>
                    <a:pt x="1192830" y="156458"/>
                  </a:lnTo>
                  <a:lnTo>
                    <a:pt x="1193581" y="155556"/>
                  </a:lnTo>
                  <a:cubicBezTo>
                    <a:pt x="1198292" y="149543"/>
                    <a:pt x="1196337" y="143931"/>
                    <a:pt x="1194033" y="137416"/>
                  </a:cubicBezTo>
                  <a:cubicBezTo>
                    <a:pt x="1193030" y="134510"/>
                    <a:pt x="1191928" y="131554"/>
                    <a:pt x="1191477" y="128447"/>
                  </a:cubicBezTo>
                  <a:cubicBezTo>
                    <a:pt x="1189673" y="116019"/>
                    <a:pt x="1184110" y="109355"/>
                    <a:pt x="1173387" y="106899"/>
                  </a:cubicBezTo>
                  <a:lnTo>
                    <a:pt x="1169579" y="105997"/>
                  </a:lnTo>
                  <a:lnTo>
                    <a:pt x="1171733" y="102740"/>
                  </a:lnTo>
                  <a:cubicBezTo>
                    <a:pt x="1172585" y="101437"/>
                    <a:pt x="1173387" y="100285"/>
                    <a:pt x="1174138" y="99232"/>
                  </a:cubicBezTo>
                  <a:cubicBezTo>
                    <a:pt x="1175492" y="97328"/>
                    <a:pt x="1176594" y="95725"/>
                    <a:pt x="1177546" y="94021"/>
                  </a:cubicBezTo>
                  <a:cubicBezTo>
                    <a:pt x="1183760" y="82896"/>
                    <a:pt x="1183108" y="78036"/>
                    <a:pt x="1174339" y="70419"/>
                  </a:cubicBezTo>
                  <a:cubicBezTo>
                    <a:pt x="1170631" y="67212"/>
                    <a:pt x="1166171" y="64707"/>
                    <a:pt x="1161461" y="62001"/>
                  </a:cubicBezTo>
                  <a:cubicBezTo>
                    <a:pt x="1159206" y="60748"/>
                    <a:pt x="1156901" y="59445"/>
                    <a:pt x="1154596" y="58042"/>
                  </a:cubicBezTo>
                  <a:lnTo>
                    <a:pt x="1152040" y="56489"/>
                  </a:lnTo>
                  <a:lnTo>
                    <a:pt x="1153894" y="54133"/>
                  </a:lnTo>
                  <a:cubicBezTo>
                    <a:pt x="1159958" y="46316"/>
                    <a:pt x="1164518" y="39602"/>
                    <a:pt x="1164017" y="30582"/>
                  </a:cubicBezTo>
                  <a:cubicBezTo>
                    <a:pt x="1163816" y="26623"/>
                    <a:pt x="1166372" y="22865"/>
                    <a:pt x="1168677" y="19558"/>
                  </a:cubicBezTo>
                  <a:lnTo>
                    <a:pt x="1169328" y="18605"/>
                  </a:lnTo>
                  <a:cubicBezTo>
                    <a:pt x="1170781" y="16451"/>
                    <a:pt x="1172485" y="14547"/>
                    <a:pt x="1174088" y="12692"/>
                  </a:cubicBezTo>
                  <a:cubicBezTo>
                    <a:pt x="1175592" y="10989"/>
                    <a:pt x="1176995" y="9385"/>
                    <a:pt x="1178198" y="7631"/>
                  </a:cubicBezTo>
                  <a:cubicBezTo>
                    <a:pt x="1179149" y="6328"/>
                    <a:pt x="1179400" y="5025"/>
                    <a:pt x="1178949" y="3823"/>
                  </a:cubicBezTo>
                  <a:cubicBezTo>
                    <a:pt x="1178448" y="2470"/>
                    <a:pt x="1177146" y="1418"/>
                    <a:pt x="1175291" y="916"/>
                  </a:cubicBezTo>
                  <a:cubicBezTo>
                    <a:pt x="1167725" y="-1088"/>
                    <a:pt x="1162814" y="165"/>
                    <a:pt x="1158805" y="4975"/>
                  </a:cubicBezTo>
                  <a:cubicBezTo>
                    <a:pt x="1156300" y="7982"/>
                    <a:pt x="1153694" y="10938"/>
                    <a:pt x="1151088" y="13895"/>
                  </a:cubicBezTo>
                  <a:cubicBezTo>
                    <a:pt x="1146478" y="19106"/>
                    <a:pt x="1141667" y="24518"/>
                    <a:pt x="1137758" y="30231"/>
                  </a:cubicBezTo>
                  <a:cubicBezTo>
                    <a:pt x="1126384" y="46867"/>
                    <a:pt x="1111150" y="57792"/>
                    <a:pt x="1091207" y="63604"/>
                  </a:cubicBezTo>
                  <a:cubicBezTo>
                    <a:pt x="1088551" y="64406"/>
                    <a:pt x="1085794" y="65458"/>
                    <a:pt x="1082838" y="66911"/>
                  </a:cubicBezTo>
                  <a:cubicBezTo>
                    <a:pt x="1072966" y="71672"/>
                    <a:pt x="1063345" y="72424"/>
                    <a:pt x="1053323" y="69116"/>
                  </a:cubicBezTo>
                  <a:cubicBezTo>
                    <a:pt x="1039693" y="64606"/>
                    <a:pt x="1028268" y="64807"/>
                    <a:pt x="1016342" y="69818"/>
                  </a:cubicBezTo>
                  <a:cubicBezTo>
                    <a:pt x="1001259" y="76132"/>
                    <a:pt x="986927" y="72424"/>
                    <a:pt x="977005" y="59746"/>
                  </a:cubicBezTo>
                  <a:cubicBezTo>
                    <a:pt x="974200" y="56138"/>
                    <a:pt x="971043" y="52881"/>
                    <a:pt x="967384" y="49072"/>
                  </a:cubicBezTo>
                  <a:cubicBezTo>
                    <a:pt x="965831" y="47469"/>
                    <a:pt x="964227" y="45765"/>
                    <a:pt x="962574" y="43961"/>
                  </a:cubicBezTo>
                  <a:lnTo>
                    <a:pt x="955258" y="43961"/>
                  </a:lnTo>
                  <a:cubicBezTo>
                    <a:pt x="948343" y="43961"/>
                    <a:pt x="941126" y="43961"/>
                    <a:pt x="933911" y="43961"/>
                  </a:cubicBezTo>
                  <a:cubicBezTo>
                    <a:pt x="931957" y="43961"/>
                    <a:pt x="929952" y="43961"/>
                    <a:pt x="927998" y="44061"/>
                  </a:cubicBezTo>
                  <a:cubicBezTo>
                    <a:pt x="922736" y="44212"/>
                    <a:pt x="917324" y="44412"/>
                    <a:pt x="912113" y="43209"/>
                  </a:cubicBezTo>
                  <a:cubicBezTo>
                    <a:pt x="906601" y="41906"/>
                    <a:pt x="901490" y="39351"/>
                    <a:pt x="896980" y="37096"/>
                  </a:cubicBezTo>
                  <a:cubicBezTo>
                    <a:pt x="895727" y="36495"/>
                    <a:pt x="894524" y="35893"/>
                    <a:pt x="893372" y="35342"/>
                  </a:cubicBezTo>
                  <a:cubicBezTo>
                    <a:pt x="890365" y="37497"/>
                    <a:pt x="887509" y="39702"/>
                    <a:pt x="884653" y="41806"/>
                  </a:cubicBezTo>
                  <a:cubicBezTo>
                    <a:pt x="877286" y="47268"/>
                    <a:pt x="870371" y="52430"/>
                    <a:pt x="863055" y="57140"/>
                  </a:cubicBezTo>
                  <a:cubicBezTo>
                    <a:pt x="858645" y="59946"/>
                    <a:pt x="852532" y="61850"/>
                    <a:pt x="846369" y="62351"/>
                  </a:cubicBezTo>
                  <a:cubicBezTo>
                    <a:pt x="824972" y="63955"/>
                    <a:pt x="800367" y="64306"/>
                    <a:pt x="779471" y="48170"/>
                  </a:cubicBezTo>
                  <a:cubicBezTo>
                    <a:pt x="779071" y="47870"/>
                    <a:pt x="778319" y="47669"/>
                    <a:pt x="777567" y="47469"/>
                  </a:cubicBezTo>
                  <a:cubicBezTo>
                    <a:pt x="777267" y="47369"/>
                    <a:pt x="776916" y="47268"/>
                    <a:pt x="776615" y="47168"/>
                  </a:cubicBezTo>
                  <a:cubicBezTo>
                    <a:pt x="767495" y="48471"/>
                    <a:pt x="762985" y="55236"/>
                    <a:pt x="758526" y="63253"/>
                  </a:cubicBezTo>
                  <a:cubicBezTo>
                    <a:pt x="757373" y="65358"/>
                    <a:pt x="755719" y="67012"/>
                    <a:pt x="754016" y="68716"/>
                  </a:cubicBezTo>
                  <a:cubicBezTo>
                    <a:pt x="753314" y="69417"/>
                    <a:pt x="752562" y="70169"/>
                    <a:pt x="751861" y="70971"/>
                  </a:cubicBezTo>
                  <a:lnTo>
                    <a:pt x="750909" y="72023"/>
                  </a:lnTo>
                  <a:lnTo>
                    <a:pt x="749505" y="71822"/>
                  </a:lnTo>
                  <a:cubicBezTo>
                    <a:pt x="742640" y="70920"/>
                    <a:pt x="736226" y="70018"/>
                    <a:pt x="729913" y="69116"/>
                  </a:cubicBezTo>
                  <a:lnTo>
                    <a:pt x="716734" y="79339"/>
                  </a:lnTo>
                  <a:cubicBezTo>
                    <a:pt x="709268" y="85151"/>
                    <a:pt x="701851" y="90914"/>
                    <a:pt x="694334" y="96727"/>
                  </a:cubicBezTo>
                  <a:cubicBezTo>
                    <a:pt x="694885" y="109054"/>
                    <a:pt x="695988" y="120178"/>
                    <a:pt x="701350" y="130451"/>
                  </a:cubicBezTo>
                  <a:lnTo>
                    <a:pt x="717987" y="135913"/>
                  </a:lnTo>
                  <a:lnTo>
                    <a:pt x="718187" y="137617"/>
                  </a:lnTo>
                  <a:cubicBezTo>
                    <a:pt x="719540" y="149092"/>
                    <a:pt x="723398" y="155857"/>
                    <a:pt x="731516" y="160918"/>
                  </a:cubicBezTo>
                  <a:cubicBezTo>
                    <a:pt x="736627" y="164125"/>
                    <a:pt x="739634" y="170038"/>
                    <a:pt x="742540" y="175801"/>
                  </a:cubicBezTo>
                  <a:cubicBezTo>
                    <a:pt x="743442" y="177555"/>
                    <a:pt x="744345" y="179309"/>
                    <a:pt x="745296" y="180962"/>
                  </a:cubicBezTo>
                  <a:cubicBezTo>
                    <a:pt x="746399" y="182866"/>
                    <a:pt x="746148" y="185222"/>
                    <a:pt x="745948" y="187076"/>
                  </a:cubicBezTo>
                  <a:cubicBezTo>
                    <a:pt x="745898" y="187677"/>
                    <a:pt x="745797" y="188278"/>
                    <a:pt x="745797" y="188829"/>
                  </a:cubicBezTo>
                  <a:lnTo>
                    <a:pt x="745797" y="190683"/>
                  </a:lnTo>
                  <a:lnTo>
                    <a:pt x="744044" y="191335"/>
                  </a:lnTo>
                  <a:cubicBezTo>
                    <a:pt x="739183" y="193189"/>
                    <a:pt x="734773" y="194893"/>
                    <a:pt x="731366" y="196146"/>
                  </a:cubicBezTo>
                  <a:lnTo>
                    <a:pt x="726405" y="216440"/>
                  </a:lnTo>
                  <a:cubicBezTo>
                    <a:pt x="722296" y="233227"/>
                    <a:pt x="718337" y="249362"/>
                    <a:pt x="714428" y="265498"/>
                  </a:cubicBezTo>
                  <a:cubicBezTo>
                    <a:pt x="714128" y="266851"/>
                    <a:pt x="713727" y="268204"/>
                    <a:pt x="713376" y="269557"/>
                  </a:cubicBezTo>
                  <a:cubicBezTo>
                    <a:pt x="712174" y="274167"/>
                    <a:pt x="710921" y="278877"/>
                    <a:pt x="711271" y="283187"/>
                  </a:cubicBezTo>
                  <a:cubicBezTo>
                    <a:pt x="712675" y="299172"/>
                    <a:pt x="714929" y="315407"/>
                    <a:pt x="717084" y="331092"/>
                  </a:cubicBezTo>
                  <a:lnTo>
                    <a:pt x="718137" y="338859"/>
                  </a:lnTo>
                  <a:cubicBezTo>
                    <a:pt x="718137" y="338859"/>
                    <a:pt x="718337" y="339060"/>
                    <a:pt x="718488" y="339160"/>
                  </a:cubicBezTo>
                  <a:cubicBezTo>
                    <a:pt x="718738" y="338508"/>
                    <a:pt x="718989" y="337857"/>
                    <a:pt x="719239" y="337205"/>
                  </a:cubicBezTo>
                  <a:cubicBezTo>
                    <a:pt x="720792" y="333146"/>
                    <a:pt x="722246" y="329288"/>
                    <a:pt x="723348" y="325329"/>
                  </a:cubicBezTo>
                  <a:cubicBezTo>
                    <a:pt x="725202" y="318765"/>
                    <a:pt x="726906" y="312100"/>
                    <a:pt x="728610" y="305486"/>
                  </a:cubicBezTo>
                  <a:cubicBezTo>
                    <a:pt x="731767" y="293209"/>
                    <a:pt x="735074" y="280531"/>
                    <a:pt x="739083" y="268254"/>
                  </a:cubicBezTo>
                  <a:cubicBezTo>
                    <a:pt x="743242" y="255626"/>
                    <a:pt x="748854" y="243299"/>
                    <a:pt x="754266" y="231423"/>
                  </a:cubicBezTo>
                  <a:lnTo>
                    <a:pt x="757373" y="224558"/>
                  </a:lnTo>
                  <a:cubicBezTo>
                    <a:pt x="761933" y="214386"/>
                    <a:pt x="770502" y="210176"/>
                    <a:pt x="781375" y="212732"/>
                  </a:cubicBezTo>
                  <a:lnTo>
                    <a:pt x="783229" y="213183"/>
                  </a:lnTo>
                  <a:lnTo>
                    <a:pt x="783430" y="215087"/>
                  </a:lnTo>
                  <a:cubicBezTo>
                    <a:pt x="786587" y="244001"/>
                    <a:pt x="771053" y="396786"/>
                    <a:pt x="759628" y="448650"/>
                  </a:cubicBezTo>
                  <a:cubicBezTo>
                    <a:pt x="759477" y="449302"/>
                    <a:pt x="759378" y="449953"/>
                    <a:pt x="759277" y="450604"/>
                  </a:cubicBezTo>
                  <a:cubicBezTo>
                    <a:pt x="758626" y="454614"/>
                    <a:pt x="757673" y="460075"/>
                    <a:pt x="750107" y="462531"/>
                  </a:cubicBezTo>
                  <a:lnTo>
                    <a:pt x="747952" y="463232"/>
                  </a:lnTo>
                  <a:lnTo>
                    <a:pt x="746900" y="461228"/>
                  </a:lnTo>
                  <a:cubicBezTo>
                    <a:pt x="746098" y="459674"/>
                    <a:pt x="745296" y="458071"/>
                    <a:pt x="744545" y="456417"/>
                  </a:cubicBezTo>
                  <a:cubicBezTo>
                    <a:pt x="742891" y="452910"/>
                    <a:pt x="741188" y="449302"/>
                    <a:pt x="738932" y="446446"/>
                  </a:cubicBezTo>
                  <a:cubicBezTo>
                    <a:pt x="737629" y="444792"/>
                    <a:pt x="735174" y="443589"/>
                    <a:pt x="732418" y="442136"/>
                  </a:cubicBezTo>
                  <a:cubicBezTo>
                    <a:pt x="731667" y="441735"/>
                    <a:pt x="730865" y="441334"/>
                    <a:pt x="730113" y="440933"/>
                  </a:cubicBezTo>
                  <a:lnTo>
                    <a:pt x="726104" y="449001"/>
                  </a:lnTo>
                  <a:cubicBezTo>
                    <a:pt x="721444" y="458322"/>
                    <a:pt x="717084" y="467041"/>
                    <a:pt x="712875" y="475810"/>
                  </a:cubicBezTo>
                  <a:cubicBezTo>
                    <a:pt x="712524" y="476561"/>
                    <a:pt x="712474" y="477814"/>
                    <a:pt x="712424" y="479368"/>
                  </a:cubicBezTo>
                  <a:cubicBezTo>
                    <a:pt x="712424" y="479669"/>
                    <a:pt x="712424" y="479919"/>
                    <a:pt x="712424" y="480220"/>
                  </a:cubicBezTo>
                  <a:lnTo>
                    <a:pt x="736978" y="484178"/>
                  </a:lnTo>
                  <a:lnTo>
                    <a:pt x="736978" y="486383"/>
                  </a:lnTo>
                  <a:cubicBezTo>
                    <a:pt x="737730" y="508983"/>
                    <a:pt x="735976" y="511288"/>
                    <a:pt x="710620" y="518153"/>
                  </a:cubicBezTo>
                  <a:cubicBezTo>
                    <a:pt x="707513" y="522462"/>
                    <a:pt x="704406" y="526722"/>
                    <a:pt x="701249" y="531031"/>
                  </a:cubicBezTo>
                  <a:cubicBezTo>
                    <a:pt x="693132" y="542106"/>
                    <a:pt x="684764" y="553581"/>
                    <a:pt x="676996" y="565206"/>
                  </a:cubicBezTo>
                  <a:cubicBezTo>
                    <a:pt x="669379" y="576632"/>
                    <a:pt x="659157" y="584599"/>
                    <a:pt x="644676" y="590261"/>
                  </a:cubicBezTo>
                  <a:cubicBezTo>
                    <a:pt x="629643" y="596175"/>
                    <a:pt x="614459" y="602589"/>
                    <a:pt x="599776" y="608752"/>
                  </a:cubicBezTo>
                  <a:cubicBezTo>
                    <a:pt x="587299" y="614014"/>
                    <a:pt x="574421" y="619425"/>
                    <a:pt x="561643" y="624587"/>
                  </a:cubicBezTo>
                  <a:cubicBezTo>
                    <a:pt x="552974" y="628045"/>
                    <a:pt x="548264" y="633005"/>
                    <a:pt x="546259" y="640722"/>
                  </a:cubicBezTo>
                  <a:cubicBezTo>
                    <a:pt x="545558" y="643479"/>
                    <a:pt x="544655" y="646435"/>
                    <a:pt x="543352" y="649993"/>
                  </a:cubicBezTo>
                  <a:cubicBezTo>
                    <a:pt x="540547" y="657710"/>
                    <a:pt x="538642" y="663623"/>
                    <a:pt x="537139" y="668333"/>
                  </a:cubicBezTo>
                  <a:cubicBezTo>
                    <a:pt x="531327" y="686323"/>
                    <a:pt x="530875" y="686824"/>
                    <a:pt x="512886" y="696896"/>
                  </a:cubicBezTo>
                  <a:cubicBezTo>
                    <a:pt x="508576" y="699301"/>
                    <a:pt x="503264" y="702308"/>
                    <a:pt x="496500" y="706316"/>
                  </a:cubicBezTo>
                  <a:lnTo>
                    <a:pt x="492942" y="708421"/>
                  </a:lnTo>
                  <a:cubicBezTo>
                    <a:pt x="477859" y="717391"/>
                    <a:pt x="462275" y="726661"/>
                    <a:pt x="443934" y="729367"/>
                  </a:cubicBezTo>
                  <a:cubicBezTo>
                    <a:pt x="435766" y="730570"/>
                    <a:pt x="430455" y="734528"/>
                    <a:pt x="426145" y="742546"/>
                  </a:cubicBezTo>
                  <a:cubicBezTo>
                    <a:pt x="423540" y="747357"/>
                    <a:pt x="419681" y="751315"/>
                    <a:pt x="415923" y="755124"/>
                  </a:cubicBezTo>
                  <a:cubicBezTo>
                    <a:pt x="414069" y="757028"/>
                    <a:pt x="412215" y="758932"/>
                    <a:pt x="410511" y="760936"/>
                  </a:cubicBezTo>
                  <a:cubicBezTo>
                    <a:pt x="402593" y="770207"/>
                    <a:pt x="393122" y="774466"/>
                    <a:pt x="381447" y="773965"/>
                  </a:cubicBezTo>
                  <a:cubicBezTo>
                    <a:pt x="372227" y="773564"/>
                    <a:pt x="361403" y="773965"/>
                    <a:pt x="351230" y="780329"/>
                  </a:cubicBezTo>
                  <a:cubicBezTo>
                    <a:pt x="343764" y="784939"/>
                    <a:pt x="334343" y="784388"/>
                    <a:pt x="325975" y="778876"/>
                  </a:cubicBezTo>
                  <a:lnTo>
                    <a:pt x="324923" y="778174"/>
                  </a:lnTo>
                  <a:lnTo>
                    <a:pt x="324672" y="776270"/>
                  </a:lnTo>
                  <a:cubicBezTo>
                    <a:pt x="324572" y="775569"/>
                    <a:pt x="324422" y="774717"/>
                    <a:pt x="324522" y="773815"/>
                  </a:cubicBezTo>
                  <a:lnTo>
                    <a:pt x="324622" y="772763"/>
                  </a:lnTo>
                  <a:cubicBezTo>
                    <a:pt x="324772" y="771359"/>
                    <a:pt x="324923" y="769806"/>
                    <a:pt x="325674" y="768403"/>
                  </a:cubicBezTo>
                  <a:cubicBezTo>
                    <a:pt x="334544" y="751466"/>
                    <a:pt x="331637" y="737986"/>
                    <a:pt x="316454" y="725909"/>
                  </a:cubicBezTo>
                  <a:cubicBezTo>
                    <a:pt x="302724" y="714935"/>
                    <a:pt x="295057" y="700704"/>
                    <a:pt x="293754" y="683567"/>
                  </a:cubicBezTo>
                  <a:cubicBezTo>
                    <a:pt x="293403" y="678806"/>
                    <a:pt x="291299" y="675048"/>
                    <a:pt x="286990" y="671340"/>
                  </a:cubicBezTo>
                  <a:lnTo>
                    <a:pt x="239134" y="630349"/>
                  </a:lnTo>
                  <a:cubicBezTo>
                    <a:pt x="237982" y="630349"/>
                    <a:pt x="237080" y="630349"/>
                    <a:pt x="236278" y="630249"/>
                  </a:cubicBezTo>
                  <a:cubicBezTo>
                    <a:pt x="234975" y="630199"/>
                    <a:pt x="234173" y="630149"/>
                    <a:pt x="233622" y="630249"/>
                  </a:cubicBezTo>
                  <a:cubicBezTo>
                    <a:pt x="213879" y="635110"/>
                    <a:pt x="211925" y="634208"/>
                    <a:pt x="203506" y="616619"/>
                  </a:cubicBezTo>
                  <a:lnTo>
                    <a:pt x="203105" y="615717"/>
                  </a:lnTo>
                  <a:cubicBezTo>
                    <a:pt x="200800" y="610907"/>
                    <a:pt x="198445" y="605946"/>
                    <a:pt x="197292" y="600684"/>
                  </a:cubicBezTo>
                  <a:cubicBezTo>
                    <a:pt x="194336" y="587305"/>
                    <a:pt x="184966" y="580089"/>
                    <a:pt x="175344" y="574326"/>
                  </a:cubicBezTo>
                  <a:cubicBezTo>
                    <a:pt x="164520" y="567812"/>
                    <a:pt x="153897" y="560596"/>
                    <a:pt x="143624" y="553631"/>
                  </a:cubicBezTo>
                  <a:cubicBezTo>
                    <a:pt x="137110" y="549221"/>
                    <a:pt x="130596" y="544762"/>
                    <a:pt x="123981" y="540502"/>
                  </a:cubicBezTo>
                  <a:cubicBezTo>
                    <a:pt x="111805" y="532635"/>
                    <a:pt x="104238" y="522462"/>
                    <a:pt x="100930" y="509384"/>
                  </a:cubicBezTo>
                  <a:cubicBezTo>
                    <a:pt x="100730" y="508632"/>
                    <a:pt x="100580" y="507880"/>
                    <a:pt x="100379" y="507079"/>
                  </a:cubicBezTo>
                  <a:cubicBezTo>
                    <a:pt x="99327" y="502368"/>
                    <a:pt x="98375" y="498259"/>
                    <a:pt x="93514" y="495754"/>
                  </a:cubicBezTo>
                  <a:cubicBezTo>
                    <a:pt x="91811" y="497006"/>
                    <a:pt x="90006" y="498360"/>
                    <a:pt x="88203" y="499662"/>
                  </a:cubicBezTo>
                  <a:cubicBezTo>
                    <a:pt x="84394" y="502469"/>
                    <a:pt x="80486" y="505375"/>
                    <a:pt x="76627" y="508331"/>
                  </a:cubicBezTo>
                  <a:cubicBezTo>
                    <a:pt x="71666" y="512140"/>
                    <a:pt x="66756" y="515948"/>
                    <a:pt x="61794" y="519757"/>
                  </a:cubicBezTo>
                  <a:cubicBezTo>
                    <a:pt x="53627" y="526070"/>
                    <a:pt x="45459" y="532384"/>
                    <a:pt x="37191" y="538598"/>
                  </a:cubicBezTo>
                  <a:cubicBezTo>
                    <a:pt x="25715" y="547217"/>
                    <a:pt x="24463" y="547818"/>
                    <a:pt x="10081" y="546666"/>
                  </a:cubicBezTo>
                  <a:cubicBezTo>
                    <a:pt x="10081" y="546866"/>
                    <a:pt x="10031" y="547066"/>
                    <a:pt x="9981" y="547217"/>
                  </a:cubicBezTo>
                  <a:cubicBezTo>
                    <a:pt x="9680" y="549221"/>
                    <a:pt x="9380" y="551175"/>
                    <a:pt x="9329" y="553080"/>
                  </a:cubicBezTo>
                  <a:lnTo>
                    <a:pt x="9229" y="555986"/>
                  </a:lnTo>
                  <a:cubicBezTo>
                    <a:pt x="8928" y="568063"/>
                    <a:pt x="8578" y="580540"/>
                    <a:pt x="1613" y="592917"/>
                  </a:cubicBezTo>
                  <a:cubicBezTo>
                    <a:pt x="-2046" y="599432"/>
                    <a:pt x="1161" y="605395"/>
                    <a:pt x="4869" y="612310"/>
                  </a:cubicBezTo>
                  <a:cubicBezTo>
                    <a:pt x="8127" y="618323"/>
                    <a:pt x="11484" y="624587"/>
                    <a:pt x="10682" y="631903"/>
                  </a:cubicBezTo>
                  <a:cubicBezTo>
                    <a:pt x="10732" y="632855"/>
                    <a:pt x="13589" y="635411"/>
                    <a:pt x="15092" y="636814"/>
                  </a:cubicBezTo>
                  <a:cubicBezTo>
                    <a:pt x="16345" y="637966"/>
                    <a:pt x="17598" y="639119"/>
                    <a:pt x="18600" y="640221"/>
                  </a:cubicBezTo>
                  <a:cubicBezTo>
                    <a:pt x="18650" y="640221"/>
                    <a:pt x="19001" y="640422"/>
                    <a:pt x="19251" y="640572"/>
                  </a:cubicBezTo>
                  <a:lnTo>
                    <a:pt x="19852" y="640873"/>
                  </a:lnTo>
                  <a:cubicBezTo>
                    <a:pt x="31779" y="647337"/>
                    <a:pt x="43655" y="653851"/>
                    <a:pt x="55531" y="660415"/>
                  </a:cubicBezTo>
                  <a:cubicBezTo>
                    <a:pt x="83192" y="675649"/>
                    <a:pt x="111855" y="691434"/>
                    <a:pt x="140618" y="705615"/>
                  </a:cubicBezTo>
                  <a:lnTo>
                    <a:pt x="144526" y="707569"/>
                  </a:lnTo>
                  <a:cubicBezTo>
                    <a:pt x="163768" y="717040"/>
                    <a:pt x="183663" y="726862"/>
                    <a:pt x="205460" y="730770"/>
                  </a:cubicBezTo>
                  <a:cubicBezTo>
                    <a:pt x="216134" y="732674"/>
                    <a:pt x="228661" y="735881"/>
                    <a:pt x="240588" y="745152"/>
                  </a:cubicBezTo>
                  <a:lnTo>
                    <a:pt x="241590" y="745953"/>
                  </a:lnTo>
                  <a:lnTo>
                    <a:pt x="241590" y="747256"/>
                  </a:lnTo>
                  <a:cubicBezTo>
                    <a:pt x="241690" y="751215"/>
                    <a:pt x="241790" y="755224"/>
                    <a:pt x="241941" y="759283"/>
                  </a:cubicBezTo>
                  <a:cubicBezTo>
                    <a:pt x="242191" y="768152"/>
                    <a:pt x="242492" y="777373"/>
                    <a:pt x="242291" y="786543"/>
                  </a:cubicBezTo>
                  <a:cubicBezTo>
                    <a:pt x="242091" y="796565"/>
                    <a:pt x="244696" y="803981"/>
                    <a:pt x="250660" y="810646"/>
                  </a:cubicBezTo>
                  <a:cubicBezTo>
                    <a:pt x="262235" y="823674"/>
                    <a:pt x="274362" y="837805"/>
                    <a:pt x="287691" y="853841"/>
                  </a:cubicBezTo>
                  <a:cubicBezTo>
                    <a:pt x="292902" y="860155"/>
                    <a:pt x="299367" y="863913"/>
                    <a:pt x="308086" y="865767"/>
                  </a:cubicBezTo>
                  <a:cubicBezTo>
                    <a:pt x="317106" y="867671"/>
                    <a:pt x="326075" y="869675"/>
                    <a:pt x="335095" y="871680"/>
                  </a:cubicBezTo>
                  <a:cubicBezTo>
                    <a:pt x="345318" y="873985"/>
                    <a:pt x="355540" y="876240"/>
                    <a:pt x="365813" y="878345"/>
                  </a:cubicBezTo>
                  <a:cubicBezTo>
                    <a:pt x="370774" y="879347"/>
                    <a:pt x="376386" y="880199"/>
                    <a:pt x="380846" y="878996"/>
                  </a:cubicBezTo>
                  <a:cubicBezTo>
                    <a:pt x="389164" y="876741"/>
                    <a:pt x="397683" y="874837"/>
                    <a:pt x="405901" y="872983"/>
                  </a:cubicBezTo>
                  <a:cubicBezTo>
                    <a:pt x="423289" y="869124"/>
                    <a:pt x="441278" y="865166"/>
                    <a:pt x="457664" y="857398"/>
                  </a:cubicBezTo>
                  <a:cubicBezTo>
                    <a:pt x="467536" y="852688"/>
                    <a:pt x="477608" y="851987"/>
                    <a:pt x="489284" y="855194"/>
                  </a:cubicBezTo>
                  <a:cubicBezTo>
                    <a:pt x="506271" y="859804"/>
                    <a:pt x="523258" y="863762"/>
                    <a:pt x="539695" y="867621"/>
                  </a:cubicBezTo>
                  <a:cubicBezTo>
                    <a:pt x="541198" y="867972"/>
                    <a:pt x="542701" y="868323"/>
                    <a:pt x="544205" y="868723"/>
                  </a:cubicBezTo>
                  <a:cubicBezTo>
                    <a:pt x="549416" y="870076"/>
                    <a:pt x="554778" y="871429"/>
                    <a:pt x="559588" y="870878"/>
                  </a:cubicBezTo>
                  <a:cubicBezTo>
                    <a:pt x="561743" y="870627"/>
                    <a:pt x="563848" y="870527"/>
                    <a:pt x="565902" y="870527"/>
                  </a:cubicBezTo>
                  <a:cubicBezTo>
                    <a:pt x="583241" y="870527"/>
                    <a:pt x="596870" y="879096"/>
                    <a:pt x="609047" y="888517"/>
                  </a:cubicBezTo>
                  <a:cubicBezTo>
                    <a:pt x="614409" y="892726"/>
                    <a:pt x="619420" y="897436"/>
                    <a:pt x="624280" y="901996"/>
                  </a:cubicBezTo>
                  <a:lnTo>
                    <a:pt x="625132" y="902798"/>
                  </a:lnTo>
                  <a:cubicBezTo>
                    <a:pt x="629392" y="906807"/>
                    <a:pt x="633351" y="908661"/>
                    <a:pt x="638011" y="908811"/>
                  </a:cubicBezTo>
                  <a:cubicBezTo>
                    <a:pt x="642872" y="908962"/>
                    <a:pt x="647782" y="909313"/>
                    <a:pt x="652943" y="909663"/>
                  </a:cubicBezTo>
                  <a:lnTo>
                    <a:pt x="656652" y="909914"/>
                  </a:lnTo>
                  <a:cubicBezTo>
                    <a:pt x="656752" y="909062"/>
                    <a:pt x="656902" y="908260"/>
                    <a:pt x="657002" y="907459"/>
                  </a:cubicBezTo>
                  <a:cubicBezTo>
                    <a:pt x="657453" y="904502"/>
                    <a:pt x="657804" y="902147"/>
                    <a:pt x="657654" y="899942"/>
                  </a:cubicBezTo>
                  <a:cubicBezTo>
                    <a:pt x="656552" y="887615"/>
                    <a:pt x="662665" y="878695"/>
                    <a:pt x="668578" y="870076"/>
                  </a:cubicBezTo>
                  <a:cubicBezTo>
                    <a:pt x="670332" y="867521"/>
                    <a:pt x="672086" y="864965"/>
                    <a:pt x="673639" y="862309"/>
                  </a:cubicBezTo>
                  <a:cubicBezTo>
                    <a:pt x="678650" y="853841"/>
                    <a:pt x="686467" y="852939"/>
                    <a:pt x="693382" y="852137"/>
                  </a:cubicBezTo>
                  <a:cubicBezTo>
                    <a:pt x="695036" y="851936"/>
                    <a:pt x="696690" y="851736"/>
                    <a:pt x="698343" y="85143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39" name="Полилиния: фигура 38">
              <a:extLst>
                <a:ext uri="{FF2B5EF4-FFF2-40B4-BE49-F238E27FC236}">
                  <a16:creationId xmlns:a16="http://schemas.microsoft.com/office/drawing/2014/main" id="{1F7AEC1F-97C6-41DD-9EB4-760DCFBFFFE2}"/>
                </a:ext>
              </a:extLst>
            </p:cNvPr>
            <p:cNvSpPr/>
            <p:nvPr/>
          </p:nvSpPr>
          <p:spPr>
            <a:xfrm>
              <a:off x="4454961" y="4573863"/>
              <a:ext cx="820907" cy="685240"/>
            </a:xfrm>
            <a:custGeom>
              <a:avLst/>
              <a:gdLst>
                <a:gd name="connsiteX0" fmla="*/ 149358 w 658241"/>
                <a:gd name="connsiteY0" fmla="*/ 457205 h 549457"/>
                <a:gd name="connsiteX1" fmla="*/ 166997 w 658241"/>
                <a:gd name="connsiteY1" fmla="*/ 462967 h 549457"/>
                <a:gd name="connsiteX2" fmla="*/ 174012 w 658241"/>
                <a:gd name="connsiteY2" fmla="*/ 463318 h 549457"/>
                <a:gd name="connsiteX3" fmla="*/ 204379 w 658241"/>
                <a:gd name="connsiteY3" fmla="*/ 469231 h 549457"/>
                <a:gd name="connsiteX4" fmla="*/ 246521 w 658241"/>
                <a:gd name="connsiteY4" fmla="*/ 464020 h 549457"/>
                <a:gd name="connsiteX5" fmla="*/ 252384 w 658241"/>
                <a:gd name="connsiteY5" fmla="*/ 460712 h 549457"/>
                <a:gd name="connsiteX6" fmla="*/ 253437 w 658241"/>
                <a:gd name="connsiteY6" fmla="*/ 460262 h 549457"/>
                <a:gd name="connsiteX7" fmla="*/ 361875 w 658241"/>
                <a:gd name="connsiteY7" fmla="*/ 418720 h 549457"/>
                <a:gd name="connsiteX8" fmla="*/ 366385 w 658241"/>
                <a:gd name="connsiteY8" fmla="*/ 418119 h 549457"/>
                <a:gd name="connsiteX9" fmla="*/ 370093 w 658241"/>
                <a:gd name="connsiteY9" fmla="*/ 418319 h 549457"/>
                <a:gd name="connsiteX10" fmla="*/ 371646 w 658241"/>
                <a:gd name="connsiteY10" fmla="*/ 418419 h 549457"/>
                <a:gd name="connsiteX11" fmla="*/ 373450 w 658241"/>
                <a:gd name="connsiteY11" fmla="*/ 418419 h 549457"/>
                <a:gd name="connsiteX12" fmla="*/ 374152 w 658241"/>
                <a:gd name="connsiteY12" fmla="*/ 420123 h 549457"/>
                <a:gd name="connsiteX13" fmla="*/ 379313 w 658241"/>
                <a:gd name="connsiteY13" fmla="*/ 433152 h 549457"/>
                <a:gd name="connsiteX14" fmla="*/ 390688 w 658241"/>
                <a:gd name="connsiteY14" fmla="*/ 460562 h 549457"/>
                <a:gd name="connsiteX15" fmla="*/ 390889 w 658241"/>
                <a:gd name="connsiteY15" fmla="*/ 461063 h 549457"/>
                <a:gd name="connsiteX16" fmla="*/ 414390 w 658241"/>
                <a:gd name="connsiteY16" fmla="*/ 494887 h 549457"/>
                <a:gd name="connsiteX17" fmla="*/ 416345 w 658241"/>
                <a:gd name="connsiteY17" fmla="*/ 496241 h 549457"/>
                <a:gd name="connsiteX18" fmla="*/ 415242 w 658241"/>
                <a:gd name="connsiteY18" fmla="*/ 498345 h 549457"/>
                <a:gd name="connsiteX19" fmla="*/ 414641 w 658241"/>
                <a:gd name="connsiteY19" fmla="*/ 518339 h 549457"/>
                <a:gd name="connsiteX20" fmla="*/ 423410 w 658241"/>
                <a:gd name="connsiteY20" fmla="*/ 531067 h 549457"/>
                <a:gd name="connsiteX21" fmla="*/ 430676 w 658241"/>
                <a:gd name="connsiteY21" fmla="*/ 541791 h 549457"/>
                <a:gd name="connsiteX22" fmla="*/ 436940 w 658241"/>
                <a:gd name="connsiteY22" fmla="*/ 547603 h 549457"/>
                <a:gd name="connsiteX23" fmla="*/ 439245 w 658241"/>
                <a:gd name="connsiteY23" fmla="*/ 549457 h 549457"/>
                <a:gd name="connsiteX24" fmla="*/ 506643 w 658241"/>
                <a:gd name="connsiteY24" fmla="*/ 502254 h 549457"/>
                <a:gd name="connsiteX25" fmla="*/ 510451 w 658241"/>
                <a:gd name="connsiteY25" fmla="*/ 500199 h 549457"/>
                <a:gd name="connsiteX26" fmla="*/ 511654 w 658241"/>
                <a:gd name="connsiteY26" fmla="*/ 500700 h 549457"/>
                <a:gd name="connsiteX27" fmla="*/ 513308 w 658241"/>
                <a:gd name="connsiteY27" fmla="*/ 501352 h 549457"/>
                <a:gd name="connsiteX28" fmla="*/ 515913 w 658241"/>
                <a:gd name="connsiteY28" fmla="*/ 502855 h 549457"/>
                <a:gd name="connsiteX29" fmla="*/ 520323 w 658241"/>
                <a:gd name="connsiteY29" fmla="*/ 507966 h 549457"/>
                <a:gd name="connsiteX30" fmla="*/ 520924 w 658241"/>
                <a:gd name="connsiteY30" fmla="*/ 507515 h 549457"/>
                <a:gd name="connsiteX31" fmla="*/ 540518 w 658241"/>
                <a:gd name="connsiteY31" fmla="*/ 500851 h 549457"/>
                <a:gd name="connsiteX32" fmla="*/ 565873 w 658241"/>
                <a:gd name="connsiteY32" fmla="*/ 492733 h 549457"/>
                <a:gd name="connsiteX33" fmla="*/ 567026 w 658241"/>
                <a:gd name="connsiteY33" fmla="*/ 491730 h 549457"/>
                <a:gd name="connsiteX34" fmla="*/ 568479 w 658241"/>
                <a:gd name="connsiteY34" fmla="*/ 492232 h 549457"/>
                <a:gd name="connsiteX35" fmla="*/ 571636 w 658241"/>
                <a:gd name="connsiteY35" fmla="*/ 493184 h 549457"/>
                <a:gd name="connsiteX36" fmla="*/ 576897 w 658241"/>
                <a:gd name="connsiteY36" fmla="*/ 495188 h 549457"/>
                <a:gd name="connsiteX37" fmla="*/ 612225 w 658241"/>
                <a:gd name="connsiteY37" fmla="*/ 490729 h 549457"/>
                <a:gd name="connsiteX38" fmla="*/ 626105 w 658241"/>
                <a:gd name="connsiteY38" fmla="*/ 481107 h 549457"/>
                <a:gd name="connsiteX39" fmla="*/ 647903 w 658241"/>
                <a:gd name="connsiteY39" fmla="*/ 453897 h 549457"/>
                <a:gd name="connsiteX40" fmla="*/ 651812 w 658241"/>
                <a:gd name="connsiteY40" fmla="*/ 446481 h 549457"/>
                <a:gd name="connsiteX41" fmla="*/ 648755 w 658241"/>
                <a:gd name="connsiteY41" fmla="*/ 425235 h 549457"/>
                <a:gd name="connsiteX42" fmla="*/ 645348 w 658241"/>
                <a:gd name="connsiteY42" fmla="*/ 417367 h 549457"/>
                <a:gd name="connsiteX43" fmla="*/ 645097 w 658241"/>
                <a:gd name="connsiteY43" fmla="*/ 414411 h 549457"/>
                <a:gd name="connsiteX44" fmla="*/ 645147 w 658241"/>
                <a:gd name="connsiteY44" fmla="*/ 411254 h 549457"/>
                <a:gd name="connsiteX45" fmla="*/ 645147 w 658241"/>
                <a:gd name="connsiteY45" fmla="*/ 410652 h 549457"/>
                <a:gd name="connsiteX46" fmla="*/ 656472 w 658241"/>
                <a:gd name="connsiteY46" fmla="*/ 387001 h 549457"/>
                <a:gd name="connsiteX47" fmla="*/ 656773 w 658241"/>
                <a:gd name="connsiteY47" fmla="*/ 373421 h 549457"/>
                <a:gd name="connsiteX48" fmla="*/ 653566 w 658241"/>
                <a:gd name="connsiteY48" fmla="*/ 358087 h 549457"/>
                <a:gd name="connsiteX49" fmla="*/ 653165 w 658241"/>
                <a:gd name="connsiteY49" fmla="*/ 354529 h 549457"/>
                <a:gd name="connsiteX50" fmla="*/ 652714 w 658241"/>
                <a:gd name="connsiteY50" fmla="*/ 347413 h 549457"/>
                <a:gd name="connsiteX51" fmla="*/ 651862 w 658241"/>
                <a:gd name="connsiteY51" fmla="*/ 338344 h 549457"/>
                <a:gd name="connsiteX52" fmla="*/ 648856 w 658241"/>
                <a:gd name="connsiteY52" fmla="*/ 328722 h 549457"/>
                <a:gd name="connsiteX53" fmla="*/ 645147 w 658241"/>
                <a:gd name="connsiteY53" fmla="*/ 315493 h 549457"/>
                <a:gd name="connsiteX54" fmla="*/ 644696 w 658241"/>
                <a:gd name="connsiteY54" fmla="*/ 297504 h 549457"/>
                <a:gd name="connsiteX55" fmla="*/ 644847 w 658241"/>
                <a:gd name="connsiteY55" fmla="*/ 291591 h 549457"/>
                <a:gd name="connsiteX56" fmla="*/ 640487 w 658241"/>
                <a:gd name="connsiteY56" fmla="*/ 291240 h 549457"/>
                <a:gd name="connsiteX57" fmla="*/ 627659 w 658241"/>
                <a:gd name="connsiteY57" fmla="*/ 290338 h 549457"/>
                <a:gd name="connsiteX58" fmla="*/ 613478 w 658241"/>
                <a:gd name="connsiteY58" fmla="*/ 290288 h 549457"/>
                <a:gd name="connsiteX59" fmla="*/ 608968 w 658241"/>
                <a:gd name="connsiteY59" fmla="*/ 290288 h 549457"/>
                <a:gd name="connsiteX60" fmla="*/ 604308 w 658241"/>
                <a:gd name="connsiteY60" fmla="*/ 298105 h 549457"/>
                <a:gd name="connsiteX61" fmla="*/ 592381 w 658241"/>
                <a:gd name="connsiteY61" fmla="*/ 311585 h 549457"/>
                <a:gd name="connsiteX62" fmla="*/ 589475 w 658241"/>
                <a:gd name="connsiteY62" fmla="*/ 312938 h 549457"/>
                <a:gd name="connsiteX63" fmla="*/ 563568 w 658241"/>
                <a:gd name="connsiteY63" fmla="*/ 315293 h 549457"/>
                <a:gd name="connsiteX64" fmla="*/ 562917 w 658241"/>
                <a:gd name="connsiteY64" fmla="*/ 314942 h 549457"/>
                <a:gd name="connsiteX65" fmla="*/ 549838 w 658241"/>
                <a:gd name="connsiteY65" fmla="*/ 291591 h 549457"/>
                <a:gd name="connsiteX66" fmla="*/ 551091 w 658241"/>
                <a:gd name="connsiteY66" fmla="*/ 290138 h 549457"/>
                <a:gd name="connsiteX67" fmla="*/ 554649 w 658241"/>
                <a:gd name="connsiteY67" fmla="*/ 286179 h 549457"/>
                <a:gd name="connsiteX68" fmla="*/ 563267 w 658241"/>
                <a:gd name="connsiteY68" fmla="*/ 276057 h 549457"/>
                <a:gd name="connsiteX69" fmla="*/ 567777 w 658241"/>
                <a:gd name="connsiteY69" fmla="*/ 267287 h 549457"/>
                <a:gd name="connsiteX70" fmla="*/ 568228 w 658241"/>
                <a:gd name="connsiteY70" fmla="*/ 257065 h 549457"/>
                <a:gd name="connsiteX71" fmla="*/ 566023 w 658241"/>
                <a:gd name="connsiteY71" fmla="*/ 217829 h 549457"/>
                <a:gd name="connsiteX72" fmla="*/ 562215 w 658241"/>
                <a:gd name="connsiteY72" fmla="*/ 217528 h 549457"/>
                <a:gd name="connsiteX73" fmla="*/ 553145 w 658241"/>
                <a:gd name="connsiteY73" fmla="*/ 217979 h 549457"/>
                <a:gd name="connsiteX74" fmla="*/ 544226 w 658241"/>
                <a:gd name="connsiteY74" fmla="*/ 227500 h 549457"/>
                <a:gd name="connsiteX75" fmla="*/ 539916 w 658241"/>
                <a:gd name="connsiteY75" fmla="*/ 233062 h 549457"/>
                <a:gd name="connsiteX76" fmla="*/ 538062 w 658241"/>
                <a:gd name="connsiteY76" fmla="*/ 235267 h 549457"/>
                <a:gd name="connsiteX77" fmla="*/ 536007 w 658241"/>
                <a:gd name="connsiteY77" fmla="*/ 233213 h 549457"/>
                <a:gd name="connsiteX78" fmla="*/ 509449 w 658241"/>
                <a:gd name="connsiteY78" fmla="*/ 225546 h 549457"/>
                <a:gd name="connsiteX79" fmla="*/ 485547 w 658241"/>
                <a:gd name="connsiteY79" fmla="*/ 225395 h 549457"/>
                <a:gd name="connsiteX80" fmla="*/ 474171 w 658241"/>
                <a:gd name="connsiteY80" fmla="*/ 223391 h 549457"/>
                <a:gd name="connsiteX81" fmla="*/ 469662 w 658241"/>
                <a:gd name="connsiteY81" fmla="*/ 222389 h 549457"/>
                <a:gd name="connsiteX82" fmla="*/ 468058 w 658241"/>
                <a:gd name="connsiteY82" fmla="*/ 222088 h 549457"/>
                <a:gd name="connsiteX83" fmla="*/ 457736 w 658241"/>
                <a:gd name="connsiteY83" fmla="*/ 187212 h 549457"/>
                <a:gd name="connsiteX84" fmla="*/ 444256 w 658241"/>
                <a:gd name="connsiteY84" fmla="*/ 185057 h 549457"/>
                <a:gd name="connsiteX85" fmla="*/ 411334 w 658241"/>
                <a:gd name="connsiteY85" fmla="*/ 180396 h 549457"/>
                <a:gd name="connsiteX86" fmla="*/ 384876 w 658241"/>
                <a:gd name="connsiteY86" fmla="*/ 163209 h 549457"/>
                <a:gd name="connsiteX87" fmla="*/ 369041 w 658241"/>
                <a:gd name="connsiteY87" fmla="*/ 137352 h 549457"/>
                <a:gd name="connsiteX88" fmla="*/ 355160 w 658241"/>
                <a:gd name="connsiteY88" fmla="*/ 114903 h 549457"/>
                <a:gd name="connsiteX89" fmla="*/ 334515 w 658241"/>
                <a:gd name="connsiteY89" fmla="*/ 94909 h 549457"/>
                <a:gd name="connsiteX90" fmla="*/ 291170 w 658241"/>
                <a:gd name="connsiteY90" fmla="*/ 70405 h 549457"/>
                <a:gd name="connsiteX91" fmla="*/ 280496 w 658241"/>
                <a:gd name="connsiteY91" fmla="*/ 58930 h 549457"/>
                <a:gd name="connsiteX92" fmla="*/ 270624 w 658241"/>
                <a:gd name="connsiteY92" fmla="*/ 49359 h 549457"/>
                <a:gd name="connsiteX93" fmla="*/ 269923 w 658241"/>
                <a:gd name="connsiteY93" fmla="*/ 49108 h 549457"/>
                <a:gd name="connsiteX94" fmla="*/ 200520 w 658241"/>
                <a:gd name="connsiteY94" fmla="*/ 25606 h 549457"/>
                <a:gd name="connsiteX95" fmla="*/ 149659 w 658241"/>
                <a:gd name="connsiteY95" fmla="*/ 0 h 549457"/>
                <a:gd name="connsiteX96" fmla="*/ 148306 w 658241"/>
                <a:gd name="connsiteY96" fmla="*/ 100 h 549457"/>
                <a:gd name="connsiteX97" fmla="*/ 147354 w 658241"/>
                <a:gd name="connsiteY97" fmla="*/ 201 h 549457"/>
                <a:gd name="connsiteX98" fmla="*/ 132020 w 658241"/>
                <a:gd name="connsiteY98" fmla="*/ 52666 h 549457"/>
                <a:gd name="connsiteX99" fmla="*/ 131820 w 658241"/>
                <a:gd name="connsiteY99" fmla="*/ 53768 h 549457"/>
                <a:gd name="connsiteX100" fmla="*/ 124153 w 658241"/>
                <a:gd name="connsiteY100" fmla="*/ 59180 h 549457"/>
                <a:gd name="connsiteX101" fmla="*/ 113178 w 658241"/>
                <a:gd name="connsiteY101" fmla="*/ 89146 h 549457"/>
                <a:gd name="connsiteX102" fmla="*/ 111224 w 658241"/>
                <a:gd name="connsiteY102" fmla="*/ 119513 h 549457"/>
                <a:gd name="connsiteX103" fmla="*/ 110523 w 658241"/>
                <a:gd name="connsiteY103" fmla="*/ 120665 h 549457"/>
                <a:gd name="connsiteX104" fmla="*/ 109170 w 658241"/>
                <a:gd name="connsiteY104" fmla="*/ 120816 h 549457"/>
                <a:gd name="connsiteX105" fmla="*/ 103758 w 658241"/>
                <a:gd name="connsiteY105" fmla="*/ 121467 h 549457"/>
                <a:gd name="connsiteX106" fmla="*/ 90629 w 658241"/>
                <a:gd name="connsiteY106" fmla="*/ 122369 h 549457"/>
                <a:gd name="connsiteX107" fmla="*/ 48386 w 658241"/>
                <a:gd name="connsiteY107" fmla="*/ 138956 h 549457"/>
                <a:gd name="connsiteX108" fmla="*/ 25385 w 658241"/>
                <a:gd name="connsiteY108" fmla="*/ 152335 h 549457"/>
                <a:gd name="connsiteX109" fmla="*/ 24684 w 658241"/>
                <a:gd name="connsiteY109" fmla="*/ 153537 h 549457"/>
                <a:gd name="connsiteX110" fmla="*/ 23882 w 658241"/>
                <a:gd name="connsiteY110" fmla="*/ 154891 h 549457"/>
                <a:gd name="connsiteX111" fmla="*/ 24433 w 658241"/>
                <a:gd name="connsiteY111" fmla="*/ 156193 h 549457"/>
                <a:gd name="connsiteX112" fmla="*/ 30747 w 658241"/>
                <a:gd name="connsiteY112" fmla="*/ 171727 h 549457"/>
                <a:gd name="connsiteX113" fmla="*/ 31349 w 658241"/>
                <a:gd name="connsiteY113" fmla="*/ 173281 h 549457"/>
                <a:gd name="connsiteX114" fmla="*/ 30246 w 658241"/>
                <a:gd name="connsiteY114" fmla="*/ 174534 h 549457"/>
                <a:gd name="connsiteX115" fmla="*/ 26238 w 658241"/>
                <a:gd name="connsiteY115" fmla="*/ 178893 h 549457"/>
                <a:gd name="connsiteX116" fmla="*/ 18971 w 658241"/>
                <a:gd name="connsiteY116" fmla="*/ 187262 h 549457"/>
                <a:gd name="connsiteX117" fmla="*/ 18671 w 658241"/>
                <a:gd name="connsiteY117" fmla="*/ 187713 h 549457"/>
                <a:gd name="connsiteX118" fmla="*/ 11455 w 658241"/>
                <a:gd name="connsiteY118" fmla="*/ 200591 h 549457"/>
                <a:gd name="connsiteX119" fmla="*/ 13359 w 658241"/>
                <a:gd name="connsiteY119" fmla="*/ 255361 h 549457"/>
                <a:gd name="connsiteX120" fmla="*/ 16867 w 658241"/>
                <a:gd name="connsiteY120" fmla="*/ 264331 h 549457"/>
                <a:gd name="connsiteX121" fmla="*/ 18370 w 658241"/>
                <a:gd name="connsiteY121" fmla="*/ 269192 h 549457"/>
                <a:gd name="connsiteX122" fmla="*/ 13008 w 658241"/>
                <a:gd name="connsiteY122" fmla="*/ 306774 h 549457"/>
                <a:gd name="connsiteX123" fmla="*/ 30 w 658241"/>
                <a:gd name="connsiteY123" fmla="*/ 338945 h 549457"/>
                <a:gd name="connsiteX124" fmla="*/ 36360 w 658241"/>
                <a:gd name="connsiteY124" fmla="*/ 327470 h 549457"/>
                <a:gd name="connsiteX125" fmla="*/ 39517 w 658241"/>
                <a:gd name="connsiteY125" fmla="*/ 324664 h 549457"/>
                <a:gd name="connsiteX126" fmla="*/ 40719 w 658241"/>
                <a:gd name="connsiteY126" fmla="*/ 323611 h 549457"/>
                <a:gd name="connsiteX127" fmla="*/ 42223 w 658241"/>
                <a:gd name="connsiteY127" fmla="*/ 324162 h 549457"/>
                <a:gd name="connsiteX128" fmla="*/ 49038 w 658241"/>
                <a:gd name="connsiteY128" fmla="*/ 326818 h 549457"/>
                <a:gd name="connsiteX129" fmla="*/ 62417 w 658241"/>
                <a:gd name="connsiteY129" fmla="*/ 331378 h 549457"/>
                <a:gd name="connsiteX130" fmla="*/ 70685 w 658241"/>
                <a:gd name="connsiteY130" fmla="*/ 331979 h 549457"/>
                <a:gd name="connsiteX131" fmla="*/ 86770 w 658241"/>
                <a:gd name="connsiteY131" fmla="*/ 334635 h 549457"/>
                <a:gd name="connsiteX132" fmla="*/ 89226 w 658241"/>
                <a:gd name="connsiteY132" fmla="*/ 335738 h 549457"/>
                <a:gd name="connsiteX133" fmla="*/ 88123 w 658241"/>
                <a:gd name="connsiteY133" fmla="*/ 338193 h 549457"/>
                <a:gd name="connsiteX134" fmla="*/ 63519 w 658241"/>
                <a:gd name="connsiteY134" fmla="*/ 365153 h 549457"/>
                <a:gd name="connsiteX135" fmla="*/ 54450 w 658241"/>
                <a:gd name="connsiteY135" fmla="*/ 372469 h 549457"/>
                <a:gd name="connsiteX136" fmla="*/ 107065 w 658241"/>
                <a:gd name="connsiteY136" fmla="*/ 469331 h 549457"/>
                <a:gd name="connsiteX137" fmla="*/ 112828 w 658241"/>
                <a:gd name="connsiteY137" fmla="*/ 465874 h 549457"/>
                <a:gd name="connsiteX138" fmla="*/ 130717 w 658241"/>
                <a:gd name="connsiteY138" fmla="*/ 456303 h 549457"/>
                <a:gd name="connsiteX139" fmla="*/ 149157 w 658241"/>
                <a:gd name="connsiteY139" fmla="*/ 457205 h 549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658241" h="549457">
                  <a:moveTo>
                    <a:pt x="149358" y="457205"/>
                  </a:moveTo>
                  <a:cubicBezTo>
                    <a:pt x="154469" y="462817"/>
                    <a:pt x="160282" y="462917"/>
                    <a:pt x="166997" y="462967"/>
                  </a:cubicBezTo>
                  <a:cubicBezTo>
                    <a:pt x="169302" y="462967"/>
                    <a:pt x="171657" y="463018"/>
                    <a:pt x="174012" y="463318"/>
                  </a:cubicBezTo>
                  <a:cubicBezTo>
                    <a:pt x="183683" y="464421"/>
                    <a:pt x="193906" y="466375"/>
                    <a:pt x="204379" y="469231"/>
                  </a:cubicBezTo>
                  <a:cubicBezTo>
                    <a:pt x="221466" y="473841"/>
                    <a:pt x="234445" y="474593"/>
                    <a:pt x="246521" y="464020"/>
                  </a:cubicBezTo>
                  <a:cubicBezTo>
                    <a:pt x="248275" y="462466"/>
                    <a:pt x="250480" y="461564"/>
                    <a:pt x="252384" y="460712"/>
                  </a:cubicBezTo>
                  <a:lnTo>
                    <a:pt x="253437" y="460262"/>
                  </a:lnTo>
                  <a:cubicBezTo>
                    <a:pt x="287462" y="445128"/>
                    <a:pt x="324192" y="429644"/>
                    <a:pt x="361875" y="418720"/>
                  </a:cubicBezTo>
                  <a:cubicBezTo>
                    <a:pt x="363378" y="418269"/>
                    <a:pt x="364982" y="418119"/>
                    <a:pt x="366385" y="418119"/>
                  </a:cubicBezTo>
                  <a:cubicBezTo>
                    <a:pt x="367788" y="418119"/>
                    <a:pt x="369041" y="418219"/>
                    <a:pt x="370093" y="418319"/>
                  </a:cubicBezTo>
                  <a:cubicBezTo>
                    <a:pt x="370694" y="418370"/>
                    <a:pt x="371245" y="418419"/>
                    <a:pt x="371646" y="418419"/>
                  </a:cubicBezTo>
                  <a:lnTo>
                    <a:pt x="373450" y="418419"/>
                  </a:lnTo>
                  <a:lnTo>
                    <a:pt x="374152" y="420123"/>
                  </a:lnTo>
                  <a:cubicBezTo>
                    <a:pt x="375956" y="424583"/>
                    <a:pt x="377660" y="428943"/>
                    <a:pt x="379313" y="433152"/>
                  </a:cubicBezTo>
                  <a:cubicBezTo>
                    <a:pt x="383071" y="442723"/>
                    <a:pt x="386629" y="451793"/>
                    <a:pt x="390688" y="460562"/>
                  </a:cubicBezTo>
                  <a:lnTo>
                    <a:pt x="390889" y="461063"/>
                  </a:lnTo>
                  <a:cubicBezTo>
                    <a:pt x="396701" y="473641"/>
                    <a:pt x="402715" y="486619"/>
                    <a:pt x="414390" y="494887"/>
                  </a:cubicBezTo>
                  <a:lnTo>
                    <a:pt x="416345" y="496241"/>
                  </a:lnTo>
                  <a:lnTo>
                    <a:pt x="415242" y="498345"/>
                  </a:lnTo>
                  <a:cubicBezTo>
                    <a:pt x="411083" y="506212"/>
                    <a:pt x="409630" y="512025"/>
                    <a:pt x="414641" y="518339"/>
                  </a:cubicBezTo>
                  <a:cubicBezTo>
                    <a:pt x="417848" y="522398"/>
                    <a:pt x="420704" y="526808"/>
                    <a:pt x="423410" y="531067"/>
                  </a:cubicBezTo>
                  <a:cubicBezTo>
                    <a:pt x="425715" y="534675"/>
                    <a:pt x="428121" y="538383"/>
                    <a:pt x="430676" y="541791"/>
                  </a:cubicBezTo>
                  <a:cubicBezTo>
                    <a:pt x="432180" y="543845"/>
                    <a:pt x="434384" y="545599"/>
                    <a:pt x="436940" y="547603"/>
                  </a:cubicBezTo>
                  <a:cubicBezTo>
                    <a:pt x="437691" y="548205"/>
                    <a:pt x="438443" y="548806"/>
                    <a:pt x="439245" y="549457"/>
                  </a:cubicBezTo>
                  <a:cubicBezTo>
                    <a:pt x="458938" y="527660"/>
                    <a:pt x="483192" y="514731"/>
                    <a:pt x="506643" y="502254"/>
                  </a:cubicBezTo>
                  <a:lnTo>
                    <a:pt x="510451" y="500199"/>
                  </a:lnTo>
                  <a:lnTo>
                    <a:pt x="511654" y="500700"/>
                  </a:lnTo>
                  <a:cubicBezTo>
                    <a:pt x="512356" y="501001"/>
                    <a:pt x="512907" y="501201"/>
                    <a:pt x="513308" y="501352"/>
                  </a:cubicBezTo>
                  <a:cubicBezTo>
                    <a:pt x="514310" y="501703"/>
                    <a:pt x="515212" y="502053"/>
                    <a:pt x="515913" y="502855"/>
                  </a:cubicBezTo>
                  <a:cubicBezTo>
                    <a:pt x="517417" y="504509"/>
                    <a:pt x="518870" y="506212"/>
                    <a:pt x="520323" y="507966"/>
                  </a:cubicBezTo>
                  <a:lnTo>
                    <a:pt x="520924" y="507515"/>
                  </a:lnTo>
                  <a:cubicBezTo>
                    <a:pt x="529343" y="501201"/>
                    <a:pt x="530796" y="500400"/>
                    <a:pt x="540518" y="500851"/>
                  </a:cubicBezTo>
                  <a:cubicBezTo>
                    <a:pt x="550589" y="501302"/>
                    <a:pt x="559108" y="498596"/>
                    <a:pt x="565873" y="492733"/>
                  </a:cubicBezTo>
                  <a:lnTo>
                    <a:pt x="567026" y="491730"/>
                  </a:lnTo>
                  <a:lnTo>
                    <a:pt x="568479" y="492232"/>
                  </a:lnTo>
                  <a:cubicBezTo>
                    <a:pt x="569631" y="492633"/>
                    <a:pt x="570684" y="492933"/>
                    <a:pt x="571636" y="493184"/>
                  </a:cubicBezTo>
                  <a:cubicBezTo>
                    <a:pt x="573590" y="493735"/>
                    <a:pt x="575344" y="494236"/>
                    <a:pt x="576897" y="495188"/>
                  </a:cubicBezTo>
                  <a:cubicBezTo>
                    <a:pt x="590177" y="502905"/>
                    <a:pt x="601401" y="501502"/>
                    <a:pt x="612225" y="490729"/>
                  </a:cubicBezTo>
                  <a:cubicBezTo>
                    <a:pt x="616234" y="486719"/>
                    <a:pt x="621245" y="483863"/>
                    <a:pt x="626105" y="481107"/>
                  </a:cubicBezTo>
                  <a:cubicBezTo>
                    <a:pt x="637130" y="474843"/>
                    <a:pt x="642592" y="464220"/>
                    <a:pt x="647903" y="453897"/>
                  </a:cubicBezTo>
                  <a:cubicBezTo>
                    <a:pt x="649206" y="451392"/>
                    <a:pt x="650459" y="448886"/>
                    <a:pt x="651812" y="446481"/>
                  </a:cubicBezTo>
                  <a:cubicBezTo>
                    <a:pt x="655570" y="439716"/>
                    <a:pt x="652263" y="432701"/>
                    <a:pt x="648755" y="425235"/>
                  </a:cubicBezTo>
                  <a:cubicBezTo>
                    <a:pt x="647553" y="422679"/>
                    <a:pt x="646300" y="420023"/>
                    <a:pt x="645348" y="417367"/>
                  </a:cubicBezTo>
                  <a:cubicBezTo>
                    <a:pt x="645047" y="416465"/>
                    <a:pt x="645047" y="415663"/>
                    <a:pt x="645097" y="414411"/>
                  </a:cubicBezTo>
                  <a:cubicBezTo>
                    <a:pt x="645097" y="413709"/>
                    <a:pt x="645147" y="412707"/>
                    <a:pt x="645147" y="411254"/>
                  </a:cubicBezTo>
                  <a:lnTo>
                    <a:pt x="645147" y="410652"/>
                  </a:lnTo>
                  <a:lnTo>
                    <a:pt x="656472" y="387001"/>
                  </a:lnTo>
                  <a:cubicBezTo>
                    <a:pt x="658727" y="382290"/>
                    <a:pt x="658827" y="378231"/>
                    <a:pt x="656773" y="373421"/>
                  </a:cubicBezTo>
                  <a:cubicBezTo>
                    <a:pt x="654718" y="368560"/>
                    <a:pt x="654167" y="363198"/>
                    <a:pt x="653566" y="358087"/>
                  </a:cubicBezTo>
                  <a:cubicBezTo>
                    <a:pt x="653415" y="356884"/>
                    <a:pt x="653315" y="355732"/>
                    <a:pt x="653165" y="354529"/>
                  </a:cubicBezTo>
                  <a:cubicBezTo>
                    <a:pt x="652864" y="352124"/>
                    <a:pt x="652814" y="349719"/>
                    <a:pt x="652714" y="347413"/>
                  </a:cubicBezTo>
                  <a:cubicBezTo>
                    <a:pt x="652614" y="344206"/>
                    <a:pt x="652513" y="341200"/>
                    <a:pt x="651862" y="338344"/>
                  </a:cubicBezTo>
                  <a:cubicBezTo>
                    <a:pt x="651160" y="335136"/>
                    <a:pt x="650058" y="332030"/>
                    <a:pt x="648856" y="328722"/>
                  </a:cubicBezTo>
                  <a:cubicBezTo>
                    <a:pt x="647352" y="324463"/>
                    <a:pt x="645799" y="320103"/>
                    <a:pt x="645147" y="315493"/>
                  </a:cubicBezTo>
                  <a:cubicBezTo>
                    <a:pt x="644295" y="309631"/>
                    <a:pt x="644496" y="303718"/>
                    <a:pt x="644696" y="297504"/>
                  </a:cubicBezTo>
                  <a:cubicBezTo>
                    <a:pt x="644746" y="295550"/>
                    <a:pt x="644797" y="293595"/>
                    <a:pt x="644847" y="291591"/>
                  </a:cubicBezTo>
                  <a:cubicBezTo>
                    <a:pt x="643343" y="291491"/>
                    <a:pt x="641890" y="291340"/>
                    <a:pt x="640487" y="291240"/>
                  </a:cubicBezTo>
                  <a:cubicBezTo>
                    <a:pt x="636027" y="290839"/>
                    <a:pt x="631768" y="290488"/>
                    <a:pt x="627659" y="290338"/>
                  </a:cubicBezTo>
                  <a:cubicBezTo>
                    <a:pt x="622848" y="290188"/>
                    <a:pt x="617988" y="290238"/>
                    <a:pt x="613478" y="290288"/>
                  </a:cubicBezTo>
                  <a:cubicBezTo>
                    <a:pt x="611924" y="290288"/>
                    <a:pt x="610421" y="290288"/>
                    <a:pt x="608968" y="290288"/>
                  </a:cubicBezTo>
                  <a:cubicBezTo>
                    <a:pt x="607064" y="292743"/>
                    <a:pt x="605661" y="295449"/>
                    <a:pt x="604308" y="298105"/>
                  </a:cubicBezTo>
                  <a:cubicBezTo>
                    <a:pt x="601602" y="303317"/>
                    <a:pt x="598796" y="308729"/>
                    <a:pt x="592381" y="311585"/>
                  </a:cubicBezTo>
                  <a:cubicBezTo>
                    <a:pt x="591429" y="312036"/>
                    <a:pt x="590427" y="312487"/>
                    <a:pt x="589475" y="312938"/>
                  </a:cubicBezTo>
                  <a:cubicBezTo>
                    <a:pt x="581908" y="316546"/>
                    <a:pt x="573289" y="320605"/>
                    <a:pt x="563568" y="315293"/>
                  </a:cubicBezTo>
                  <a:lnTo>
                    <a:pt x="562917" y="314942"/>
                  </a:lnTo>
                  <a:lnTo>
                    <a:pt x="549838" y="291591"/>
                  </a:lnTo>
                  <a:lnTo>
                    <a:pt x="551091" y="290138"/>
                  </a:lnTo>
                  <a:cubicBezTo>
                    <a:pt x="552293" y="288785"/>
                    <a:pt x="553496" y="287482"/>
                    <a:pt x="554649" y="286179"/>
                  </a:cubicBezTo>
                  <a:cubicBezTo>
                    <a:pt x="557755" y="282772"/>
                    <a:pt x="560662" y="279564"/>
                    <a:pt x="563267" y="276057"/>
                  </a:cubicBezTo>
                  <a:cubicBezTo>
                    <a:pt x="564821" y="274002"/>
                    <a:pt x="567677" y="270194"/>
                    <a:pt x="567777" y="267287"/>
                  </a:cubicBezTo>
                  <a:cubicBezTo>
                    <a:pt x="567877" y="263880"/>
                    <a:pt x="568078" y="260473"/>
                    <a:pt x="568228" y="257065"/>
                  </a:cubicBezTo>
                  <a:cubicBezTo>
                    <a:pt x="568880" y="244237"/>
                    <a:pt x="569581" y="231058"/>
                    <a:pt x="566023" y="217829"/>
                  </a:cubicBezTo>
                  <a:cubicBezTo>
                    <a:pt x="564771" y="217779"/>
                    <a:pt x="563468" y="217628"/>
                    <a:pt x="562215" y="217528"/>
                  </a:cubicBezTo>
                  <a:cubicBezTo>
                    <a:pt x="558557" y="217177"/>
                    <a:pt x="555099" y="216827"/>
                    <a:pt x="553145" y="217979"/>
                  </a:cubicBezTo>
                  <a:cubicBezTo>
                    <a:pt x="549838" y="219983"/>
                    <a:pt x="547082" y="223641"/>
                    <a:pt x="544226" y="227500"/>
                  </a:cubicBezTo>
                  <a:cubicBezTo>
                    <a:pt x="542873" y="229354"/>
                    <a:pt x="541470" y="231208"/>
                    <a:pt x="539916" y="233062"/>
                  </a:cubicBezTo>
                  <a:lnTo>
                    <a:pt x="538062" y="235267"/>
                  </a:lnTo>
                  <a:lnTo>
                    <a:pt x="536007" y="233213"/>
                  </a:lnTo>
                  <a:cubicBezTo>
                    <a:pt x="529042" y="226348"/>
                    <a:pt x="520423" y="225195"/>
                    <a:pt x="509449" y="225546"/>
                  </a:cubicBezTo>
                  <a:cubicBezTo>
                    <a:pt x="502334" y="225746"/>
                    <a:pt x="493915" y="225896"/>
                    <a:pt x="485547" y="225395"/>
                  </a:cubicBezTo>
                  <a:cubicBezTo>
                    <a:pt x="481638" y="225145"/>
                    <a:pt x="477830" y="224243"/>
                    <a:pt x="474171" y="223391"/>
                  </a:cubicBezTo>
                  <a:cubicBezTo>
                    <a:pt x="472668" y="223040"/>
                    <a:pt x="471165" y="222689"/>
                    <a:pt x="469662" y="222389"/>
                  </a:cubicBezTo>
                  <a:lnTo>
                    <a:pt x="468058" y="222088"/>
                  </a:lnTo>
                  <a:lnTo>
                    <a:pt x="457736" y="187212"/>
                  </a:lnTo>
                  <a:cubicBezTo>
                    <a:pt x="453125" y="186510"/>
                    <a:pt x="448615" y="185758"/>
                    <a:pt x="444256" y="185057"/>
                  </a:cubicBezTo>
                  <a:cubicBezTo>
                    <a:pt x="432881" y="183203"/>
                    <a:pt x="422157" y="181399"/>
                    <a:pt x="411334" y="180396"/>
                  </a:cubicBezTo>
                  <a:cubicBezTo>
                    <a:pt x="399257" y="179294"/>
                    <a:pt x="391139" y="173982"/>
                    <a:pt x="384876" y="163209"/>
                  </a:cubicBezTo>
                  <a:cubicBezTo>
                    <a:pt x="379814" y="154490"/>
                    <a:pt x="374352" y="145770"/>
                    <a:pt x="369041" y="137352"/>
                  </a:cubicBezTo>
                  <a:cubicBezTo>
                    <a:pt x="364431" y="130036"/>
                    <a:pt x="359670" y="122469"/>
                    <a:pt x="355160" y="114903"/>
                  </a:cubicBezTo>
                  <a:cubicBezTo>
                    <a:pt x="349798" y="105883"/>
                    <a:pt x="343234" y="99519"/>
                    <a:pt x="334515" y="94909"/>
                  </a:cubicBezTo>
                  <a:cubicBezTo>
                    <a:pt x="320634" y="87543"/>
                    <a:pt x="306453" y="79475"/>
                    <a:pt x="291170" y="70405"/>
                  </a:cubicBezTo>
                  <a:cubicBezTo>
                    <a:pt x="284355" y="66296"/>
                    <a:pt x="280847" y="62538"/>
                    <a:pt x="280496" y="58930"/>
                  </a:cubicBezTo>
                  <a:cubicBezTo>
                    <a:pt x="279945" y="52816"/>
                    <a:pt x="276538" y="51413"/>
                    <a:pt x="270624" y="49359"/>
                  </a:cubicBezTo>
                  <a:lnTo>
                    <a:pt x="269923" y="49108"/>
                  </a:lnTo>
                  <a:cubicBezTo>
                    <a:pt x="243164" y="39787"/>
                    <a:pt x="221115" y="32321"/>
                    <a:pt x="200520" y="25606"/>
                  </a:cubicBezTo>
                  <a:cubicBezTo>
                    <a:pt x="180276" y="18992"/>
                    <a:pt x="163890" y="12077"/>
                    <a:pt x="149659" y="0"/>
                  </a:cubicBezTo>
                  <a:cubicBezTo>
                    <a:pt x="149308" y="0"/>
                    <a:pt x="148757" y="50"/>
                    <a:pt x="148306" y="100"/>
                  </a:cubicBezTo>
                  <a:cubicBezTo>
                    <a:pt x="148005" y="100"/>
                    <a:pt x="147654" y="150"/>
                    <a:pt x="147354" y="201"/>
                  </a:cubicBezTo>
                  <a:cubicBezTo>
                    <a:pt x="139988" y="18741"/>
                    <a:pt x="134826" y="36380"/>
                    <a:pt x="132020" y="52666"/>
                  </a:cubicBezTo>
                  <a:lnTo>
                    <a:pt x="131820" y="53768"/>
                  </a:lnTo>
                  <a:lnTo>
                    <a:pt x="124153" y="59180"/>
                  </a:lnTo>
                  <a:cubicBezTo>
                    <a:pt x="108418" y="70154"/>
                    <a:pt x="108067" y="71006"/>
                    <a:pt x="113178" y="89146"/>
                  </a:cubicBezTo>
                  <a:cubicBezTo>
                    <a:pt x="115784" y="98517"/>
                    <a:pt x="117788" y="108539"/>
                    <a:pt x="111224" y="119513"/>
                  </a:cubicBezTo>
                  <a:lnTo>
                    <a:pt x="110523" y="120665"/>
                  </a:lnTo>
                  <a:lnTo>
                    <a:pt x="109170" y="120816"/>
                  </a:lnTo>
                  <a:cubicBezTo>
                    <a:pt x="107366" y="120966"/>
                    <a:pt x="105562" y="121216"/>
                    <a:pt x="103758" y="121467"/>
                  </a:cubicBezTo>
                  <a:cubicBezTo>
                    <a:pt x="99498" y="122068"/>
                    <a:pt x="95089" y="122670"/>
                    <a:pt x="90629" y="122369"/>
                  </a:cubicBezTo>
                  <a:cubicBezTo>
                    <a:pt x="72990" y="121116"/>
                    <a:pt x="59160" y="126578"/>
                    <a:pt x="48386" y="138956"/>
                  </a:cubicBezTo>
                  <a:cubicBezTo>
                    <a:pt x="42774" y="145420"/>
                    <a:pt x="35458" y="149679"/>
                    <a:pt x="25385" y="152335"/>
                  </a:cubicBezTo>
                  <a:cubicBezTo>
                    <a:pt x="25185" y="152635"/>
                    <a:pt x="24884" y="153137"/>
                    <a:pt x="24684" y="153537"/>
                  </a:cubicBezTo>
                  <a:cubicBezTo>
                    <a:pt x="24433" y="153938"/>
                    <a:pt x="24183" y="154390"/>
                    <a:pt x="23882" y="154891"/>
                  </a:cubicBezTo>
                  <a:lnTo>
                    <a:pt x="24433" y="156193"/>
                  </a:lnTo>
                  <a:cubicBezTo>
                    <a:pt x="26438" y="161054"/>
                    <a:pt x="28593" y="166315"/>
                    <a:pt x="30747" y="171727"/>
                  </a:cubicBezTo>
                  <a:lnTo>
                    <a:pt x="31349" y="173281"/>
                  </a:lnTo>
                  <a:lnTo>
                    <a:pt x="30246" y="174534"/>
                  </a:lnTo>
                  <a:cubicBezTo>
                    <a:pt x="28893" y="176087"/>
                    <a:pt x="27540" y="177490"/>
                    <a:pt x="26238" y="178893"/>
                  </a:cubicBezTo>
                  <a:cubicBezTo>
                    <a:pt x="23582" y="181749"/>
                    <a:pt x="21076" y="184405"/>
                    <a:pt x="18971" y="187262"/>
                  </a:cubicBezTo>
                  <a:lnTo>
                    <a:pt x="18671" y="187713"/>
                  </a:lnTo>
                  <a:cubicBezTo>
                    <a:pt x="15714" y="191872"/>
                    <a:pt x="12658" y="196181"/>
                    <a:pt x="11455" y="200591"/>
                  </a:cubicBezTo>
                  <a:cubicBezTo>
                    <a:pt x="6394" y="219983"/>
                    <a:pt x="1784" y="237873"/>
                    <a:pt x="13359" y="255361"/>
                  </a:cubicBezTo>
                  <a:cubicBezTo>
                    <a:pt x="15163" y="258117"/>
                    <a:pt x="16015" y="261274"/>
                    <a:pt x="16867" y="264331"/>
                  </a:cubicBezTo>
                  <a:cubicBezTo>
                    <a:pt x="17318" y="265985"/>
                    <a:pt x="17769" y="267638"/>
                    <a:pt x="18370" y="269192"/>
                  </a:cubicBezTo>
                  <a:cubicBezTo>
                    <a:pt x="24333" y="284375"/>
                    <a:pt x="22730" y="295600"/>
                    <a:pt x="13008" y="306774"/>
                  </a:cubicBezTo>
                  <a:cubicBezTo>
                    <a:pt x="6694" y="314040"/>
                    <a:pt x="-521" y="325415"/>
                    <a:pt x="30" y="338945"/>
                  </a:cubicBezTo>
                  <a:cubicBezTo>
                    <a:pt x="16065" y="345660"/>
                    <a:pt x="25937" y="336840"/>
                    <a:pt x="36360" y="327470"/>
                  </a:cubicBezTo>
                  <a:cubicBezTo>
                    <a:pt x="37412" y="326518"/>
                    <a:pt x="38464" y="325566"/>
                    <a:pt x="39517" y="324664"/>
                  </a:cubicBezTo>
                  <a:lnTo>
                    <a:pt x="40719" y="323611"/>
                  </a:lnTo>
                  <a:lnTo>
                    <a:pt x="42223" y="324162"/>
                  </a:lnTo>
                  <a:cubicBezTo>
                    <a:pt x="44578" y="325014"/>
                    <a:pt x="46833" y="325916"/>
                    <a:pt x="49038" y="326818"/>
                  </a:cubicBezTo>
                  <a:cubicBezTo>
                    <a:pt x="53698" y="328672"/>
                    <a:pt x="58057" y="330426"/>
                    <a:pt x="62417" y="331378"/>
                  </a:cubicBezTo>
                  <a:cubicBezTo>
                    <a:pt x="64973" y="331930"/>
                    <a:pt x="67729" y="331979"/>
                    <a:pt x="70685" y="331979"/>
                  </a:cubicBezTo>
                  <a:cubicBezTo>
                    <a:pt x="75546" y="331979"/>
                    <a:pt x="81058" y="332030"/>
                    <a:pt x="86770" y="334635"/>
                  </a:cubicBezTo>
                  <a:lnTo>
                    <a:pt x="89226" y="335738"/>
                  </a:lnTo>
                  <a:lnTo>
                    <a:pt x="88123" y="338193"/>
                  </a:lnTo>
                  <a:cubicBezTo>
                    <a:pt x="82461" y="350470"/>
                    <a:pt x="72840" y="357937"/>
                    <a:pt x="63519" y="365153"/>
                  </a:cubicBezTo>
                  <a:cubicBezTo>
                    <a:pt x="60513" y="367508"/>
                    <a:pt x="57406" y="369913"/>
                    <a:pt x="54450" y="372469"/>
                  </a:cubicBezTo>
                  <a:cubicBezTo>
                    <a:pt x="67428" y="400330"/>
                    <a:pt x="84966" y="436008"/>
                    <a:pt x="107065" y="469331"/>
                  </a:cubicBezTo>
                  <a:cubicBezTo>
                    <a:pt x="109069" y="468179"/>
                    <a:pt x="110974" y="466976"/>
                    <a:pt x="112828" y="465874"/>
                  </a:cubicBezTo>
                  <a:cubicBezTo>
                    <a:pt x="118841" y="462216"/>
                    <a:pt x="124554" y="458758"/>
                    <a:pt x="130717" y="456303"/>
                  </a:cubicBezTo>
                  <a:cubicBezTo>
                    <a:pt x="135077" y="454549"/>
                    <a:pt x="145299" y="452945"/>
                    <a:pt x="149157" y="45720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40" name="Полилиния: фигура 39">
              <a:extLst>
                <a:ext uri="{FF2B5EF4-FFF2-40B4-BE49-F238E27FC236}">
                  <a16:creationId xmlns:a16="http://schemas.microsoft.com/office/drawing/2014/main" id="{83D9151C-0019-4E39-B844-D4A2D8C4C91B}"/>
                </a:ext>
              </a:extLst>
            </p:cNvPr>
            <p:cNvSpPr/>
            <p:nvPr/>
          </p:nvSpPr>
          <p:spPr>
            <a:xfrm>
              <a:off x="1918061" y="1411821"/>
              <a:ext cx="812745" cy="979834"/>
            </a:xfrm>
            <a:custGeom>
              <a:avLst/>
              <a:gdLst>
                <a:gd name="connsiteX0" fmla="*/ 29529 w 651696"/>
                <a:gd name="connsiteY0" fmla="*/ 472739 h 785676"/>
                <a:gd name="connsiteX1" fmla="*/ 46517 w 651696"/>
                <a:gd name="connsiteY1" fmla="*/ 473039 h 785676"/>
                <a:gd name="connsiteX2" fmla="*/ 52981 w 651696"/>
                <a:gd name="connsiteY2" fmla="*/ 473039 h 785676"/>
                <a:gd name="connsiteX3" fmla="*/ 59044 w 651696"/>
                <a:gd name="connsiteY3" fmla="*/ 473140 h 785676"/>
                <a:gd name="connsiteX4" fmla="*/ 73827 w 651696"/>
                <a:gd name="connsiteY4" fmla="*/ 472689 h 785676"/>
                <a:gd name="connsiteX5" fmla="*/ 88108 w 651696"/>
                <a:gd name="connsiteY5" fmla="*/ 468880 h 785676"/>
                <a:gd name="connsiteX6" fmla="*/ 94823 w 651696"/>
                <a:gd name="connsiteY6" fmla="*/ 466776 h 785676"/>
                <a:gd name="connsiteX7" fmla="*/ 97178 w 651696"/>
                <a:gd name="connsiteY7" fmla="*/ 466074 h 785676"/>
                <a:gd name="connsiteX8" fmla="*/ 98080 w 651696"/>
                <a:gd name="connsiteY8" fmla="*/ 468379 h 785676"/>
                <a:gd name="connsiteX9" fmla="*/ 99333 w 651696"/>
                <a:gd name="connsiteY9" fmla="*/ 471336 h 785676"/>
                <a:gd name="connsiteX10" fmla="*/ 101137 w 651696"/>
                <a:gd name="connsiteY10" fmla="*/ 476848 h 785676"/>
                <a:gd name="connsiteX11" fmla="*/ 102690 w 651696"/>
                <a:gd name="connsiteY11" fmla="*/ 491630 h 785676"/>
                <a:gd name="connsiteX12" fmla="*/ 108904 w 651696"/>
                <a:gd name="connsiteY12" fmla="*/ 556823 h 785676"/>
                <a:gd name="connsiteX13" fmla="*/ 105697 w 651696"/>
                <a:gd name="connsiteY13" fmla="*/ 580927 h 785676"/>
                <a:gd name="connsiteX14" fmla="*/ 96126 w 651696"/>
                <a:gd name="connsiteY14" fmla="*/ 616755 h 785676"/>
                <a:gd name="connsiteX15" fmla="*/ 88559 w 651696"/>
                <a:gd name="connsiteY15" fmla="*/ 644867 h 785676"/>
                <a:gd name="connsiteX16" fmla="*/ 86956 w 651696"/>
                <a:gd name="connsiteY16" fmla="*/ 655039 h 785676"/>
                <a:gd name="connsiteX17" fmla="*/ 86605 w 651696"/>
                <a:gd name="connsiteY17" fmla="*/ 658347 h 785676"/>
                <a:gd name="connsiteX18" fmla="*/ 110507 w 651696"/>
                <a:gd name="connsiteY18" fmla="*/ 660852 h 785676"/>
                <a:gd name="connsiteX19" fmla="*/ 114817 w 651696"/>
                <a:gd name="connsiteY19" fmla="*/ 660602 h 785676"/>
                <a:gd name="connsiteX20" fmla="*/ 145184 w 651696"/>
                <a:gd name="connsiteY20" fmla="*/ 667617 h 785676"/>
                <a:gd name="connsiteX21" fmla="*/ 144933 w 651696"/>
                <a:gd name="connsiteY21" fmla="*/ 665162 h 785676"/>
                <a:gd name="connsiteX22" fmla="*/ 144131 w 651696"/>
                <a:gd name="connsiteY22" fmla="*/ 653786 h 785676"/>
                <a:gd name="connsiteX23" fmla="*/ 148842 w 651696"/>
                <a:gd name="connsiteY23" fmla="*/ 644416 h 785676"/>
                <a:gd name="connsiteX24" fmla="*/ 159114 w 651696"/>
                <a:gd name="connsiteY24" fmla="*/ 643213 h 785676"/>
                <a:gd name="connsiteX25" fmla="*/ 169888 w 651696"/>
                <a:gd name="connsiteY25" fmla="*/ 649627 h 785676"/>
                <a:gd name="connsiteX26" fmla="*/ 186023 w 651696"/>
                <a:gd name="connsiteY26" fmla="*/ 665312 h 785676"/>
                <a:gd name="connsiteX27" fmla="*/ 191936 w 651696"/>
                <a:gd name="connsiteY27" fmla="*/ 671225 h 785676"/>
                <a:gd name="connsiteX28" fmla="*/ 206218 w 651696"/>
                <a:gd name="connsiteY28" fmla="*/ 679243 h 785676"/>
                <a:gd name="connsiteX29" fmla="*/ 234380 w 651696"/>
                <a:gd name="connsiteY29" fmla="*/ 704398 h 785676"/>
                <a:gd name="connsiteX30" fmla="*/ 235332 w 651696"/>
                <a:gd name="connsiteY30" fmla="*/ 708457 h 785676"/>
                <a:gd name="connsiteX31" fmla="*/ 237837 w 651696"/>
                <a:gd name="connsiteY31" fmla="*/ 717727 h 785676"/>
                <a:gd name="connsiteX32" fmla="*/ 241195 w 651696"/>
                <a:gd name="connsiteY32" fmla="*/ 723239 h 785676"/>
                <a:gd name="connsiteX33" fmla="*/ 241345 w 651696"/>
                <a:gd name="connsiteY33" fmla="*/ 723490 h 785676"/>
                <a:gd name="connsiteX34" fmla="*/ 245003 w 651696"/>
                <a:gd name="connsiteY34" fmla="*/ 707304 h 785676"/>
                <a:gd name="connsiteX35" fmla="*/ 242247 w 651696"/>
                <a:gd name="connsiteY35" fmla="*/ 693875 h 785676"/>
                <a:gd name="connsiteX36" fmla="*/ 247759 w 651696"/>
                <a:gd name="connsiteY36" fmla="*/ 621616 h 785676"/>
                <a:gd name="connsiteX37" fmla="*/ 248461 w 651696"/>
                <a:gd name="connsiteY37" fmla="*/ 619461 h 785676"/>
                <a:gd name="connsiteX38" fmla="*/ 250665 w 651696"/>
                <a:gd name="connsiteY38" fmla="*/ 619762 h 785676"/>
                <a:gd name="connsiteX39" fmla="*/ 265598 w 651696"/>
                <a:gd name="connsiteY39" fmla="*/ 608738 h 785676"/>
                <a:gd name="connsiteX40" fmla="*/ 267402 w 651696"/>
                <a:gd name="connsiteY40" fmla="*/ 605079 h 785676"/>
                <a:gd name="connsiteX41" fmla="*/ 280431 w 651696"/>
                <a:gd name="connsiteY41" fmla="*/ 590898 h 785676"/>
                <a:gd name="connsiteX42" fmla="*/ 282636 w 651696"/>
                <a:gd name="connsiteY42" fmla="*/ 590097 h 785676"/>
                <a:gd name="connsiteX43" fmla="*/ 286093 w 651696"/>
                <a:gd name="connsiteY43" fmla="*/ 596461 h 785676"/>
                <a:gd name="connsiteX44" fmla="*/ 288899 w 651696"/>
                <a:gd name="connsiteY44" fmla="*/ 601572 h 785676"/>
                <a:gd name="connsiteX45" fmla="*/ 293309 w 651696"/>
                <a:gd name="connsiteY45" fmla="*/ 591600 h 785676"/>
                <a:gd name="connsiteX46" fmla="*/ 305285 w 651696"/>
                <a:gd name="connsiteY46" fmla="*/ 573009 h 785676"/>
                <a:gd name="connsiteX47" fmla="*/ 306037 w 651696"/>
                <a:gd name="connsiteY47" fmla="*/ 572458 h 785676"/>
                <a:gd name="connsiteX48" fmla="*/ 330491 w 651696"/>
                <a:gd name="connsiteY48" fmla="*/ 573761 h 785676"/>
                <a:gd name="connsiteX49" fmla="*/ 330741 w 651696"/>
                <a:gd name="connsiteY49" fmla="*/ 576016 h 785676"/>
                <a:gd name="connsiteX50" fmla="*/ 325430 w 651696"/>
                <a:gd name="connsiteY50" fmla="*/ 601071 h 785676"/>
                <a:gd name="connsiteX51" fmla="*/ 320769 w 651696"/>
                <a:gd name="connsiteY51" fmla="*/ 615051 h 785676"/>
                <a:gd name="connsiteX52" fmla="*/ 321271 w 651696"/>
                <a:gd name="connsiteY52" fmla="*/ 616004 h 785676"/>
                <a:gd name="connsiteX53" fmla="*/ 333648 w 651696"/>
                <a:gd name="connsiteY53" fmla="*/ 627529 h 785676"/>
                <a:gd name="connsiteX54" fmla="*/ 334650 w 651696"/>
                <a:gd name="connsiteY54" fmla="*/ 626426 h 785676"/>
                <a:gd name="connsiteX55" fmla="*/ 338007 w 651696"/>
                <a:gd name="connsiteY55" fmla="*/ 621967 h 785676"/>
                <a:gd name="connsiteX56" fmla="*/ 343519 w 651696"/>
                <a:gd name="connsiteY56" fmla="*/ 610040 h 785676"/>
                <a:gd name="connsiteX57" fmla="*/ 345223 w 651696"/>
                <a:gd name="connsiteY57" fmla="*/ 606232 h 785676"/>
                <a:gd name="connsiteX58" fmla="*/ 332044 w 651696"/>
                <a:gd name="connsiteY58" fmla="*/ 587691 h 785676"/>
                <a:gd name="connsiteX59" fmla="*/ 336354 w 651696"/>
                <a:gd name="connsiteY59" fmla="*/ 575013 h 785676"/>
                <a:gd name="connsiteX60" fmla="*/ 347729 w 651696"/>
                <a:gd name="connsiteY60" fmla="*/ 542292 h 785676"/>
                <a:gd name="connsiteX61" fmla="*/ 352689 w 651696"/>
                <a:gd name="connsiteY61" fmla="*/ 537230 h 785676"/>
                <a:gd name="connsiteX62" fmla="*/ 355345 w 651696"/>
                <a:gd name="connsiteY62" fmla="*/ 535326 h 785676"/>
                <a:gd name="connsiteX63" fmla="*/ 357951 w 651696"/>
                <a:gd name="connsiteY63" fmla="*/ 533172 h 785676"/>
                <a:gd name="connsiteX64" fmla="*/ 359454 w 651696"/>
                <a:gd name="connsiteY64" fmla="*/ 536178 h 785676"/>
                <a:gd name="connsiteX65" fmla="*/ 361208 w 651696"/>
                <a:gd name="connsiteY65" fmla="*/ 539385 h 785676"/>
                <a:gd name="connsiteX66" fmla="*/ 363413 w 651696"/>
                <a:gd name="connsiteY66" fmla="*/ 544747 h 785676"/>
                <a:gd name="connsiteX67" fmla="*/ 366370 w 651696"/>
                <a:gd name="connsiteY67" fmla="*/ 570804 h 785676"/>
                <a:gd name="connsiteX68" fmla="*/ 371080 w 651696"/>
                <a:gd name="connsiteY68" fmla="*/ 610441 h 785676"/>
                <a:gd name="connsiteX69" fmla="*/ 363714 w 651696"/>
                <a:gd name="connsiteY69" fmla="*/ 634143 h 785676"/>
                <a:gd name="connsiteX70" fmla="*/ 360256 w 651696"/>
                <a:gd name="connsiteY70" fmla="*/ 638954 h 785676"/>
                <a:gd name="connsiteX71" fmla="*/ 332144 w 651696"/>
                <a:gd name="connsiteY71" fmla="*/ 678340 h 785676"/>
                <a:gd name="connsiteX72" fmla="*/ 310798 w 651696"/>
                <a:gd name="connsiteY72" fmla="*/ 741479 h 785676"/>
                <a:gd name="connsiteX73" fmla="*/ 344321 w 651696"/>
                <a:gd name="connsiteY73" fmla="*/ 767236 h 785676"/>
                <a:gd name="connsiteX74" fmla="*/ 364616 w 651696"/>
                <a:gd name="connsiteY74" fmla="*/ 785676 h 785676"/>
                <a:gd name="connsiteX75" fmla="*/ 371180 w 651696"/>
                <a:gd name="connsiteY75" fmla="*/ 781718 h 785676"/>
                <a:gd name="connsiteX76" fmla="*/ 388969 w 651696"/>
                <a:gd name="connsiteY76" fmla="*/ 772798 h 785676"/>
                <a:gd name="connsiteX77" fmla="*/ 404403 w 651696"/>
                <a:gd name="connsiteY77" fmla="*/ 759569 h 785676"/>
                <a:gd name="connsiteX78" fmla="*/ 414325 w 651696"/>
                <a:gd name="connsiteY78" fmla="*/ 731257 h 785676"/>
                <a:gd name="connsiteX79" fmla="*/ 427353 w 651696"/>
                <a:gd name="connsiteY79" fmla="*/ 707705 h 785676"/>
                <a:gd name="connsiteX80" fmla="*/ 443740 w 651696"/>
                <a:gd name="connsiteY80" fmla="*/ 690968 h 785676"/>
                <a:gd name="connsiteX81" fmla="*/ 449051 w 651696"/>
                <a:gd name="connsiteY81" fmla="*/ 685406 h 785676"/>
                <a:gd name="connsiteX82" fmla="*/ 447799 w 651696"/>
                <a:gd name="connsiteY82" fmla="*/ 682399 h 785676"/>
                <a:gd name="connsiteX83" fmla="*/ 444491 w 651696"/>
                <a:gd name="connsiteY83" fmla="*/ 675885 h 785676"/>
                <a:gd name="connsiteX84" fmla="*/ 428907 w 651696"/>
                <a:gd name="connsiteY84" fmla="*/ 639255 h 785676"/>
                <a:gd name="connsiteX85" fmla="*/ 427404 w 651696"/>
                <a:gd name="connsiteY85" fmla="*/ 633592 h 785676"/>
                <a:gd name="connsiteX86" fmla="*/ 434519 w 651696"/>
                <a:gd name="connsiteY86" fmla="*/ 607435 h 785676"/>
                <a:gd name="connsiteX87" fmla="*/ 456217 w 651696"/>
                <a:gd name="connsiteY87" fmla="*/ 570403 h 785676"/>
                <a:gd name="connsiteX88" fmla="*/ 457219 w 651696"/>
                <a:gd name="connsiteY88" fmla="*/ 567397 h 785676"/>
                <a:gd name="connsiteX89" fmla="*/ 468394 w 651696"/>
                <a:gd name="connsiteY89" fmla="*/ 534525 h 785676"/>
                <a:gd name="connsiteX90" fmla="*/ 472854 w 651696"/>
                <a:gd name="connsiteY90" fmla="*/ 525956 h 785676"/>
                <a:gd name="connsiteX91" fmla="*/ 475259 w 651696"/>
                <a:gd name="connsiteY91" fmla="*/ 521847 h 785676"/>
                <a:gd name="connsiteX92" fmla="*/ 476762 w 651696"/>
                <a:gd name="connsiteY92" fmla="*/ 519090 h 785676"/>
                <a:gd name="connsiteX93" fmla="*/ 498059 w 651696"/>
                <a:gd name="connsiteY93" fmla="*/ 535627 h 785676"/>
                <a:gd name="connsiteX94" fmla="*/ 527975 w 651696"/>
                <a:gd name="connsiteY94" fmla="*/ 502554 h 785676"/>
                <a:gd name="connsiteX95" fmla="*/ 531031 w 651696"/>
                <a:gd name="connsiteY95" fmla="*/ 491630 h 785676"/>
                <a:gd name="connsiteX96" fmla="*/ 533437 w 651696"/>
                <a:gd name="connsiteY96" fmla="*/ 484264 h 785676"/>
                <a:gd name="connsiteX97" fmla="*/ 535391 w 651696"/>
                <a:gd name="connsiteY97" fmla="*/ 466425 h 785676"/>
                <a:gd name="connsiteX98" fmla="*/ 531833 w 651696"/>
                <a:gd name="connsiteY98" fmla="*/ 459710 h 785676"/>
                <a:gd name="connsiteX99" fmla="*/ 518404 w 651696"/>
                <a:gd name="connsiteY99" fmla="*/ 439015 h 785676"/>
                <a:gd name="connsiteX100" fmla="*/ 518404 w 651696"/>
                <a:gd name="connsiteY100" fmla="*/ 429093 h 785676"/>
                <a:gd name="connsiteX101" fmla="*/ 518353 w 651696"/>
                <a:gd name="connsiteY101" fmla="*/ 415413 h 785676"/>
                <a:gd name="connsiteX102" fmla="*/ 527624 w 651696"/>
                <a:gd name="connsiteY102" fmla="*/ 392362 h 785676"/>
                <a:gd name="connsiteX103" fmla="*/ 539650 w 651696"/>
                <a:gd name="connsiteY103" fmla="*/ 377730 h 785676"/>
                <a:gd name="connsiteX104" fmla="*/ 550073 w 651696"/>
                <a:gd name="connsiteY104" fmla="*/ 364952 h 785676"/>
                <a:gd name="connsiteX105" fmla="*/ 579638 w 651696"/>
                <a:gd name="connsiteY105" fmla="*/ 312938 h 785676"/>
                <a:gd name="connsiteX106" fmla="*/ 584649 w 651696"/>
                <a:gd name="connsiteY106" fmla="*/ 302515 h 785676"/>
                <a:gd name="connsiteX107" fmla="*/ 587255 w 651696"/>
                <a:gd name="connsiteY107" fmla="*/ 297854 h 785676"/>
                <a:gd name="connsiteX108" fmla="*/ 588107 w 651696"/>
                <a:gd name="connsiteY108" fmla="*/ 296201 h 785676"/>
                <a:gd name="connsiteX109" fmla="*/ 596275 w 651696"/>
                <a:gd name="connsiteY109" fmla="*/ 297253 h 785676"/>
                <a:gd name="connsiteX110" fmla="*/ 610356 w 651696"/>
                <a:gd name="connsiteY110" fmla="*/ 299057 h 785676"/>
                <a:gd name="connsiteX111" fmla="*/ 642777 w 651696"/>
                <a:gd name="connsiteY111" fmla="*/ 270945 h 785676"/>
                <a:gd name="connsiteX112" fmla="*/ 643078 w 651696"/>
                <a:gd name="connsiteY112" fmla="*/ 268841 h 785676"/>
                <a:gd name="connsiteX113" fmla="*/ 644731 w 651696"/>
                <a:gd name="connsiteY113" fmla="*/ 260472 h 785676"/>
                <a:gd name="connsiteX114" fmla="*/ 641875 w 651696"/>
                <a:gd name="connsiteY114" fmla="*/ 216025 h 785676"/>
                <a:gd name="connsiteX115" fmla="*/ 634008 w 651696"/>
                <a:gd name="connsiteY115" fmla="*/ 190970 h 785676"/>
                <a:gd name="connsiteX116" fmla="*/ 632103 w 651696"/>
                <a:gd name="connsiteY116" fmla="*/ 184205 h 785676"/>
                <a:gd name="connsiteX117" fmla="*/ 633056 w 651696"/>
                <a:gd name="connsiteY117" fmla="*/ 179394 h 785676"/>
                <a:gd name="connsiteX118" fmla="*/ 633807 w 651696"/>
                <a:gd name="connsiteY118" fmla="*/ 177690 h 785676"/>
                <a:gd name="connsiteX119" fmla="*/ 634308 w 651696"/>
                <a:gd name="connsiteY119" fmla="*/ 176337 h 785676"/>
                <a:gd name="connsiteX120" fmla="*/ 651697 w 651696"/>
                <a:gd name="connsiteY120" fmla="*/ 171878 h 785676"/>
                <a:gd name="connsiteX121" fmla="*/ 649993 w 651696"/>
                <a:gd name="connsiteY121" fmla="*/ 167668 h 785676"/>
                <a:gd name="connsiteX122" fmla="*/ 644531 w 651696"/>
                <a:gd name="connsiteY122" fmla="*/ 154439 h 785676"/>
                <a:gd name="connsiteX123" fmla="*/ 642025 w 651696"/>
                <a:gd name="connsiteY123" fmla="*/ 147624 h 785676"/>
                <a:gd name="connsiteX124" fmla="*/ 635411 w 651696"/>
                <a:gd name="connsiteY124" fmla="*/ 134846 h 785676"/>
                <a:gd name="connsiteX125" fmla="*/ 623184 w 651696"/>
                <a:gd name="connsiteY125" fmla="*/ 135548 h 785676"/>
                <a:gd name="connsiteX126" fmla="*/ 612561 w 651696"/>
                <a:gd name="connsiteY126" fmla="*/ 138304 h 785676"/>
                <a:gd name="connsiteX127" fmla="*/ 608852 w 651696"/>
                <a:gd name="connsiteY127" fmla="*/ 137753 h 785676"/>
                <a:gd name="connsiteX128" fmla="*/ 607550 w 651696"/>
                <a:gd name="connsiteY128" fmla="*/ 137452 h 785676"/>
                <a:gd name="connsiteX129" fmla="*/ 606297 w 651696"/>
                <a:gd name="connsiteY129" fmla="*/ 137252 h 785676"/>
                <a:gd name="connsiteX130" fmla="*/ 605695 w 651696"/>
                <a:gd name="connsiteY130" fmla="*/ 136149 h 785676"/>
                <a:gd name="connsiteX131" fmla="*/ 597928 w 651696"/>
                <a:gd name="connsiteY131" fmla="*/ 89948 h 785676"/>
                <a:gd name="connsiteX132" fmla="*/ 593418 w 651696"/>
                <a:gd name="connsiteY132" fmla="*/ 68601 h 785676"/>
                <a:gd name="connsiteX133" fmla="*/ 565908 w 651696"/>
                <a:gd name="connsiteY133" fmla="*/ 34476 h 785676"/>
                <a:gd name="connsiteX134" fmla="*/ 544511 w 651696"/>
                <a:gd name="connsiteY134" fmla="*/ 7867 h 785676"/>
                <a:gd name="connsiteX135" fmla="*/ 538097 w 651696"/>
                <a:gd name="connsiteY135" fmla="*/ 1854 h 785676"/>
                <a:gd name="connsiteX136" fmla="*/ 535892 w 651696"/>
                <a:gd name="connsiteY136" fmla="*/ 0 h 785676"/>
                <a:gd name="connsiteX137" fmla="*/ 522062 w 651696"/>
                <a:gd name="connsiteY137" fmla="*/ 29014 h 785676"/>
                <a:gd name="connsiteX138" fmla="*/ 521811 w 651696"/>
                <a:gd name="connsiteY138" fmla="*/ 29765 h 785676"/>
                <a:gd name="connsiteX139" fmla="*/ 482475 w 651696"/>
                <a:gd name="connsiteY139" fmla="*/ 88996 h 785676"/>
                <a:gd name="connsiteX140" fmla="*/ 472503 w 651696"/>
                <a:gd name="connsiteY140" fmla="*/ 100721 h 785676"/>
                <a:gd name="connsiteX141" fmla="*/ 471851 w 651696"/>
                <a:gd name="connsiteY141" fmla="*/ 101523 h 785676"/>
                <a:gd name="connsiteX142" fmla="*/ 470849 w 651696"/>
                <a:gd name="connsiteY142" fmla="*/ 101673 h 785676"/>
                <a:gd name="connsiteX143" fmla="*/ 467291 w 651696"/>
                <a:gd name="connsiteY143" fmla="*/ 102275 h 785676"/>
                <a:gd name="connsiteX144" fmla="*/ 461428 w 651696"/>
                <a:gd name="connsiteY144" fmla="*/ 102826 h 785676"/>
                <a:gd name="connsiteX145" fmla="*/ 409514 w 651696"/>
                <a:gd name="connsiteY145" fmla="*/ 126428 h 785676"/>
                <a:gd name="connsiteX146" fmla="*/ 407760 w 651696"/>
                <a:gd name="connsiteY146" fmla="*/ 128031 h 785676"/>
                <a:gd name="connsiteX147" fmla="*/ 381403 w 651696"/>
                <a:gd name="connsiteY147" fmla="*/ 144868 h 785676"/>
                <a:gd name="connsiteX148" fmla="*/ 365868 w 651696"/>
                <a:gd name="connsiteY148" fmla="*/ 167418 h 785676"/>
                <a:gd name="connsiteX149" fmla="*/ 368524 w 651696"/>
                <a:gd name="connsiteY149" fmla="*/ 176337 h 785676"/>
                <a:gd name="connsiteX150" fmla="*/ 370729 w 651696"/>
                <a:gd name="connsiteY150" fmla="*/ 181649 h 785676"/>
                <a:gd name="connsiteX151" fmla="*/ 371280 w 651696"/>
                <a:gd name="connsiteY151" fmla="*/ 183203 h 785676"/>
                <a:gd name="connsiteX152" fmla="*/ 370178 w 651696"/>
                <a:gd name="connsiteY152" fmla="*/ 184405 h 785676"/>
                <a:gd name="connsiteX153" fmla="*/ 365467 w 651696"/>
                <a:gd name="connsiteY153" fmla="*/ 189617 h 785676"/>
                <a:gd name="connsiteX154" fmla="*/ 355045 w 651696"/>
                <a:gd name="connsiteY154" fmla="*/ 200290 h 785676"/>
                <a:gd name="connsiteX155" fmla="*/ 327835 w 651696"/>
                <a:gd name="connsiteY155" fmla="*/ 246191 h 785676"/>
                <a:gd name="connsiteX156" fmla="*/ 325229 w 651696"/>
                <a:gd name="connsiteY156" fmla="*/ 254359 h 785676"/>
                <a:gd name="connsiteX157" fmla="*/ 324177 w 651696"/>
                <a:gd name="connsiteY157" fmla="*/ 256914 h 785676"/>
                <a:gd name="connsiteX158" fmla="*/ 323926 w 651696"/>
                <a:gd name="connsiteY158" fmla="*/ 257666 h 785676"/>
                <a:gd name="connsiteX159" fmla="*/ 323275 w 651696"/>
                <a:gd name="connsiteY159" fmla="*/ 258167 h 785676"/>
                <a:gd name="connsiteX160" fmla="*/ 283287 w 651696"/>
                <a:gd name="connsiteY160" fmla="*/ 270995 h 785676"/>
                <a:gd name="connsiteX161" fmla="*/ 271311 w 651696"/>
                <a:gd name="connsiteY161" fmla="*/ 272699 h 785676"/>
                <a:gd name="connsiteX162" fmla="*/ 265799 w 651696"/>
                <a:gd name="connsiteY162" fmla="*/ 290288 h 785676"/>
                <a:gd name="connsiteX163" fmla="*/ 265398 w 651696"/>
                <a:gd name="connsiteY163" fmla="*/ 293645 h 785676"/>
                <a:gd name="connsiteX164" fmla="*/ 261589 w 651696"/>
                <a:gd name="connsiteY164" fmla="*/ 323310 h 785676"/>
                <a:gd name="connsiteX165" fmla="*/ 254323 w 651696"/>
                <a:gd name="connsiteY165" fmla="*/ 378081 h 785676"/>
                <a:gd name="connsiteX166" fmla="*/ 253572 w 651696"/>
                <a:gd name="connsiteY166" fmla="*/ 384795 h 785676"/>
                <a:gd name="connsiteX167" fmla="*/ 247007 w 651696"/>
                <a:gd name="connsiteY167" fmla="*/ 408848 h 785676"/>
                <a:gd name="connsiteX168" fmla="*/ 246456 w 651696"/>
                <a:gd name="connsiteY168" fmla="*/ 409750 h 785676"/>
                <a:gd name="connsiteX169" fmla="*/ 245454 w 651696"/>
                <a:gd name="connsiteY169" fmla="*/ 410001 h 785676"/>
                <a:gd name="connsiteX170" fmla="*/ 240343 w 651696"/>
                <a:gd name="connsiteY170" fmla="*/ 411404 h 785676"/>
                <a:gd name="connsiteX171" fmla="*/ 229068 w 651696"/>
                <a:gd name="connsiteY171" fmla="*/ 414160 h 785676"/>
                <a:gd name="connsiteX172" fmla="*/ 208372 w 651696"/>
                <a:gd name="connsiteY172" fmla="*/ 417367 h 785676"/>
                <a:gd name="connsiteX173" fmla="*/ 50475 w 651696"/>
                <a:gd name="connsiteY173" fmla="*/ 435407 h 785676"/>
                <a:gd name="connsiteX174" fmla="*/ 716 w 651696"/>
                <a:gd name="connsiteY174" fmla="*/ 440969 h 785676"/>
                <a:gd name="connsiteX175" fmla="*/ 416 w 651696"/>
                <a:gd name="connsiteY175" fmla="*/ 443274 h 785676"/>
                <a:gd name="connsiteX176" fmla="*/ 265 w 651696"/>
                <a:gd name="connsiteY176" fmla="*/ 449788 h 785676"/>
                <a:gd name="connsiteX177" fmla="*/ 29780 w 651696"/>
                <a:gd name="connsiteY177" fmla="*/ 472638 h 78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</a:cxnLst>
              <a:rect l="l" t="t" r="r" b="b"/>
              <a:pathLst>
                <a:path w="651696" h="785676">
                  <a:moveTo>
                    <a:pt x="29529" y="472739"/>
                  </a:moveTo>
                  <a:cubicBezTo>
                    <a:pt x="35142" y="473140"/>
                    <a:pt x="40904" y="473089"/>
                    <a:pt x="46517" y="473039"/>
                  </a:cubicBezTo>
                  <a:cubicBezTo>
                    <a:pt x="48671" y="473039"/>
                    <a:pt x="50826" y="473039"/>
                    <a:pt x="52981" y="473039"/>
                  </a:cubicBezTo>
                  <a:cubicBezTo>
                    <a:pt x="54985" y="473039"/>
                    <a:pt x="56990" y="473089"/>
                    <a:pt x="59044" y="473140"/>
                  </a:cubicBezTo>
                  <a:cubicBezTo>
                    <a:pt x="64206" y="473290"/>
                    <a:pt x="69066" y="473390"/>
                    <a:pt x="73827" y="472689"/>
                  </a:cubicBezTo>
                  <a:cubicBezTo>
                    <a:pt x="78637" y="471987"/>
                    <a:pt x="83248" y="470484"/>
                    <a:pt x="88108" y="468880"/>
                  </a:cubicBezTo>
                  <a:cubicBezTo>
                    <a:pt x="90363" y="468179"/>
                    <a:pt x="92568" y="467427"/>
                    <a:pt x="94823" y="466776"/>
                  </a:cubicBezTo>
                  <a:lnTo>
                    <a:pt x="97178" y="466074"/>
                  </a:lnTo>
                  <a:lnTo>
                    <a:pt x="98080" y="468379"/>
                  </a:lnTo>
                  <a:cubicBezTo>
                    <a:pt x="98481" y="469482"/>
                    <a:pt x="98932" y="470434"/>
                    <a:pt x="99333" y="471336"/>
                  </a:cubicBezTo>
                  <a:cubicBezTo>
                    <a:pt x="100185" y="473240"/>
                    <a:pt x="100936" y="474893"/>
                    <a:pt x="101137" y="476848"/>
                  </a:cubicBezTo>
                  <a:lnTo>
                    <a:pt x="102690" y="491630"/>
                  </a:lnTo>
                  <a:cubicBezTo>
                    <a:pt x="104945" y="512977"/>
                    <a:pt x="107250" y="535076"/>
                    <a:pt x="108904" y="556823"/>
                  </a:cubicBezTo>
                  <a:cubicBezTo>
                    <a:pt x="109505" y="564941"/>
                    <a:pt x="107551" y="573510"/>
                    <a:pt x="105697" y="580927"/>
                  </a:cubicBezTo>
                  <a:cubicBezTo>
                    <a:pt x="102690" y="592903"/>
                    <a:pt x="99333" y="605029"/>
                    <a:pt x="96126" y="616755"/>
                  </a:cubicBezTo>
                  <a:cubicBezTo>
                    <a:pt x="93570" y="626126"/>
                    <a:pt x="91015" y="635496"/>
                    <a:pt x="88559" y="644867"/>
                  </a:cubicBezTo>
                  <a:cubicBezTo>
                    <a:pt x="87707" y="648074"/>
                    <a:pt x="87356" y="651481"/>
                    <a:pt x="86956" y="655039"/>
                  </a:cubicBezTo>
                  <a:cubicBezTo>
                    <a:pt x="86855" y="656142"/>
                    <a:pt x="86705" y="657244"/>
                    <a:pt x="86605" y="658347"/>
                  </a:cubicBezTo>
                  <a:cubicBezTo>
                    <a:pt x="94673" y="661854"/>
                    <a:pt x="102740" y="661353"/>
                    <a:pt x="110507" y="660852"/>
                  </a:cubicBezTo>
                  <a:cubicBezTo>
                    <a:pt x="111961" y="660752"/>
                    <a:pt x="113364" y="660652"/>
                    <a:pt x="114817" y="660602"/>
                  </a:cubicBezTo>
                  <a:cubicBezTo>
                    <a:pt x="124438" y="660151"/>
                    <a:pt x="133458" y="662205"/>
                    <a:pt x="145184" y="667617"/>
                  </a:cubicBezTo>
                  <a:cubicBezTo>
                    <a:pt x="145083" y="666765"/>
                    <a:pt x="145033" y="665963"/>
                    <a:pt x="144933" y="665162"/>
                  </a:cubicBezTo>
                  <a:cubicBezTo>
                    <a:pt x="144532" y="660802"/>
                    <a:pt x="144181" y="657344"/>
                    <a:pt x="144131" y="653786"/>
                  </a:cubicBezTo>
                  <a:cubicBezTo>
                    <a:pt x="144131" y="650028"/>
                    <a:pt x="145885" y="646521"/>
                    <a:pt x="148842" y="644416"/>
                  </a:cubicBezTo>
                  <a:cubicBezTo>
                    <a:pt x="151848" y="642311"/>
                    <a:pt x="155607" y="641860"/>
                    <a:pt x="159114" y="643213"/>
                  </a:cubicBezTo>
                  <a:cubicBezTo>
                    <a:pt x="162071" y="644316"/>
                    <a:pt x="166330" y="646320"/>
                    <a:pt x="169888" y="649627"/>
                  </a:cubicBezTo>
                  <a:cubicBezTo>
                    <a:pt x="175450" y="654739"/>
                    <a:pt x="180812" y="660100"/>
                    <a:pt x="186023" y="665312"/>
                  </a:cubicBezTo>
                  <a:cubicBezTo>
                    <a:pt x="187978" y="667266"/>
                    <a:pt x="189932" y="669270"/>
                    <a:pt x="191936" y="671225"/>
                  </a:cubicBezTo>
                  <a:cubicBezTo>
                    <a:pt x="196146" y="675434"/>
                    <a:pt x="200405" y="679192"/>
                    <a:pt x="206218" y="679243"/>
                  </a:cubicBezTo>
                  <a:cubicBezTo>
                    <a:pt x="221100" y="679393"/>
                    <a:pt x="230271" y="687611"/>
                    <a:pt x="234380" y="704398"/>
                  </a:cubicBezTo>
                  <a:cubicBezTo>
                    <a:pt x="234730" y="705751"/>
                    <a:pt x="235031" y="707104"/>
                    <a:pt x="235332" y="708457"/>
                  </a:cubicBezTo>
                  <a:cubicBezTo>
                    <a:pt x="236033" y="711714"/>
                    <a:pt x="236735" y="714821"/>
                    <a:pt x="237837" y="717727"/>
                  </a:cubicBezTo>
                  <a:cubicBezTo>
                    <a:pt x="238539" y="719581"/>
                    <a:pt x="239741" y="721285"/>
                    <a:pt x="241195" y="723239"/>
                  </a:cubicBezTo>
                  <a:cubicBezTo>
                    <a:pt x="241245" y="723339"/>
                    <a:pt x="241295" y="723390"/>
                    <a:pt x="241345" y="723490"/>
                  </a:cubicBezTo>
                  <a:cubicBezTo>
                    <a:pt x="245404" y="718479"/>
                    <a:pt x="245805" y="713317"/>
                    <a:pt x="245003" y="707304"/>
                  </a:cubicBezTo>
                  <a:cubicBezTo>
                    <a:pt x="244351" y="702193"/>
                    <a:pt x="243450" y="697783"/>
                    <a:pt x="242247" y="693875"/>
                  </a:cubicBezTo>
                  <a:cubicBezTo>
                    <a:pt x="234430" y="668318"/>
                    <a:pt x="240293" y="644015"/>
                    <a:pt x="247759" y="621616"/>
                  </a:cubicBezTo>
                  <a:lnTo>
                    <a:pt x="248461" y="619461"/>
                  </a:lnTo>
                  <a:lnTo>
                    <a:pt x="250665" y="619762"/>
                  </a:lnTo>
                  <a:cubicBezTo>
                    <a:pt x="258332" y="620864"/>
                    <a:pt x="261539" y="616104"/>
                    <a:pt x="265598" y="608738"/>
                  </a:cubicBezTo>
                  <a:cubicBezTo>
                    <a:pt x="266250" y="607585"/>
                    <a:pt x="266801" y="606332"/>
                    <a:pt x="267402" y="605079"/>
                  </a:cubicBezTo>
                  <a:cubicBezTo>
                    <a:pt x="269857" y="599818"/>
                    <a:pt x="272613" y="593855"/>
                    <a:pt x="280431" y="590898"/>
                  </a:cubicBezTo>
                  <a:lnTo>
                    <a:pt x="282636" y="590097"/>
                  </a:lnTo>
                  <a:lnTo>
                    <a:pt x="286093" y="596461"/>
                  </a:lnTo>
                  <a:cubicBezTo>
                    <a:pt x="287045" y="598164"/>
                    <a:pt x="287947" y="599868"/>
                    <a:pt x="288899" y="601572"/>
                  </a:cubicBezTo>
                  <a:cubicBezTo>
                    <a:pt x="290703" y="598365"/>
                    <a:pt x="292006" y="594957"/>
                    <a:pt x="293309" y="591600"/>
                  </a:cubicBezTo>
                  <a:cubicBezTo>
                    <a:pt x="295965" y="584835"/>
                    <a:pt x="298671" y="577820"/>
                    <a:pt x="305285" y="573009"/>
                  </a:cubicBezTo>
                  <a:lnTo>
                    <a:pt x="306037" y="572458"/>
                  </a:lnTo>
                  <a:lnTo>
                    <a:pt x="330491" y="573761"/>
                  </a:lnTo>
                  <a:lnTo>
                    <a:pt x="330741" y="576016"/>
                  </a:lnTo>
                  <a:cubicBezTo>
                    <a:pt x="331894" y="585486"/>
                    <a:pt x="328587" y="593404"/>
                    <a:pt x="325430" y="601071"/>
                  </a:cubicBezTo>
                  <a:cubicBezTo>
                    <a:pt x="323475" y="605831"/>
                    <a:pt x="321621" y="610291"/>
                    <a:pt x="320769" y="615051"/>
                  </a:cubicBezTo>
                  <a:lnTo>
                    <a:pt x="321271" y="616004"/>
                  </a:lnTo>
                  <a:cubicBezTo>
                    <a:pt x="324177" y="621616"/>
                    <a:pt x="326682" y="626527"/>
                    <a:pt x="333648" y="627529"/>
                  </a:cubicBezTo>
                  <a:cubicBezTo>
                    <a:pt x="333948" y="627178"/>
                    <a:pt x="334299" y="626777"/>
                    <a:pt x="334650" y="626426"/>
                  </a:cubicBezTo>
                  <a:cubicBezTo>
                    <a:pt x="335953" y="624923"/>
                    <a:pt x="337256" y="623520"/>
                    <a:pt x="338007" y="621967"/>
                  </a:cubicBezTo>
                  <a:cubicBezTo>
                    <a:pt x="340012" y="618108"/>
                    <a:pt x="341715" y="614200"/>
                    <a:pt x="343519" y="610040"/>
                  </a:cubicBezTo>
                  <a:cubicBezTo>
                    <a:pt x="344071" y="608788"/>
                    <a:pt x="344622" y="607485"/>
                    <a:pt x="345223" y="606232"/>
                  </a:cubicBezTo>
                  <a:lnTo>
                    <a:pt x="332044" y="587691"/>
                  </a:lnTo>
                  <a:lnTo>
                    <a:pt x="336354" y="575013"/>
                  </a:lnTo>
                  <a:cubicBezTo>
                    <a:pt x="339961" y="564290"/>
                    <a:pt x="343720" y="553165"/>
                    <a:pt x="347729" y="542292"/>
                  </a:cubicBezTo>
                  <a:cubicBezTo>
                    <a:pt x="348530" y="540037"/>
                    <a:pt x="350535" y="538684"/>
                    <a:pt x="352689" y="537230"/>
                  </a:cubicBezTo>
                  <a:cubicBezTo>
                    <a:pt x="353541" y="536629"/>
                    <a:pt x="354443" y="536028"/>
                    <a:pt x="355345" y="535326"/>
                  </a:cubicBezTo>
                  <a:lnTo>
                    <a:pt x="357951" y="533172"/>
                  </a:lnTo>
                  <a:lnTo>
                    <a:pt x="359454" y="536178"/>
                  </a:lnTo>
                  <a:cubicBezTo>
                    <a:pt x="360056" y="537431"/>
                    <a:pt x="360657" y="538483"/>
                    <a:pt x="361208" y="539385"/>
                  </a:cubicBezTo>
                  <a:cubicBezTo>
                    <a:pt x="362261" y="541239"/>
                    <a:pt x="363213" y="542893"/>
                    <a:pt x="363413" y="544747"/>
                  </a:cubicBezTo>
                  <a:cubicBezTo>
                    <a:pt x="364465" y="553416"/>
                    <a:pt x="365417" y="562085"/>
                    <a:pt x="366370" y="570804"/>
                  </a:cubicBezTo>
                  <a:cubicBezTo>
                    <a:pt x="367823" y="583833"/>
                    <a:pt x="369326" y="597262"/>
                    <a:pt x="371080" y="610441"/>
                  </a:cubicBezTo>
                  <a:cubicBezTo>
                    <a:pt x="372433" y="620413"/>
                    <a:pt x="368324" y="627729"/>
                    <a:pt x="363714" y="634143"/>
                  </a:cubicBezTo>
                  <a:lnTo>
                    <a:pt x="360256" y="638954"/>
                  </a:lnTo>
                  <a:cubicBezTo>
                    <a:pt x="350986" y="651832"/>
                    <a:pt x="341365" y="665111"/>
                    <a:pt x="332144" y="678340"/>
                  </a:cubicBezTo>
                  <a:cubicBezTo>
                    <a:pt x="318665" y="697783"/>
                    <a:pt x="313854" y="720082"/>
                    <a:pt x="310798" y="741479"/>
                  </a:cubicBezTo>
                  <a:cubicBezTo>
                    <a:pt x="325079" y="746891"/>
                    <a:pt x="334850" y="757214"/>
                    <a:pt x="344321" y="767236"/>
                  </a:cubicBezTo>
                  <a:cubicBezTo>
                    <a:pt x="350886" y="774201"/>
                    <a:pt x="357049" y="780765"/>
                    <a:pt x="364616" y="785676"/>
                  </a:cubicBezTo>
                  <a:cubicBezTo>
                    <a:pt x="366871" y="784373"/>
                    <a:pt x="369025" y="783020"/>
                    <a:pt x="371180" y="781718"/>
                  </a:cubicBezTo>
                  <a:cubicBezTo>
                    <a:pt x="377093" y="778060"/>
                    <a:pt x="382655" y="774602"/>
                    <a:pt x="388969" y="772798"/>
                  </a:cubicBezTo>
                  <a:cubicBezTo>
                    <a:pt x="396436" y="770643"/>
                    <a:pt x="401346" y="766434"/>
                    <a:pt x="404403" y="759569"/>
                  </a:cubicBezTo>
                  <a:cubicBezTo>
                    <a:pt x="408161" y="751050"/>
                    <a:pt x="412371" y="741129"/>
                    <a:pt x="414325" y="731257"/>
                  </a:cubicBezTo>
                  <a:cubicBezTo>
                    <a:pt x="416129" y="722087"/>
                    <a:pt x="420288" y="714620"/>
                    <a:pt x="427353" y="707705"/>
                  </a:cubicBezTo>
                  <a:cubicBezTo>
                    <a:pt x="432916" y="702293"/>
                    <a:pt x="438428" y="696530"/>
                    <a:pt x="443740" y="690968"/>
                  </a:cubicBezTo>
                  <a:cubicBezTo>
                    <a:pt x="445493" y="689114"/>
                    <a:pt x="447247" y="687260"/>
                    <a:pt x="449051" y="685406"/>
                  </a:cubicBezTo>
                  <a:cubicBezTo>
                    <a:pt x="448600" y="684354"/>
                    <a:pt x="448149" y="683351"/>
                    <a:pt x="447799" y="682399"/>
                  </a:cubicBezTo>
                  <a:cubicBezTo>
                    <a:pt x="446696" y="679693"/>
                    <a:pt x="445794" y="677539"/>
                    <a:pt x="444491" y="675885"/>
                  </a:cubicBezTo>
                  <a:cubicBezTo>
                    <a:pt x="435672" y="664861"/>
                    <a:pt x="432264" y="651832"/>
                    <a:pt x="428907" y="639255"/>
                  </a:cubicBezTo>
                  <a:cubicBezTo>
                    <a:pt x="428406" y="637350"/>
                    <a:pt x="427905" y="635496"/>
                    <a:pt x="427404" y="633592"/>
                  </a:cubicBezTo>
                  <a:cubicBezTo>
                    <a:pt x="424447" y="622768"/>
                    <a:pt x="426752" y="614200"/>
                    <a:pt x="434519" y="607435"/>
                  </a:cubicBezTo>
                  <a:cubicBezTo>
                    <a:pt x="446245" y="597262"/>
                    <a:pt x="451857" y="583582"/>
                    <a:pt x="456217" y="570403"/>
                  </a:cubicBezTo>
                  <a:lnTo>
                    <a:pt x="457219" y="567397"/>
                  </a:lnTo>
                  <a:cubicBezTo>
                    <a:pt x="460777" y="556573"/>
                    <a:pt x="464435" y="545398"/>
                    <a:pt x="468394" y="534525"/>
                  </a:cubicBezTo>
                  <a:cubicBezTo>
                    <a:pt x="469446" y="531568"/>
                    <a:pt x="471100" y="528812"/>
                    <a:pt x="472854" y="525956"/>
                  </a:cubicBezTo>
                  <a:cubicBezTo>
                    <a:pt x="473655" y="524653"/>
                    <a:pt x="474457" y="523300"/>
                    <a:pt x="475259" y="521847"/>
                  </a:cubicBezTo>
                  <a:lnTo>
                    <a:pt x="476762" y="519090"/>
                  </a:lnTo>
                  <a:lnTo>
                    <a:pt x="498059" y="535627"/>
                  </a:lnTo>
                  <a:cubicBezTo>
                    <a:pt x="517752" y="528511"/>
                    <a:pt x="526471" y="518840"/>
                    <a:pt x="527975" y="502554"/>
                  </a:cubicBezTo>
                  <a:cubicBezTo>
                    <a:pt x="528325" y="498696"/>
                    <a:pt x="529728" y="495088"/>
                    <a:pt x="531031" y="491630"/>
                  </a:cubicBezTo>
                  <a:cubicBezTo>
                    <a:pt x="531983" y="489125"/>
                    <a:pt x="532885" y="486719"/>
                    <a:pt x="533437" y="484264"/>
                  </a:cubicBezTo>
                  <a:cubicBezTo>
                    <a:pt x="534589" y="478902"/>
                    <a:pt x="535742" y="472588"/>
                    <a:pt x="535391" y="466425"/>
                  </a:cubicBezTo>
                  <a:cubicBezTo>
                    <a:pt x="535241" y="463819"/>
                    <a:pt x="532936" y="460061"/>
                    <a:pt x="531833" y="459710"/>
                  </a:cubicBezTo>
                  <a:cubicBezTo>
                    <a:pt x="520208" y="456553"/>
                    <a:pt x="518504" y="447884"/>
                    <a:pt x="518404" y="439015"/>
                  </a:cubicBezTo>
                  <a:cubicBezTo>
                    <a:pt x="518404" y="435707"/>
                    <a:pt x="518404" y="432400"/>
                    <a:pt x="518404" y="429093"/>
                  </a:cubicBezTo>
                  <a:cubicBezTo>
                    <a:pt x="518404" y="424533"/>
                    <a:pt x="518454" y="419973"/>
                    <a:pt x="518353" y="415413"/>
                  </a:cubicBezTo>
                  <a:cubicBezTo>
                    <a:pt x="518153" y="406944"/>
                    <a:pt x="521059" y="399628"/>
                    <a:pt x="527624" y="392362"/>
                  </a:cubicBezTo>
                  <a:cubicBezTo>
                    <a:pt x="531833" y="387702"/>
                    <a:pt x="535792" y="382641"/>
                    <a:pt x="539650" y="377730"/>
                  </a:cubicBezTo>
                  <a:cubicBezTo>
                    <a:pt x="543008" y="373521"/>
                    <a:pt x="546465" y="369111"/>
                    <a:pt x="550073" y="364952"/>
                  </a:cubicBezTo>
                  <a:cubicBezTo>
                    <a:pt x="564555" y="348265"/>
                    <a:pt x="574226" y="331228"/>
                    <a:pt x="579638" y="312938"/>
                  </a:cubicBezTo>
                  <a:cubicBezTo>
                    <a:pt x="580741" y="309230"/>
                    <a:pt x="582645" y="305972"/>
                    <a:pt x="584649" y="302515"/>
                  </a:cubicBezTo>
                  <a:cubicBezTo>
                    <a:pt x="585501" y="301011"/>
                    <a:pt x="586403" y="299458"/>
                    <a:pt x="587255" y="297854"/>
                  </a:cubicBezTo>
                  <a:lnTo>
                    <a:pt x="588107" y="296201"/>
                  </a:lnTo>
                  <a:lnTo>
                    <a:pt x="596275" y="297253"/>
                  </a:lnTo>
                  <a:cubicBezTo>
                    <a:pt x="601236" y="297905"/>
                    <a:pt x="605796" y="298456"/>
                    <a:pt x="610356" y="299057"/>
                  </a:cubicBezTo>
                  <a:cubicBezTo>
                    <a:pt x="621129" y="289686"/>
                    <a:pt x="631753" y="280466"/>
                    <a:pt x="642777" y="270945"/>
                  </a:cubicBezTo>
                  <a:cubicBezTo>
                    <a:pt x="642877" y="270244"/>
                    <a:pt x="642977" y="269542"/>
                    <a:pt x="643078" y="268841"/>
                  </a:cubicBezTo>
                  <a:cubicBezTo>
                    <a:pt x="643478" y="266235"/>
                    <a:pt x="643879" y="263278"/>
                    <a:pt x="644731" y="260472"/>
                  </a:cubicBezTo>
                  <a:cubicBezTo>
                    <a:pt x="649041" y="246291"/>
                    <a:pt x="648139" y="232210"/>
                    <a:pt x="641875" y="216025"/>
                  </a:cubicBezTo>
                  <a:cubicBezTo>
                    <a:pt x="638718" y="207857"/>
                    <a:pt x="636313" y="199288"/>
                    <a:pt x="634008" y="190970"/>
                  </a:cubicBezTo>
                  <a:cubicBezTo>
                    <a:pt x="633406" y="188715"/>
                    <a:pt x="632755" y="186460"/>
                    <a:pt x="632103" y="184205"/>
                  </a:cubicBezTo>
                  <a:cubicBezTo>
                    <a:pt x="631602" y="182451"/>
                    <a:pt x="632354" y="180847"/>
                    <a:pt x="633056" y="179394"/>
                  </a:cubicBezTo>
                  <a:cubicBezTo>
                    <a:pt x="633306" y="178893"/>
                    <a:pt x="633557" y="178292"/>
                    <a:pt x="633807" y="177690"/>
                  </a:cubicBezTo>
                  <a:lnTo>
                    <a:pt x="634308" y="176337"/>
                  </a:lnTo>
                  <a:lnTo>
                    <a:pt x="651697" y="171878"/>
                  </a:lnTo>
                  <a:lnTo>
                    <a:pt x="649993" y="167668"/>
                  </a:lnTo>
                  <a:cubicBezTo>
                    <a:pt x="648089" y="163008"/>
                    <a:pt x="646335" y="158699"/>
                    <a:pt x="644531" y="154439"/>
                  </a:cubicBezTo>
                  <a:cubicBezTo>
                    <a:pt x="643579" y="152285"/>
                    <a:pt x="642827" y="149980"/>
                    <a:pt x="642025" y="147624"/>
                  </a:cubicBezTo>
                  <a:cubicBezTo>
                    <a:pt x="640271" y="142413"/>
                    <a:pt x="638618" y="137502"/>
                    <a:pt x="635411" y="134846"/>
                  </a:cubicBezTo>
                  <a:cubicBezTo>
                    <a:pt x="632204" y="132140"/>
                    <a:pt x="628696" y="133393"/>
                    <a:pt x="623184" y="135548"/>
                  </a:cubicBezTo>
                  <a:cubicBezTo>
                    <a:pt x="619776" y="136901"/>
                    <a:pt x="616269" y="138304"/>
                    <a:pt x="612561" y="138304"/>
                  </a:cubicBezTo>
                  <a:cubicBezTo>
                    <a:pt x="611207" y="138304"/>
                    <a:pt x="609955" y="138003"/>
                    <a:pt x="608852" y="137753"/>
                  </a:cubicBezTo>
                  <a:cubicBezTo>
                    <a:pt x="608401" y="137652"/>
                    <a:pt x="608001" y="137552"/>
                    <a:pt x="607550" y="137452"/>
                  </a:cubicBezTo>
                  <a:lnTo>
                    <a:pt x="606297" y="137252"/>
                  </a:lnTo>
                  <a:lnTo>
                    <a:pt x="605695" y="136149"/>
                  </a:lnTo>
                  <a:cubicBezTo>
                    <a:pt x="593418" y="114602"/>
                    <a:pt x="592065" y="110142"/>
                    <a:pt x="597928" y="89948"/>
                  </a:cubicBezTo>
                  <a:cubicBezTo>
                    <a:pt x="600384" y="81479"/>
                    <a:pt x="599081" y="75516"/>
                    <a:pt x="593418" y="68601"/>
                  </a:cubicBezTo>
                  <a:cubicBezTo>
                    <a:pt x="584148" y="57326"/>
                    <a:pt x="575028" y="45901"/>
                    <a:pt x="565908" y="34476"/>
                  </a:cubicBezTo>
                  <a:cubicBezTo>
                    <a:pt x="558792" y="25556"/>
                    <a:pt x="551677" y="16687"/>
                    <a:pt x="544511" y="7867"/>
                  </a:cubicBezTo>
                  <a:cubicBezTo>
                    <a:pt x="542807" y="5813"/>
                    <a:pt x="540653" y="3959"/>
                    <a:pt x="538097" y="1854"/>
                  </a:cubicBezTo>
                  <a:cubicBezTo>
                    <a:pt x="537395" y="1253"/>
                    <a:pt x="536644" y="651"/>
                    <a:pt x="535892" y="0"/>
                  </a:cubicBezTo>
                  <a:cubicBezTo>
                    <a:pt x="529177" y="9521"/>
                    <a:pt x="525569" y="19393"/>
                    <a:pt x="522062" y="29014"/>
                  </a:cubicBezTo>
                  <a:lnTo>
                    <a:pt x="521811" y="29765"/>
                  </a:lnTo>
                  <a:cubicBezTo>
                    <a:pt x="513242" y="53317"/>
                    <a:pt x="497608" y="71457"/>
                    <a:pt x="482475" y="88996"/>
                  </a:cubicBezTo>
                  <a:cubicBezTo>
                    <a:pt x="479117" y="92904"/>
                    <a:pt x="475760" y="96813"/>
                    <a:pt x="472503" y="100721"/>
                  </a:cubicBezTo>
                  <a:lnTo>
                    <a:pt x="471851" y="101523"/>
                  </a:lnTo>
                  <a:lnTo>
                    <a:pt x="470849" y="101673"/>
                  </a:lnTo>
                  <a:cubicBezTo>
                    <a:pt x="469496" y="101874"/>
                    <a:pt x="468344" y="102074"/>
                    <a:pt x="467291" y="102275"/>
                  </a:cubicBezTo>
                  <a:cubicBezTo>
                    <a:pt x="465137" y="102676"/>
                    <a:pt x="463333" y="103076"/>
                    <a:pt x="461428" y="102826"/>
                  </a:cubicBezTo>
                  <a:cubicBezTo>
                    <a:pt x="440282" y="100270"/>
                    <a:pt x="425399" y="111996"/>
                    <a:pt x="409514" y="126428"/>
                  </a:cubicBezTo>
                  <a:lnTo>
                    <a:pt x="407760" y="128031"/>
                  </a:lnTo>
                  <a:cubicBezTo>
                    <a:pt x="399793" y="135297"/>
                    <a:pt x="392276" y="142162"/>
                    <a:pt x="381403" y="144868"/>
                  </a:cubicBezTo>
                  <a:cubicBezTo>
                    <a:pt x="371631" y="147274"/>
                    <a:pt x="366971" y="154038"/>
                    <a:pt x="365868" y="167418"/>
                  </a:cubicBezTo>
                  <a:cubicBezTo>
                    <a:pt x="365668" y="170024"/>
                    <a:pt x="367071" y="173080"/>
                    <a:pt x="368524" y="176337"/>
                  </a:cubicBezTo>
                  <a:cubicBezTo>
                    <a:pt x="369326" y="178091"/>
                    <a:pt x="370128" y="179895"/>
                    <a:pt x="370729" y="181649"/>
                  </a:cubicBezTo>
                  <a:lnTo>
                    <a:pt x="371280" y="183203"/>
                  </a:lnTo>
                  <a:lnTo>
                    <a:pt x="370178" y="184405"/>
                  </a:lnTo>
                  <a:cubicBezTo>
                    <a:pt x="368524" y="186159"/>
                    <a:pt x="366971" y="187863"/>
                    <a:pt x="365467" y="189617"/>
                  </a:cubicBezTo>
                  <a:cubicBezTo>
                    <a:pt x="362060" y="193475"/>
                    <a:pt x="358803" y="197083"/>
                    <a:pt x="355045" y="200290"/>
                  </a:cubicBezTo>
                  <a:cubicBezTo>
                    <a:pt x="338809" y="214171"/>
                    <a:pt x="330190" y="228753"/>
                    <a:pt x="327835" y="246191"/>
                  </a:cubicBezTo>
                  <a:cubicBezTo>
                    <a:pt x="327434" y="249198"/>
                    <a:pt x="326282" y="251954"/>
                    <a:pt x="325229" y="254359"/>
                  </a:cubicBezTo>
                  <a:cubicBezTo>
                    <a:pt x="324828" y="255261"/>
                    <a:pt x="324477" y="256113"/>
                    <a:pt x="324177" y="256914"/>
                  </a:cubicBezTo>
                  <a:lnTo>
                    <a:pt x="323926" y="257666"/>
                  </a:lnTo>
                  <a:lnTo>
                    <a:pt x="323275" y="258167"/>
                  </a:lnTo>
                  <a:cubicBezTo>
                    <a:pt x="310597" y="267588"/>
                    <a:pt x="296716" y="269292"/>
                    <a:pt x="283287" y="270995"/>
                  </a:cubicBezTo>
                  <a:cubicBezTo>
                    <a:pt x="279128" y="271497"/>
                    <a:pt x="275169" y="271998"/>
                    <a:pt x="271311" y="272699"/>
                  </a:cubicBezTo>
                  <a:cubicBezTo>
                    <a:pt x="267202" y="278111"/>
                    <a:pt x="266550" y="284024"/>
                    <a:pt x="265799" y="290288"/>
                  </a:cubicBezTo>
                  <a:cubicBezTo>
                    <a:pt x="265648" y="291390"/>
                    <a:pt x="265548" y="292543"/>
                    <a:pt x="265398" y="293645"/>
                  </a:cubicBezTo>
                  <a:cubicBezTo>
                    <a:pt x="264095" y="303517"/>
                    <a:pt x="262842" y="313389"/>
                    <a:pt x="261589" y="323310"/>
                  </a:cubicBezTo>
                  <a:cubicBezTo>
                    <a:pt x="259334" y="341250"/>
                    <a:pt x="256979" y="359841"/>
                    <a:pt x="254323" y="378081"/>
                  </a:cubicBezTo>
                  <a:cubicBezTo>
                    <a:pt x="254023" y="380286"/>
                    <a:pt x="253772" y="382540"/>
                    <a:pt x="253572" y="384795"/>
                  </a:cubicBezTo>
                  <a:cubicBezTo>
                    <a:pt x="252770" y="392863"/>
                    <a:pt x="251918" y="401181"/>
                    <a:pt x="247007" y="408848"/>
                  </a:cubicBezTo>
                  <a:lnTo>
                    <a:pt x="246456" y="409750"/>
                  </a:lnTo>
                  <a:lnTo>
                    <a:pt x="245454" y="410001"/>
                  </a:lnTo>
                  <a:cubicBezTo>
                    <a:pt x="243750" y="410452"/>
                    <a:pt x="242046" y="410953"/>
                    <a:pt x="240343" y="411404"/>
                  </a:cubicBezTo>
                  <a:cubicBezTo>
                    <a:pt x="236685" y="412456"/>
                    <a:pt x="232926" y="413559"/>
                    <a:pt x="229068" y="414160"/>
                  </a:cubicBezTo>
                  <a:lnTo>
                    <a:pt x="208372" y="417367"/>
                  </a:lnTo>
                  <a:cubicBezTo>
                    <a:pt x="156909" y="425385"/>
                    <a:pt x="103692" y="433703"/>
                    <a:pt x="50475" y="435407"/>
                  </a:cubicBezTo>
                  <a:cubicBezTo>
                    <a:pt x="35793" y="435908"/>
                    <a:pt x="18455" y="436960"/>
                    <a:pt x="716" y="440969"/>
                  </a:cubicBezTo>
                  <a:cubicBezTo>
                    <a:pt x="616" y="441771"/>
                    <a:pt x="516" y="442522"/>
                    <a:pt x="416" y="443274"/>
                  </a:cubicBezTo>
                  <a:cubicBezTo>
                    <a:pt x="65" y="445830"/>
                    <a:pt x="-236" y="448085"/>
                    <a:pt x="265" y="449788"/>
                  </a:cubicBezTo>
                  <a:cubicBezTo>
                    <a:pt x="3071" y="459159"/>
                    <a:pt x="19658" y="471987"/>
                    <a:pt x="29780" y="47263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4233D4AB-B09A-464A-89C4-6019C19B1E14}"/>
                </a:ext>
              </a:extLst>
            </p:cNvPr>
            <p:cNvSpPr/>
            <p:nvPr/>
          </p:nvSpPr>
          <p:spPr>
            <a:xfrm>
              <a:off x="2597944" y="1111925"/>
              <a:ext cx="628808" cy="826724"/>
            </a:xfrm>
            <a:custGeom>
              <a:avLst/>
              <a:gdLst>
                <a:gd name="connsiteX0" fmla="*/ 58428 w 504207"/>
                <a:gd name="connsiteY0" fmla="*/ 301555 h 662905"/>
                <a:gd name="connsiteX1" fmla="*/ 68551 w 504207"/>
                <a:gd name="connsiteY1" fmla="*/ 314333 h 662905"/>
                <a:gd name="connsiteX2" fmla="*/ 69302 w 504207"/>
                <a:gd name="connsiteY2" fmla="*/ 315335 h 662905"/>
                <a:gd name="connsiteX3" fmla="*/ 69052 w 504207"/>
                <a:gd name="connsiteY3" fmla="*/ 316538 h 662905"/>
                <a:gd name="connsiteX4" fmla="*/ 71156 w 504207"/>
                <a:gd name="connsiteY4" fmla="*/ 362990 h 662905"/>
                <a:gd name="connsiteX5" fmla="*/ 104129 w 504207"/>
                <a:gd name="connsiteY5" fmla="*/ 364292 h 662905"/>
                <a:gd name="connsiteX6" fmla="*/ 110693 w 504207"/>
                <a:gd name="connsiteY6" fmla="*/ 366096 h 662905"/>
                <a:gd name="connsiteX7" fmla="*/ 111395 w 504207"/>
                <a:gd name="connsiteY7" fmla="*/ 360033 h 662905"/>
                <a:gd name="connsiteX8" fmla="*/ 115303 w 504207"/>
                <a:gd name="connsiteY8" fmla="*/ 341993 h 662905"/>
                <a:gd name="connsiteX9" fmla="*/ 122469 w 504207"/>
                <a:gd name="connsiteY9" fmla="*/ 301755 h 662905"/>
                <a:gd name="connsiteX10" fmla="*/ 124724 w 504207"/>
                <a:gd name="connsiteY10" fmla="*/ 293487 h 662905"/>
                <a:gd name="connsiteX11" fmla="*/ 126578 w 504207"/>
                <a:gd name="connsiteY11" fmla="*/ 288726 h 662905"/>
                <a:gd name="connsiteX12" fmla="*/ 127981 w 504207"/>
                <a:gd name="connsiteY12" fmla="*/ 284617 h 662905"/>
                <a:gd name="connsiteX13" fmla="*/ 131038 w 504207"/>
                <a:gd name="connsiteY13" fmla="*/ 287674 h 662905"/>
                <a:gd name="connsiteX14" fmla="*/ 153788 w 504207"/>
                <a:gd name="connsiteY14" fmla="*/ 329165 h 662905"/>
                <a:gd name="connsiteX15" fmla="*/ 151132 w 504207"/>
                <a:gd name="connsiteY15" fmla="*/ 340490 h 662905"/>
                <a:gd name="connsiteX16" fmla="*/ 145921 w 504207"/>
                <a:gd name="connsiteY16" fmla="*/ 367550 h 662905"/>
                <a:gd name="connsiteX17" fmla="*/ 146722 w 504207"/>
                <a:gd name="connsiteY17" fmla="*/ 374565 h 662905"/>
                <a:gd name="connsiteX18" fmla="*/ 161304 w 504207"/>
                <a:gd name="connsiteY18" fmla="*/ 380779 h 662905"/>
                <a:gd name="connsiteX19" fmla="*/ 162657 w 504207"/>
                <a:gd name="connsiteY19" fmla="*/ 381330 h 662905"/>
                <a:gd name="connsiteX20" fmla="*/ 162908 w 504207"/>
                <a:gd name="connsiteY20" fmla="*/ 382783 h 662905"/>
                <a:gd name="connsiteX21" fmla="*/ 166366 w 504207"/>
                <a:gd name="connsiteY21" fmla="*/ 397215 h 662905"/>
                <a:gd name="connsiteX22" fmla="*/ 168570 w 504207"/>
                <a:gd name="connsiteY22" fmla="*/ 439808 h 662905"/>
                <a:gd name="connsiteX23" fmla="*/ 182852 w 504207"/>
                <a:gd name="connsiteY23" fmla="*/ 448578 h 662905"/>
                <a:gd name="connsiteX24" fmla="*/ 182852 w 504207"/>
                <a:gd name="connsiteY24" fmla="*/ 450081 h 662905"/>
                <a:gd name="connsiteX25" fmla="*/ 182952 w 504207"/>
                <a:gd name="connsiteY25" fmla="*/ 456245 h 662905"/>
                <a:gd name="connsiteX26" fmla="*/ 182701 w 504207"/>
                <a:gd name="connsiteY26" fmla="*/ 471027 h 662905"/>
                <a:gd name="connsiteX27" fmla="*/ 196532 w 504207"/>
                <a:gd name="connsiteY27" fmla="*/ 514923 h 662905"/>
                <a:gd name="connsiteX28" fmla="*/ 202144 w 504207"/>
                <a:gd name="connsiteY28" fmla="*/ 522690 h 662905"/>
                <a:gd name="connsiteX29" fmla="*/ 207606 w 504207"/>
                <a:gd name="connsiteY29" fmla="*/ 530207 h 662905"/>
                <a:gd name="connsiteX30" fmla="*/ 253206 w 504207"/>
                <a:gd name="connsiteY30" fmla="*/ 599610 h 662905"/>
                <a:gd name="connsiteX31" fmla="*/ 266636 w 504207"/>
                <a:gd name="connsiteY31" fmla="*/ 625116 h 662905"/>
                <a:gd name="connsiteX32" fmla="*/ 269693 w 504207"/>
                <a:gd name="connsiteY32" fmla="*/ 631179 h 662905"/>
                <a:gd name="connsiteX33" fmla="*/ 283774 w 504207"/>
                <a:gd name="connsiteY33" fmla="*/ 642855 h 662905"/>
                <a:gd name="connsiteX34" fmla="*/ 309480 w 504207"/>
                <a:gd name="connsiteY34" fmla="*/ 650571 h 662905"/>
                <a:gd name="connsiteX35" fmla="*/ 326818 w 504207"/>
                <a:gd name="connsiteY35" fmla="*/ 655883 h 662905"/>
                <a:gd name="connsiteX36" fmla="*/ 400480 w 504207"/>
                <a:gd name="connsiteY36" fmla="*/ 660794 h 662905"/>
                <a:gd name="connsiteX37" fmla="*/ 401833 w 504207"/>
                <a:gd name="connsiteY37" fmla="*/ 660593 h 662905"/>
                <a:gd name="connsiteX38" fmla="*/ 452143 w 504207"/>
                <a:gd name="connsiteY38" fmla="*/ 643656 h 662905"/>
                <a:gd name="connsiteX39" fmla="*/ 459059 w 504207"/>
                <a:gd name="connsiteY39" fmla="*/ 640650 h 662905"/>
                <a:gd name="connsiteX40" fmla="*/ 467878 w 504207"/>
                <a:gd name="connsiteY40" fmla="*/ 628723 h 662905"/>
                <a:gd name="connsiteX41" fmla="*/ 481007 w 504207"/>
                <a:gd name="connsiteY41" fmla="*/ 602316 h 662905"/>
                <a:gd name="connsiteX42" fmla="*/ 504208 w 504207"/>
                <a:gd name="connsiteY42" fmla="*/ 568892 h 662905"/>
                <a:gd name="connsiteX43" fmla="*/ 488072 w 504207"/>
                <a:gd name="connsiteY43" fmla="*/ 541833 h 662905"/>
                <a:gd name="connsiteX44" fmla="*/ 501702 w 504207"/>
                <a:gd name="connsiteY44" fmla="*/ 496232 h 662905"/>
                <a:gd name="connsiteX45" fmla="*/ 486920 w 504207"/>
                <a:gd name="connsiteY45" fmla="*/ 485960 h 662905"/>
                <a:gd name="connsiteX46" fmla="*/ 486920 w 504207"/>
                <a:gd name="connsiteY46" fmla="*/ 475236 h 662905"/>
                <a:gd name="connsiteX47" fmla="*/ 486920 w 504207"/>
                <a:gd name="connsiteY47" fmla="*/ 451684 h 662905"/>
                <a:gd name="connsiteX48" fmla="*/ 486920 w 504207"/>
                <a:gd name="connsiteY48" fmla="*/ 450031 h 662905"/>
                <a:gd name="connsiteX49" fmla="*/ 480856 w 504207"/>
                <a:gd name="connsiteY49" fmla="*/ 429586 h 662905"/>
                <a:gd name="connsiteX50" fmla="*/ 476447 w 504207"/>
                <a:gd name="connsiteY50" fmla="*/ 417359 h 662905"/>
                <a:gd name="connsiteX51" fmla="*/ 476046 w 504207"/>
                <a:gd name="connsiteY51" fmla="*/ 414904 h 662905"/>
                <a:gd name="connsiteX52" fmla="*/ 468128 w 504207"/>
                <a:gd name="connsiteY52" fmla="*/ 329867 h 662905"/>
                <a:gd name="connsiteX53" fmla="*/ 468028 w 504207"/>
                <a:gd name="connsiteY53" fmla="*/ 275698 h 662905"/>
                <a:gd name="connsiteX54" fmla="*/ 464170 w 504207"/>
                <a:gd name="connsiteY54" fmla="*/ 256405 h 662905"/>
                <a:gd name="connsiteX55" fmla="*/ 456653 w 504207"/>
                <a:gd name="connsiteY55" fmla="*/ 248688 h 662905"/>
                <a:gd name="connsiteX56" fmla="*/ 453396 w 504207"/>
                <a:gd name="connsiteY56" fmla="*/ 246033 h 662905"/>
                <a:gd name="connsiteX57" fmla="*/ 452544 w 504207"/>
                <a:gd name="connsiteY57" fmla="*/ 245231 h 662905"/>
                <a:gd name="connsiteX58" fmla="*/ 452544 w 504207"/>
                <a:gd name="connsiteY58" fmla="*/ 244078 h 662905"/>
                <a:gd name="connsiteX59" fmla="*/ 452745 w 504207"/>
                <a:gd name="connsiteY59" fmla="*/ 238366 h 662905"/>
                <a:gd name="connsiteX60" fmla="*/ 452444 w 504207"/>
                <a:gd name="connsiteY60" fmla="*/ 229847 h 662905"/>
                <a:gd name="connsiteX61" fmla="*/ 440869 w 504207"/>
                <a:gd name="connsiteY61" fmla="*/ 220978 h 662905"/>
                <a:gd name="connsiteX62" fmla="*/ 433202 w 504207"/>
                <a:gd name="connsiteY62" fmla="*/ 218021 h 662905"/>
                <a:gd name="connsiteX63" fmla="*/ 432350 w 504207"/>
                <a:gd name="connsiteY63" fmla="*/ 217520 h 662905"/>
                <a:gd name="connsiteX64" fmla="*/ 426086 w 504207"/>
                <a:gd name="connsiteY64" fmla="*/ 200934 h 662905"/>
                <a:gd name="connsiteX65" fmla="*/ 424232 w 504207"/>
                <a:gd name="connsiteY65" fmla="*/ 195923 h 662905"/>
                <a:gd name="connsiteX66" fmla="*/ 420223 w 504207"/>
                <a:gd name="connsiteY66" fmla="*/ 185750 h 662905"/>
                <a:gd name="connsiteX67" fmla="*/ 389957 w 504207"/>
                <a:gd name="connsiteY67" fmla="*/ 171619 h 662905"/>
                <a:gd name="connsiteX68" fmla="*/ 367558 w 504207"/>
                <a:gd name="connsiteY68" fmla="*/ 158691 h 662905"/>
                <a:gd name="connsiteX69" fmla="*/ 366205 w 504207"/>
                <a:gd name="connsiteY69" fmla="*/ 156386 h 662905"/>
                <a:gd name="connsiteX70" fmla="*/ 368460 w 504207"/>
                <a:gd name="connsiteY70" fmla="*/ 154983 h 662905"/>
                <a:gd name="connsiteX71" fmla="*/ 373771 w 504207"/>
                <a:gd name="connsiteY71" fmla="*/ 151876 h 662905"/>
                <a:gd name="connsiteX72" fmla="*/ 385898 w 504207"/>
                <a:gd name="connsiteY72" fmla="*/ 144209 h 662905"/>
                <a:gd name="connsiteX73" fmla="*/ 387351 w 504207"/>
                <a:gd name="connsiteY73" fmla="*/ 143157 h 662905"/>
                <a:gd name="connsiteX74" fmla="*/ 394767 w 504207"/>
                <a:gd name="connsiteY74" fmla="*/ 132433 h 662905"/>
                <a:gd name="connsiteX75" fmla="*/ 383192 w 504207"/>
                <a:gd name="connsiteY75" fmla="*/ 124666 h 662905"/>
                <a:gd name="connsiteX76" fmla="*/ 381087 w 504207"/>
                <a:gd name="connsiteY76" fmla="*/ 123263 h 662905"/>
                <a:gd name="connsiteX77" fmla="*/ 382290 w 504207"/>
                <a:gd name="connsiteY77" fmla="*/ 121058 h 662905"/>
                <a:gd name="connsiteX78" fmla="*/ 388153 w 504207"/>
                <a:gd name="connsiteY78" fmla="*/ 110886 h 662905"/>
                <a:gd name="connsiteX79" fmla="*/ 368710 w 504207"/>
                <a:gd name="connsiteY79" fmla="*/ 95652 h 662905"/>
                <a:gd name="connsiteX80" fmla="*/ 378732 w 504207"/>
                <a:gd name="connsiteY80" fmla="*/ 84127 h 662905"/>
                <a:gd name="connsiteX81" fmla="*/ 377730 w 504207"/>
                <a:gd name="connsiteY81" fmla="*/ 78915 h 662905"/>
                <a:gd name="connsiteX82" fmla="*/ 380536 w 504207"/>
                <a:gd name="connsiteY82" fmla="*/ 62078 h 662905"/>
                <a:gd name="connsiteX83" fmla="*/ 381689 w 504207"/>
                <a:gd name="connsiteY83" fmla="*/ 60826 h 662905"/>
                <a:gd name="connsiteX84" fmla="*/ 383342 w 504207"/>
                <a:gd name="connsiteY84" fmla="*/ 61377 h 662905"/>
                <a:gd name="connsiteX85" fmla="*/ 396521 w 504207"/>
                <a:gd name="connsiteY85" fmla="*/ 70647 h 662905"/>
                <a:gd name="connsiteX86" fmla="*/ 415463 w 504207"/>
                <a:gd name="connsiteY86" fmla="*/ 80218 h 662905"/>
                <a:gd name="connsiteX87" fmla="*/ 406092 w 504207"/>
                <a:gd name="connsiteY87" fmla="*/ 47246 h 662905"/>
                <a:gd name="connsiteX88" fmla="*/ 382791 w 504207"/>
                <a:gd name="connsiteY88" fmla="*/ 51054 h 662905"/>
                <a:gd name="connsiteX89" fmla="*/ 381689 w 504207"/>
                <a:gd name="connsiteY89" fmla="*/ 51856 h 662905"/>
                <a:gd name="connsiteX90" fmla="*/ 380386 w 504207"/>
                <a:gd name="connsiteY90" fmla="*/ 51405 h 662905"/>
                <a:gd name="connsiteX91" fmla="*/ 366054 w 504207"/>
                <a:gd name="connsiteY91" fmla="*/ 32814 h 662905"/>
                <a:gd name="connsiteX92" fmla="*/ 361945 w 504207"/>
                <a:gd name="connsiteY92" fmla="*/ 23443 h 662905"/>
                <a:gd name="connsiteX93" fmla="*/ 354328 w 504207"/>
                <a:gd name="connsiteY93" fmla="*/ 24345 h 662905"/>
                <a:gd name="connsiteX94" fmla="*/ 337191 w 504207"/>
                <a:gd name="connsiteY94" fmla="*/ 24145 h 662905"/>
                <a:gd name="connsiteX95" fmla="*/ 324764 w 504207"/>
                <a:gd name="connsiteY95" fmla="*/ 13271 h 662905"/>
                <a:gd name="connsiteX96" fmla="*/ 321406 w 504207"/>
                <a:gd name="connsiteY96" fmla="*/ 9312 h 662905"/>
                <a:gd name="connsiteX97" fmla="*/ 286079 w 504207"/>
                <a:gd name="connsiteY97" fmla="*/ 8210 h 662905"/>
                <a:gd name="connsiteX98" fmla="*/ 269191 w 504207"/>
                <a:gd name="connsiteY98" fmla="*/ 2247 h 662905"/>
                <a:gd name="connsiteX99" fmla="*/ 262928 w 504207"/>
                <a:gd name="connsiteY99" fmla="*/ 92 h 662905"/>
                <a:gd name="connsiteX100" fmla="*/ 232210 w 504207"/>
                <a:gd name="connsiteY100" fmla="*/ 15727 h 662905"/>
                <a:gd name="connsiteX101" fmla="*/ 230857 w 504207"/>
                <a:gd name="connsiteY101" fmla="*/ 14674 h 662905"/>
                <a:gd name="connsiteX102" fmla="*/ 224794 w 504207"/>
                <a:gd name="connsiteY102" fmla="*/ 9112 h 662905"/>
                <a:gd name="connsiteX103" fmla="*/ 203247 w 504207"/>
                <a:gd name="connsiteY103" fmla="*/ 694 h 662905"/>
                <a:gd name="connsiteX104" fmla="*/ 183203 w 504207"/>
                <a:gd name="connsiteY104" fmla="*/ 22291 h 662905"/>
                <a:gd name="connsiteX105" fmla="*/ 144217 w 504207"/>
                <a:gd name="connsiteY105" fmla="*/ 56165 h 662905"/>
                <a:gd name="connsiteX106" fmla="*/ 135448 w 504207"/>
                <a:gd name="connsiteY106" fmla="*/ 78715 h 662905"/>
                <a:gd name="connsiteX107" fmla="*/ 124223 w 504207"/>
                <a:gd name="connsiteY107" fmla="*/ 135991 h 662905"/>
                <a:gd name="connsiteX108" fmla="*/ 119262 w 504207"/>
                <a:gd name="connsiteY108" fmla="*/ 159793 h 662905"/>
                <a:gd name="connsiteX109" fmla="*/ 102475 w 504207"/>
                <a:gd name="connsiteY109" fmla="*/ 178133 h 662905"/>
                <a:gd name="connsiteX110" fmla="*/ 64392 w 504207"/>
                <a:gd name="connsiteY110" fmla="*/ 184147 h 662905"/>
                <a:gd name="connsiteX111" fmla="*/ 62136 w 504207"/>
                <a:gd name="connsiteY111" fmla="*/ 184147 h 662905"/>
                <a:gd name="connsiteX112" fmla="*/ 43496 w 504207"/>
                <a:gd name="connsiteY112" fmla="*/ 188005 h 662905"/>
                <a:gd name="connsiteX113" fmla="*/ 33724 w 504207"/>
                <a:gd name="connsiteY113" fmla="*/ 195923 h 662905"/>
                <a:gd name="connsiteX114" fmla="*/ 0 w 504207"/>
                <a:gd name="connsiteY114" fmla="*/ 225087 h 662905"/>
                <a:gd name="connsiteX115" fmla="*/ 21648 w 504207"/>
                <a:gd name="connsiteY115" fmla="*/ 254852 h 662905"/>
                <a:gd name="connsiteX116" fmla="*/ 33023 w 504207"/>
                <a:gd name="connsiteY116" fmla="*/ 268983 h 662905"/>
                <a:gd name="connsiteX117" fmla="*/ 58428 w 504207"/>
                <a:gd name="connsiteY117" fmla="*/ 301605 h 662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04207" h="662905">
                  <a:moveTo>
                    <a:pt x="58428" y="301555"/>
                  </a:moveTo>
                  <a:cubicBezTo>
                    <a:pt x="61836" y="305864"/>
                    <a:pt x="65243" y="310123"/>
                    <a:pt x="68551" y="314333"/>
                  </a:cubicBezTo>
                  <a:lnTo>
                    <a:pt x="69302" y="315335"/>
                  </a:lnTo>
                  <a:lnTo>
                    <a:pt x="69052" y="316538"/>
                  </a:lnTo>
                  <a:cubicBezTo>
                    <a:pt x="62187" y="349911"/>
                    <a:pt x="61886" y="351364"/>
                    <a:pt x="71156" y="362990"/>
                  </a:cubicBezTo>
                  <a:cubicBezTo>
                    <a:pt x="82281" y="357979"/>
                    <a:pt x="93405" y="361186"/>
                    <a:pt x="104129" y="364292"/>
                  </a:cubicBezTo>
                  <a:cubicBezTo>
                    <a:pt x="106283" y="364894"/>
                    <a:pt x="108488" y="365545"/>
                    <a:pt x="110693" y="366096"/>
                  </a:cubicBezTo>
                  <a:cubicBezTo>
                    <a:pt x="110994" y="364042"/>
                    <a:pt x="111194" y="362038"/>
                    <a:pt x="111395" y="360033"/>
                  </a:cubicBezTo>
                  <a:cubicBezTo>
                    <a:pt x="112096" y="353569"/>
                    <a:pt x="112748" y="347455"/>
                    <a:pt x="115303" y="341993"/>
                  </a:cubicBezTo>
                  <a:cubicBezTo>
                    <a:pt x="121517" y="328664"/>
                    <a:pt x="122419" y="314784"/>
                    <a:pt x="122469" y="301755"/>
                  </a:cubicBezTo>
                  <a:cubicBezTo>
                    <a:pt x="122469" y="298999"/>
                    <a:pt x="123521" y="296443"/>
                    <a:pt x="124724" y="293487"/>
                  </a:cubicBezTo>
                  <a:cubicBezTo>
                    <a:pt x="125325" y="292084"/>
                    <a:pt x="125927" y="290480"/>
                    <a:pt x="126578" y="288726"/>
                  </a:cubicBezTo>
                  <a:lnTo>
                    <a:pt x="127981" y="284617"/>
                  </a:lnTo>
                  <a:lnTo>
                    <a:pt x="131038" y="287674"/>
                  </a:lnTo>
                  <a:cubicBezTo>
                    <a:pt x="144718" y="301254"/>
                    <a:pt x="150230" y="316287"/>
                    <a:pt x="153788" y="329165"/>
                  </a:cubicBezTo>
                  <a:cubicBezTo>
                    <a:pt x="154740" y="332723"/>
                    <a:pt x="153537" y="337884"/>
                    <a:pt x="151132" y="340490"/>
                  </a:cubicBezTo>
                  <a:cubicBezTo>
                    <a:pt x="143515" y="348758"/>
                    <a:pt x="144668" y="357878"/>
                    <a:pt x="145921" y="367550"/>
                  </a:cubicBezTo>
                  <a:cubicBezTo>
                    <a:pt x="146221" y="369855"/>
                    <a:pt x="146522" y="372210"/>
                    <a:pt x="146722" y="374565"/>
                  </a:cubicBezTo>
                  <a:cubicBezTo>
                    <a:pt x="151984" y="376820"/>
                    <a:pt x="156494" y="378724"/>
                    <a:pt x="161304" y="380779"/>
                  </a:cubicBezTo>
                  <a:lnTo>
                    <a:pt x="162657" y="381330"/>
                  </a:lnTo>
                  <a:lnTo>
                    <a:pt x="162908" y="382783"/>
                  </a:lnTo>
                  <a:cubicBezTo>
                    <a:pt x="163810" y="387594"/>
                    <a:pt x="165113" y="392504"/>
                    <a:pt x="166366" y="397215"/>
                  </a:cubicBezTo>
                  <a:cubicBezTo>
                    <a:pt x="169973" y="410694"/>
                    <a:pt x="173732" y="424575"/>
                    <a:pt x="168570" y="439808"/>
                  </a:cubicBezTo>
                  <a:lnTo>
                    <a:pt x="182852" y="448578"/>
                  </a:lnTo>
                  <a:lnTo>
                    <a:pt x="182852" y="450081"/>
                  </a:lnTo>
                  <a:cubicBezTo>
                    <a:pt x="182852" y="452085"/>
                    <a:pt x="182902" y="454190"/>
                    <a:pt x="182952" y="456245"/>
                  </a:cubicBezTo>
                  <a:cubicBezTo>
                    <a:pt x="183102" y="461055"/>
                    <a:pt x="183253" y="466066"/>
                    <a:pt x="182701" y="471027"/>
                  </a:cubicBezTo>
                  <a:cubicBezTo>
                    <a:pt x="180897" y="486862"/>
                    <a:pt x="185407" y="501193"/>
                    <a:pt x="196532" y="514923"/>
                  </a:cubicBezTo>
                  <a:cubicBezTo>
                    <a:pt x="198536" y="517429"/>
                    <a:pt x="200390" y="520085"/>
                    <a:pt x="202144" y="522690"/>
                  </a:cubicBezTo>
                  <a:cubicBezTo>
                    <a:pt x="203898" y="525246"/>
                    <a:pt x="205702" y="527852"/>
                    <a:pt x="207606" y="530207"/>
                  </a:cubicBezTo>
                  <a:cubicBezTo>
                    <a:pt x="225796" y="552456"/>
                    <a:pt x="240378" y="577511"/>
                    <a:pt x="253206" y="599610"/>
                  </a:cubicBezTo>
                  <a:cubicBezTo>
                    <a:pt x="258017" y="607928"/>
                    <a:pt x="262376" y="616647"/>
                    <a:pt x="266636" y="625116"/>
                  </a:cubicBezTo>
                  <a:lnTo>
                    <a:pt x="269693" y="631179"/>
                  </a:lnTo>
                  <a:cubicBezTo>
                    <a:pt x="272799" y="637342"/>
                    <a:pt x="277259" y="641051"/>
                    <a:pt x="283774" y="642855"/>
                  </a:cubicBezTo>
                  <a:cubicBezTo>
                    <a:pt x="292392" y="645260"/>
                    <a:pt x="301061" y="647966"/>
                    <a:pt x="309480" y="650571"/>
                  </a:cubicBezTo>
                  <a:cubicBezTo>
                    <a:pt x="315243" y="652375"/>
                    <a:pt x="321005" y="654179"/>
                    <a:pt x="326818" y="655883"/>
                  </a:cubicBezTo>
                  <a:cubicBezTo>
                    <a:pt x="351237" y="663134"/>
                    <a:pt x="375791" y="664768"/>
                    <a:pt x="400480" y="660794"/>
                  </a:cubicBezTo>
                  <a:lnTo>
                    <a:pt x="401833" y="660593"/>
                  </a:lnTo>
                  <a:cubicBezTo>
                    <a:pt x="419522" y="657787"/>
                    <a:pt x="436108" y="650622"/>
                    <a:pt x="452143" y="643656"/>
                  </a:cubicBezTo>
                  <a:lnTo>
                    <a:pt x="459059" y="640650"/>
                  </a:lnTo>
                  <a:cubicBezTo>
                    <a:pt x="462466" y="639196"/>
                    <a:pt x="468078" y="635739"/>
                    <a:pt x="467878" y="628723"/>
                  </a:cubicBezTo>
                  <a:cubicBezTo>
                    <a:pt x="467477" y="616597"/>
                    <a:pt x="474442" y="608730"/>
                    <a:pt x="481007" y="602316"/>
                  </a:cubicBezTo>
                  <a:cubicBezTo>
                    <a:pt x="490678" y="592945"/>
                    <a:pt x="498295" y="581971"/>
                    <a:pt x="504208" y="568892"/>
                  </a:cubicBezTo>
                  <a:lnTo>
                    <a:pt x="488072" y="541833"/>
                  </a:lnTo>
                  <a:lnTo>
                    <a:pt x="501702" y="496232"/>
                  </a:lnTo>
                  <a:lnTo>
                    <a:pt x="486920" y="485960"/>
                  </a:lnTo>
                  <a:lnTo>
                    <a:pt x="486920" y="475236"/>
                  </a:lnTo>
                  <a:cubicBezTo>
                    <a:pt x="486920" y="467419"/>
                    <a:pt x="486920" y="459552"/>
                    <a:pt x="486920" y="451684"/>
                  </a:cubicBezTo>
                  <a:lnTo>
                    <a:pt x="486920" y="450031"/>
                  </a:lnTo>
                  <a:cubicBezTo>
                    <a:pt x="486920" y="442164"/>
                    <a:pt x="486870" y="435399"/>
                    <a:pt x="480856" y="429586"/>
                  </a:cubicBezTo>
                  <a:cubicBezTo>
                    <a:pt x="477800" y="426680"/>
                    <a:pt x="477098" y="421719"/>
                    <a:pt x="476447" y="417359"/>
                  </a:cubicBezTo>
                  <a:cubicBezTo>
                    <a:pt x="476347" y="416507"/>
                    <a:pt x="476196" y="415705"/>
                    <a:pt x="476046" y="414904"/>
                  </a:cubicBezTo>
                  <a:cubicBezTo>
                    <a:pt x="471436" y="388145"/>
                    <a:pt x="467076" y="359532"/>
                    <a:pt x="468128" y="329867"/>
                  </a:cubicBezTo>
                  <a:cubicBezTo>
                    <a:pt x="468680" y="313731"/>
                    <a:pt x="468630" y="296493"/>
                    <a:pt x="468028" y="275698"/>
                  </a:cubicBezTo>
                  <a:cubicBezTo>
                    <a:pt x="467778" y="267480"/>
                    <a:pt x="466525" y="261166"/>
                    <a:pt x="464170" y="256405"/>
                  </a:cubicBezTo>
                  <a:cubicBezTo>
                    <a:pt x="462666" y="253349"/>
                    <a:pt x="459460" y="250893"/>
                    <a:pt x="456653" y="248688"/>
                  </a:cubicBezTo>
                  <a:cubicBezTo>
                    <a:pt x="455401" y="247736"/>
                    <a:pt x="454298" y="246834"/>
                    <a:pt x="453396" y="246033"/>
                  </a:cubicBezTo>
                  <a:lnTo>
                    <a:pt x="452544" y="245231"/>
                  </a:lnTo>
                  <a:lnTo>
                    <a:pt x="452544" y="244078"/>
                  </a:lnTo>
                  <a:cubicBezTo>
                    <a:pt x="452544" y="242024"/>
                    <a:pt x="452644" y="240170"/>
                    <a:pt x="452745" y="238366"/>
                  </a:cubicBezTo>
                  <a:cubicBezTo>
                    <a:pt x="452895" y="235109"/>
                    <a:pt x="453045" y="232252"/>
                    <a:pt x="452444" y="229847"/>
                  </a:cubicBezTo>
                  <a:cubicBezTo>
                    <a:pt x="451141" y="224485"/>
                    <a:pt x="447182" y="222982"/>
                    <a:pt x="440869" y="220978"/>
                  </a:cubicBezTo>
                  <a:cubicBezTo>
                    <a:pt x="438313" y="220176"/>
                    <a:pt x="435657" y="219324"/>
                    <a:pt x="433202" y="218021"/>
                  </a:cubicBezTo>
                  <a:lnTo>
                    <a:pt x="432350" y="217520"/>
                  </a:lnTo>
                  <a:lnTo>
                    <a:pt x="426086" y="200934"/>
                  </a:lnTo>
                  <a:cubicBezTo>
                    <a:pt x="425435" y="199280"/>
                    <a:pt x="424833" y="197576"/>
                    <a:pt x="424232" y="195923"/>
                  </a:cubicBezTo>
                  <a:cubicBezTo>
                    <a:pt x="422979" y="192365"/>
                    <a:pt x="421727" y="189007"/>
                    <a:pt x="420223" y="185750"/>
                  </a:cubicBezTo>
                  <a:cubicBezTo>
                    <a:pt x="412506" y="169364"/>
                    <a:pt x="407746" y="167159"/>
                    <a:pt x="389957" y="171619"/>
                  </a:cubicBezTo>
                  <a:cubicBezTo>
                    <a:pt x="377479" y="174776"/>
                    <a:pt x="376477" y="173724"/>
                    <a:pt x="367558" y="158691"/>
                  </a:cubicBezTo>
                  <a:lnTo>
                    <a:pt x="366205" y="156386"/>
                  </a:lnTo>
                  <a:lnTo>
                    <a:pt x="368460" y="154983"/>
                  </a:lnTo>
                  <a:cubicBezTo>
                    <a:pt x="370213" y="153930"/>
                    <a:pt x="371967" y="152878"/>
                    <a:pt x="373771" y="151876"/>
                  </a:cubicBezTo>
                  <a:cubicBezTo>
                    <a:pt x="377880" y="149470"/>
                    <a:pt x="382140" y="147015"/>
                    <a:pt x="385898" y="144209"/>
                  </a:cubicBezTo>
                  <a:lnTo>
                    <a:pt x="387351" y="143157"/>
                  </a:lnTo>
                  <a:cubicBezTo>
                    <a:pt x="391360" y="140250"/>
                    <a:pt x="394868" y="137745"/>
                    <a:pt x="394767" y="132433"/>
                  </a:cubicBezTo>
                  <a:cubicBezTo>
                    <a:pt x="391109" y="129927"/>
                    <a:pt x="387151" y="127272"/>
                    <a:pt x="383192" y="124666"/>
                  </a:cubicBezTo>
                  <a:lnTo>
                    <a:pt x="381087" y="123263"/>
                  </a:lnTo>
                  <a:lnTo>
                    <a:pt x="382290" y="121058"/>
                  </a:lnTo>
                  <a:lnTo>
                    <a:pt x="388153" y="110886"/>
                  </a:lnTo>
                  <a:lnTo>
                    <a:pt x="368710" y="95652"/>
                  </a:lnTo>
                  <a:lnTo>
                    <a:pt x="378732" y="84127"/>
                  </a:lnTo>
                  <a:cubicBezTo>
                    <a:pt x="378732" y="82523"/>
                    <a:pt x="378231" y="80769"/>
                    <a:pt x="377730" y="78915"/>
                  </a:cubicBezTo>
                  <a:cubicBezTo>
                    <a:pt x="376427" y="74205"/>
                    <a:pt x="374773" y="68342"/>
                    <a:pt x="380536" y="62078"/>
                  </a:cubicBezTo>
                  <a:lnTo>
                    <a:pt x="381689" y="60826"/>
                  </a:lnTo>
                  <a:lnTo>
                    <a:pt x="383342" y="61377"/>
                  </a:lnTo>
                  <a:cubicBezTo>
                    <a:pt x="388554" y="63081"/>
                    <a:pt x="392613" y="66939"/>
                    <a:pt x="396521" y="70647"/>
                  </a:cubicBezTo>
                  <a:cubicBezTo>
                    <a:pt x="402033" y="75859"/>
                    <a:pt x="407245" y="80769"/>
                    <a:pt x="415463" y="80218"/>
                  </a:cubicBezTo>
                  <a:cubicBezTo>
                    <a:pt x="414010" y="68994"/>
                    <a:pt x="410903" y="57919"/>
                    <a:pt x="406092" y="47246"/>
                  </a:cubicBezTo>
                  <a:cubicBezTo>
                    <a:pt x="396772" y="42235"/>
                    <a:pt x="389756" y="46194"/>
                    <a:pt x="382791" y="51054"/>
                  </a:cubicBezTo>
                  <a:lnTo>
                    <a:pt x="381689" y="51856"/>
                  </a:lnTo>
                  <a:lnTo>
                    <a:pt x="380386" y="51405"/>
                  </a:lnTo>
                  <a:cubicBezTo>
                    <a:pt x="369913" y="47897"/>
                    <a:pt x="367758" y="39529"/>
                    <a:pt x="366054" y="32814"/>
                  </a:cubicBezTo>
                  <a:cubicBezTo>
                    <a:pt x="365052" y="28906"/>
                    <a:pt x="364150" y="25448"/>
                    <a:pt x="361945" y="23443"/>
                  </a:cubicBezTo>
                  <a:cubicBezTo>
                    <a:pt x="359339" y="23644"/>
                    <a:pt x="356784" y="23995"/>
                    <a:pt x="354328" y="24345"/>
                  </a:cubicBezTo>
                  <a:cubicBezTo>
                    <a:pt x="348165" y="25197"/>
                    <a:pt x="342302" y="26049"/>
                    <a:pt x="337191" y="24145"/>
                  </a:cubicBezTo>
                  <a:cubicBezTo>
                    <a:pt x="332080" y="22241"/>
                    <a:pt x="328371" y="17681"/>
                    <a:pt x="324764" y="13271"/>
                  </a:cubicBezTo>
                  <a:cubicBezTo>
                    <a:pt x="323661" y="11918"/>
                    <a:pt x="322559" y="10565"/>
                    <a:pt x="321406" y="9312"/>
                  </a:cubicBezTo>
                  <a:cubicBezTo>
                    <a:pt x="305070" y="15125"/>
                    <a:pt x="303868" y="14875"/>
                    <a:pt x="286079" y="8210"/>
                  </a:cubicBezTo>
                  <a:cubicBezTo>
                    <a:pt x="280166" y="5955"/>
                    <a:pt x="274603" y="4051"/>
                    <a:pt x="269191" y="2247"/>
                  </a:cubicBezTo>
                  <a:cubicBezTo>
                    <a:pt x="267087" y="1545"/>
                    <a:pt x="264982" y="794"/>
                    <a:pt x="262928" y="92"/>
                  </a:cubicBezTo>
                  <a:lnTo>
                    <a:pt x="232210" y="15727"/>
                  </a:lnTo>
                  <a:lnTo>
                    <a:pt x="230857" y="14674"/>
                  </a:lnTo>
                  <a:cubicBezTo>
                    <a:pt x="228652" y="12970"/>
                    <a:pt x="226698" y="11016"/>
                    <a:pt x="224794" y="9112"/>
                  </a:cubicBezTo>
                  <a:cubicBezTo>
                    <a:pt x="218881" y="3249"/>
                    <a:pt x="213720" y="-1912"/>
                    <a:pt x="203247" y="694"/>
                  </a:cubicBezTo>
                  <a:cubicBezTo>
                    <a:pt x="201543" y="10716"/>
                    <a:pt x="194678" y="18182"/>
                    <a:pt x="183203" y="22291"/>
                  </a:cubicBezTo>
                  <a:cubicBezTo>
                    <a:pt x="164712" y="28956"/>
                    <a:pt x="153136" y="43137"/>
                    <a:pt x="144217" y="56165"/>
                  </a:cubicBezTo>
                  <a:cubicBezTo>
                    <a:pt x="139657" y="62780"/>
                    <a:pt x="136951" y="69745"/>
                    <a:pt x="135448" y="78715"/>
                  </a:cubicBezTo>
                  <a:cubicBezTo>
                    <a:pt x="132240" y="97907"/>
                    <a:pt x="128132" y="117250"/>
                    <a:pt x="124223" y="135991"/>
                  </a:cubicBezTo>
                  <a:cubicBezTo>
                    <a:pt x="122569" y="143908"/>
                    <a:pt x="120866" y="151826"/>
                    <a:pt x="119262" y="159793"/>
                  </a:cubicBezTo>
                  <a:cubicBezTo>
                    <a:pt x="117458" y="168713"/>
                    <a:pt x="112096" y="174576"/>
                    <a:pt x="102475" y="178133"/>
                  </a:cubicBezTo>
                  <a:cubicBezTo>
                    <a:pt x="90850" y="182443"/>
                    <a:pt x="78372" y="184397"/>
                    <a:pt x="64392" y="184147"/>
                  </a:cubicBezTo>
                  <a:lnTo>
                    <a:pt x="62136" y="184147"/>
                  </a:lnTo>
                  <a:cubicBezTo>
                    <a:pt x="55271" y="183896"/>
                    <a:pt x="48807" y="183645"/>
                    <a:pt x="43496" y="188005"/>
                  </a:cubicBezTo>
                  <a:cubicBezTo>
                    <a:pt x="40238" y="190661"/>
                    <a:pt x="36981" y="193267"/>
                    <a:pt x="33724" y="195923"/>
                  </a:cubicBezTo>
                  <a:cubicBezTo>
                    <a:pt x="22399" y="204992"/>
                    <a:pt x="10723" y="214413"/>
                    <a:pt x="0" y="225087"/>
                  </a:cubicBezTo>
                  <a:cubicBezTo>
                    <a:pt x="6113" y="236161"/>
                    <a:pt x="14031" y="245682"/>
                    <a:pt x="21648" y="254852"/>
                  </a:cubicBezTo>
                  <a:cubicBezTo>
                    <a:pt x="25456" y="259412"/>
                    <a:pt x="29415" y="264122"/>
                    <a:pt x="33023" y="268983"/>
                  </a:cubicBezTo>
                  <a:cubicBezTo>
                    <a:pt x="41391" y="280107"/>
                    <a:pt x="50060" y="291031"/>
                    <a:pt x="58428" y="30160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 dirty="0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5FA19335-254E-4A9C-8A36-E3327E38207D}"/>
                </a:ext>
              </a:extLst>
            </p:cNvPr>
            <p:cNvSpPr/>
            <p:nvPr/>
          </p:nvSpPr>
          <p:spPr>
            <a:xfrm>
              <a:off x="2931260" y="3177822"/>
              <a:ext cx="763381" cy="830795"/>
            </a:xfrm>
            <a:custGeom>
              <a:avLst/>
              <a:gdLst>
                <a:gd name="connsiteX0" fmla="*/ 566214 w 612114"/>
                <a:gd name="connsiteY0" fmla="*/ 248997 h 666170"/>
                <a:gd name="connsiteX1" fmla="*/ 566865 w 612114"/>
                <a:gd name="connsiteY1" fmla="*/ 248346 h 666170"/>
                <a:gd name="connsiteX2" fmla="*/ 574281 w 612114"/>
                <a:gd name="connsiteY2" fmla="*/ 236019 h 666170"/>
                <a:gd name="connsiteX3" fmla="*/ 609008 w 612114"/>
                <a:gd name="connsiteY3" fmla="*/ 168671 h 666170"/>
                <a:gd name="connsiteX4" fmla="*/ 611664 w 612114"/>
                <a:gd name="connsiteY4" fmla="*/ 164211 h 666170"/>
                <a:gd name="connsiteX5" fmla="*/ 612115 w 612114"/>
                <a:gd name="connsiteY5" fmla="*/ 163259 h 666170"/>
                <a:gd name="connsiteX6" fmla="*/ 609559 w 612114"/>
                <a:gd name="connsiteY6" fmla="*/ 162357 h 666170"/>
                <a:gd name="connsiteX7" fmla="*/ 600890 w 612114"/>
                <a:gd name="connsiteY7" fmla="*/ 159651 h 666170"/>
                <a:gd name="connsiteX8" fmla="*/ 596981 w 612114"/>
                <a:gd name="connsiteY8" fmla="*/ 158849 h 666170"/>
                <a:gd name="connsiteX9" fmla="*/ 550028 w 612114"/>
                <a:gd name="connsiteY9" fmla="*/ 149679 h 666170"/>
                <a:gd name="connsiteX10" fmla="*/ 519310 w 612114"/>
                <a:gd name="connsiteY10" fmla="*/ 135197 h 666170"/>
                <a:gd name="connsiteX11" fmla="*/ 504328 w 612114"/>
                <a:gd name="connsiteY11" fmla="*/ 122670 h 666170"/>
                <a:gd name="connsiteX12" fmla="*/ 486739 w 612114"/>
                <a:gd name="connsiteY12" fmla="*/ 107787 h 666170"/>
                <a:gd name="connsiteX13" fmla="*/ 451712 w 612114"/>
                <a:gd name="connsiteY13" fmla="*/ 101172 h 666170"/>
                <a:gd name="connsiteX14" fmla="*/ 446902 w 612114"/>
                <a:gd name="connsiteY14" fmla="*/ 103077 h 666170"/>
                <a:gd name="connsiteX15" fmla="*/ 440688 w 612114"/>
                <a:gd name="connsiteY15" fmla="*/ 105432 h 666170"/>
                <a:gd name="connsiteX16" fmla="*/ 437681 w 612114"/>
                <a:gd name="connsiteY16" fmla="*/ 106183 h 666170"/>
                <a:gd name="connsiteX17" fmla="*/ 423250 w 612114"/>
                <a:gd name="connsiteY17" fmla="*/ 107236 h 666170"/>
                <a:gd name="connsiteX18" fmla="*/ 405911 w 612114"/>
                <a:gd name="connsiteY18" fmla="*/ 107186 h 666170"/>
                <a:gd name="connsiteX19" fmla="*/ 401652 w 612114"/>
                <a:gd name="connsiteY19" fmla="*/ 107887 h 666170"/>
                <a:gd name="connsiteX20" fmla="*/ 381508 w 612114"/>
                <a:gd name="connsiteY20" fmla="*/ 105833 h 666170"/>
                <a:gd name="connsiteX21" fmla="*/ 347633 w 612114"/>
                <a:gd name="connsiteY21" fmla="*/ 101673 h 666170"/>
                <a:gd name="connsiteX22" fmla="*/ 344276 w 612114"/>
                <a:gd name="connsiteY22" fmla="*/ 102525 h 666170"/>
                <a:gd name="connsiteX23" fmla="*/ 333953 w 612114"/>
                <a:gd name="connsiteY23" fmla="*/ 105732 h 666170"/>
                <a:gd name="connsiteX24" fmla="*/ 328341 w 612114"/>
                <a:gd name="connsiteY24" fmla="*/ 107637 h 666170"/>
                <a:gd name="connsiteX25" fmla="*/ 326788 w 612114"/>
                <a:gd name="connsiteY25" fmla="*/ 108138 h 666170"/>
                <a:gd name="connsiteX26" fmla="*/ 325635 w 612114"/>
                <a:gd name="connsiteY26" fmla="*/ 106985 h 666170"/>
                <a:gd name="connsiteX27" fmla="*/ 317066 w 612114"/>
                <a:gd name="connsiteY27" fmla="*/ 98717 h 666170"/>
                <a:gd name="connsiteX28" fmla="*/ 299929 w 612114"/>
                <a:gd name="connsiteY28" fmla="*/ 81980 h 666170"/>
                <a:gd name="connsiteX29" fmla="*/ 279383 w 612114"/>
                <a:gd name="connsiteY29" fmla="*/ 71156 h 666170"/>
                <a:gd name="connsiteX30" fmla="*/ 244407 w 612114"/>
                <a:gd name="connsiteY30" fmla="*/ 54219 h 666170"/>
                <a:gd name="connsiteX31" fmla="*/ 241350 w 612114"/>
                <a:gd name="connsiteY31" fmla="*/ 49809 h 666170"/>
                <a:gd name="connsiteX32" fmla="*/ 240097 w 612114"/>
                <a:gd name="connsiteY32" fmla="*/ 47705 h 666170"/>
                <a:gd name="connsiteX33" fmla="*/ 239446 w 612114"/>
                <a:gd name="connsiteY33" fmla="*/ 46653 h 666170"/>
                <a:gd name="connsiteX34" fmla="*/ 244557 w 612114"/>
                <a:gd name="connsiteY34" fmla="*/ 29365 h 666170"/>
                <a:gd name="connsiteX35" fmla="*/ 224563 w 612114"/>
                <a:gd name="connsiteY35" fmla="*/ 15584 h 666170"/>
                <a:gd name="connsiteX36" fmla="*/ 198907 w 612114"/>
                <a:gd name="connsiteY36" fmla="*/ 9371 h 666170"/>
                <a:gd name="connsiteX37" fmla="*/ 189987 w 612114"/>
                <a:gd name="connsiteY37" fmla="*/ 6815 h 666170"/>
                <a:gd name="connsiteX38" fmla="*/ 173300 w 612114"/>
                <a:gd name="connsiteY38" fmla="*/ 1904 h 666170"/>
                <a:gd name="connsiteX39" fmla="*/ 166987 w 612114"/>
                <a:gd name="connsiteY39" fmla="*/ 0 h 666170"/>
                <a:gd name="connsiteX40" fmla="*/ 156113 w 612114"/>
                <a:gd name="connsiteY40" fmla="*/ 20946 h 666170"/>
                <a:gd name="connsiteX41" fmla="*/ 152455 w 612114"/>
                <a:gd name="connsiteY41" fmla="*/ 30467 h 666170"/>
                <a:gd name="connsiteX42" fmla="*/ 153808 w 612114"/>
                <a:gd name="connsiteY42" fmla="*/ 49058 h 666170"/>
                <a:gd name="connsiteX43" fmla="*/ 156463 w 612114"/>
                <a:gd name="connsiteY43" fmla="*/ 66095 h 666170"/>
                <a:gd name="connsiteX44" fmla="*/ 156313 w 612114"/>
                <a:gd name="connsiteY44" fmla="*/ 66847 h 666170"/>
                <a:gd name="connsiteX45" fmla="*/ 145589 w 612114"/>
                <a:gd name="connsiteY45" fmla="*/ 78773 h 666170"/>
                <a:gd name="connsiteX46" fmla="*/ 149799 w 612114"/>
                <a:gd name="connsiteY46" fmla="*/ 84085 h 666170"/>
                <a:gd name="connsiteX47" fmla="*/ 160673 w 612114"/>
                <a:gd name="connsiteY47" fmla="*/ 98316 h 666170"/>
                <a:gd name="connsiteX48" fmla="*/ 193745 w 612114"/>
                <a:gd name="connsiteY48" fmla="*/ 125426 h 666170"/>
                <a:gd name="connsiteX49" fmla="*/ 206573 w 612114"/>
                <a:gd name="connsiteY49" fmla="*/ 132641 h 666170"/>
                <a:gd name="connsiteX50" fmla="*/ 211835 w 612114"/>
                <a:gd name="connsiteY50" fmla="*/ 135899 h 666170"/>
                <a:gd name="connsiteX51" fmla="*/ 213990 w 612114"/>
                <a:gd name="connsiteY51" fmla="*/ 137201 h 666170"/>
                <a:gd name="connsiteX52" fmla="*/ 212837 w 612114"/>
                <a:gd name="connsiteY52" fmla="*/ 139457 h 666170"/>
                <a:gd name="connsiteX53" fmla="*/ 165032 w 612114"/>
                <a:gd name="connsiteY53" fmla="*/ 193726 h 666170"/>
                <a:gd name="connsiteX54" fmla="*/ 157967 w 612114"/>
                <a:gd name="connsiteY54" fmla="*/ 198085 h 666170"/>
                <a:gd name="connsiteX55" fmla="*/ 146892 w 612114"/>
                <a:gd name="connsiteY55" fmla="*/ 204800 h 666170"/>
                <a:gd name="connsiteX56" fmla="*/ 139426 w 612114"/>
                <a:gd name="connsiteY56" fmla="*/ 218129 h 666170"/>
                <a:gd name="connsiteX57" fmla="*/ 144988 w 612114"/>
                <a:gd name="connsiteY57" fmla="*/ 235768 h 666170"/>
                <a:gd name="connsiteX58" fmla="*/ 153156 w 612114"/>
                <a:gd name="connsiteY58" fmla="*/ 245690 h 666170"/>
                <a:gd name="connsiteX59" fmla="*/ 155712 w 612114"/>
                <a:gd name="connsiteY59" fmla="*/ 248997 h 666170"/>
                <a:gd name="connsiteX60" fmla="*/ 156714 w 612114"/>
                <a:gd name="connsiteY60" fmla="*/ 250300 h 666170"/>
                <a:gd name="connsiteX61" fmla="*/ 156012 w 612114"/>
                <a:gd name="connsiteY61" fmla="*/ 251803 h 666170"/>
                <a:gd name="connsiteX62" fmla="*/ 151603 w 612114"/>
                <a:gd name="connsiteY62" fmla="*/ 261374 h 666170"/>
                <a:gd name="connsiteX63" fmla="*/ 142783 w 612114"/>
                <a:gd name="connsiteY63" fmla="*/ 281218 h 666170"/>
                <a:gd name="connsiteX64" fmla="*/ 142082 w 612114"/>
                <a:gd name="connsiteY64" fmla="*/ 282922 h 666170"/>
                <a:gd name="connsiteX65" fmla="*/ 130657 w 612114"/>
                <a:gd name="connsiteY65" fmla="*/ 297554 h 666170"/>
                <a:gd name="connsiteX66" fmla="*/ 109059 w 612114"/>
                <a:gd name="connsiteY66" fmla="*/ 327069 h 666170"/>
                <a:gd name="connsiteX67" fmla="*/ 105802 w 612114"/>
                <a:gd name="connsiteY67" fmla="*/ 336640 h 666170"/>
                <a:gd name="connsiteX68" fmla="*/ 100841 w 612114"/>
                <a:gd name="connsiteY68" fmla="*/ 351623 h 666170"/>
                <a:gd name="connsiteX69" fmla="*/ 56444 w 612114"/>
                <a:gd name="connsiteY69" fmla="*/ 464571 h 666170"/>
                <a:gd name="connsiteX70" fmla="*/ 50881 w 612114"/>
                <a:gd name="connsiteY70" fmla="*/ 476998 h 666170"/>
                <a:gd name="connsiteX71" fmla="*/ 25425 w 612114"/>
                <a:gd name="connsiteY71" fmla="*/ 502705 h 666170"/>
                <a:gd name="connsiteX72" fmla="*/ 8939 w 612114"/>
                <a:gd name="connsiteY72" fmla="*/ 511273 h 666170"/>
                <a:gd name="connsiteX73" fmla="*/ 1824 w 612114"/>
                <a:gd name="connsiteY73" fmla="*/ 515683 h 666170"/>
                <a:gd name="connsiteX74" fmla="*/ 1323 w 612114"/>
                <a:gd name="connsiteY74" fmla="*/ 518339 h 666170"/>
                <a:gd name="connsiteX75" fmla="*/ 20 w 612114"/>
                <a:gd name="connsiteY75" fmla="*/ 527559 h 666170"/>
                <a:gd name="connsiteX76" fmla="*/ 521 w 612114"/>
                <a:gd name="connsiteY76" fmla="*/ 538583 h 666170"/>
                <a:gd name="connsiteX77" fmla="*/ 771 w 612114"/>
                <a:gd name="connsiteY77" fmla="*/ 541339 h 666170"/>
                <a:gd name="connsiteX78" fmla="*/ 22970 w 612114"/>
                <a:gd name="connsiteY78" fmla="*/ 564591 h 666170"/>
                <a:gd name="connsiteX79" fmla="*/ 23521 w 612114"/>
                <a:gd name="connsiteY79" fmla="*/ 566044 h 666170"/>
                <a:gd name="connsiteX80" fmla="*/ 26879 w 612114"/>
                <a:gd name="connsiteY80" fmla="*/ 575916 h 666170"/>
                <a:gd name="connsiteX81" fmla="*/ 53437 w 612114"/>
                <a:gd name="connsiteY81" fmla="*/ 598615 h 666170"/>
                <a:gd name="connsiteX82" fmla="*/ 65263 w 612114"/>
                <a:gd name="connsiteY82" fmla="*/ 599968 h 666170"/>
                <a:gd name="connsiteX83" fmla="*/ 69623 w 612114"/>
                <a:gd name="connsiteY83" fmla="*/ 600369 h 666170"/>
                <a:gd name="connsiteX84" fmla="*/ 80597 w 612114"/>
                <a:gd name="connsiteY84" fmla="*/ 601221 h 666170"/>
                <a:gd name="connsiteX85" fmla="*/ 85608 w 612114"/>
                <a:gd name="connsiteY85" fmla="*/ 601622 h 666170"/>
                <a:gd name="connsiteX86" fmla="*/ 104249 w 612114"/>
                <a:gd name="connsiteY86" fmla="*/ 624773 h 666170"/>
                <a:gd name="connsiteX87" fmla="*/ 126999 w 612114"/>
                <a:gd name="connsiteY87" fmla="*/ 652083 h 666170"/>
                <a:gd name="connsiteX88" fmla="*/ 128352 w 612114"/>
                <a:gd name="connsiteY88" fmla="*/ 656092 h 666170"/>
                <a:gd name="connsiteX89" fmla="*/ 131458 w 612114"/>
                <a:gd name="connsiteY89" fmla="*/ 662706 h 666170"/>
                <a:gd name="connsiteX90" fmla="*/ 132511 w 612114"/>
                <a:gd name="connsiteY90" fmla="*/ 664711 h 666170"/>
                <a:gd name="connsiteX91" fmla="*/ 143585 w 612114"/>
                <a:gd name="connsiteY91" fmla="*/ 665913 h 666170"/>
                <a:gd name="connsiteX92" fmla="*/ 175555 w 612114"/>
                <a:gd name="connsiteY92" fmla="*/ 644917 h 666170"/>
                <a:gd name="connsiteX93" fmla="*/ 179664 w 612114"/>
                <a:gd name="connsiteY93" fmla="*/ 632690 h 666170"/>
                <a:gd name="connsiteX94" fmla="*/ 181218 w 612114"/>
                <a:gd name="connsiteY94" fmla="*/ 627278 h 666170"/>
                <a:gd name="connsiteX95" fmla="*/ 183974 w 612114"/>
                <a:gd name="connsiteY95" fmla="*/ 618008 h 666170"/>
                <a:gd name="connsiteX96" fmla="*/ 185678 w 612114"/>
                <a:gd name="connsiteY96" fmla="*/ 612145 h 666170"/>
                <a:gd name="connsiteX97" fmla="*/ 187381 w 612114"/>
                <a:gd name="connsiteY97" fmla="*/ 611895 h 666170"/>
                <a:gd name="connsiteX98" fmla="*/ 199759 w 612114"/>
                <a:gd name="connsiteY98" fmla="*/ 609990 h 666170"/>
                <a:gd name="connsiteX99" fmla="*/ 211234 w 612114"/>
                <a:gd name="connsiteY99" fmla="*/ 608186 h 666170"/>
                <a:gd name="connsiteX100" fmla="*/ 239446 w 612114"/>
                <a:gd name="connsiteY100" fmla="*/ 603877 h 666170"/>
                <a:gd name="connsiteX101" fmla="*/ 256533 w 612114"/>
                <a:gd name="connsiteY101" fmla="*/ 592552 h 666170"/>
                <a:gd name="connsiteX102" fmla="*/ 257485 w 612114"/>
                <a:gd name="connsiteY102" fmla="*/ 591049 h 666170"/>
                <a:gd name="connsiteX103" fmla="*/ 266154 w 612114"/>
                <a:gd name="connsiteY103" fmla="*/ 578621 h 666170"/>
                <a:gd name="connsiteX104" fmla="*/ 268560 w 612114"/>
                <a:gd name="connsiteY104" fmla="*/ 575715 h 666170"/>
                <a:gd name="connsiteX105" fmla="*/ 291811 w 612114"/>
                <a:gd name="connsiteY105" fmla="*/ 556172 h 666170"/>
                <a:gd name="connsiteX106" fmla="*/ 293064 w 612114"/>
                <a:gd name="connsiteY106" fmla="*/ 555671 h 666170"/>
                <a:gd name="connsiteX107" fmla="*/ 294216 w 612114"/>
                <a:gd name="connsiteY107" fmla="*/ 556373 h 666170"/>
                <a:gd name="connsiteX108" fmla="*/ 302534 w 612114"/>
                <a:gd name="connsiteY108" fmla="*/ 562636 h 666170"/>
                <a:gd name="connsiteX109" fmla="*/ 329544 w 612114"/>
                <a:gd name="connsiteY109" fmla="*/ 570053 h 666170"/>
                <a:gd name="connsiteX110" fmla="*/ 332350 w 612114"/>
                <a:gd name="connsiteY110" fmla="*/ 561083 h 666170"/>
                <a:gd name="connsiteX111" fmla="*/ 339866 w 612114"/>
                <a:gd name="connsiteY111" fmla="*/ 536980 h 666170"/>
                <a:gd name="connsiteX112" fmla="*/ 353697 w 612114"/>
                <a:gd name="connsiteY112" fmla="*/ 524803 h 666170"/>
                <a:gd name="connsiteX113" fmla="*/ 359760 w 612114"/>
                <a:gd name="connsiteY113" fmla="*/ 523450 h 666170"/>
                <a:gd name="connsiteX114" fmla="*/ 381658 w 612114"/>
                <a:gd name="connsiteY114" fmla="*/ 519091 h 666170"/>
                <a:gd name="connsiteX115" fmla="*/ 405010 w 612114"/>
                <a:gd name="connsiteY115" fmla="*/ 503406 h 666170"/>
                <a:gd name="connsiteX116" fmla="*/ 411724 w 612114"/>
                <a:gd name="connsiteY116" fmla="*/ 496391 h 666170"/>
                <a:gd name="connsiteX117" fmla="*/ 416384 w 612114"/>
                <a:gd name="connsiteY117" fmla="*/ 476497 h 666170"/>
                <a:gd name="connsiteX118" fmla="*/ 427258 w 612114"/>
                <a:gd name="connsiteY118" fmla="*/ 439165 h 666170"/>
                <a:gd name="connsiteX119" fmla="*/ 429563 w 612114"/>
                <a:gd name="connsiteY119" fmla="*/ 417567 h 666170"/>
                <a:gd name="connsiteX120" fmla="*/ 420443 w 612114"/>
                <a:gd name="connsiteY120" fmla="*/ 394417 h 666170"/>
                <a:gd name="connsiteX121" fmla="*/ 416735 w 612114"/>
                <a:gd name="connsiteY121" fmla="*/ 384695 h 666170"/>
                <a:gd name="connsiteX122" fmla="*/ 416184 w 612114"/>
                <a:gd name="connsiteY122" fmla="*/ 383292 h 666170"/>
                <a:gd name="connsiteX123" fmla="*/ 417086 w 612114"/>
                <a:gd name="connsiteY123" fmla="*/ 382090 h 666170"/>
                <a:gd name="connsiteX124" fmla="*/ 464440 w 612114"/>
                <a:gd name="connsiteY124" fmla="*/ 340448 h 666170"/>
                <a:gd name="connsiteX125" fmla="*/ 489696 w 612114"/>
                <a:gd name="connsiteY125" fmla="*/ 325014 h 666170"/>
                <a:gd name="connsiteX126" fmla="*/ 565963 w 612114"/>
                <a:gd name="connsiteY126" fmla="*/ 248997 h 66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612114" h="666170">
                  <a:moveTo>
                    <a:pt x="566214" y="248997"/>
                  </a:moveTo>
                  <a:lnTo>
                    <a:pt x="566865" y="248346"/>
                  </a:lnTo>
                  <a:cubicBezTo>
                    <a:pt x="571024" y="244136"/>
                    <a:pt x="573730" y="239627"/>
                    <a:pt x="574281" y="236019"/>
                  </a:cubicBezTo>
                  <a:cubicBezTo>
                    <a:pt x="578190" y="210663"/>
                    <a:pt x="589565" y="188614"/>
                    <a:pt x="609008" y="168671"/>
                  </a:cubicBezTo>
                  <a:cubicBezTo>
                    <a:pt x="609960" y="167668"/>
                    <a:pt x="610712" y="166165"/>
                    <a:pt x="611664" y="164211"/>
                  </a:cubicBezTo>
                  <a:cubicBezTo>
                    <a:pt x="611814" y="163910"/>
                    <a:pt x="611964" y="163559"/>
                    <a:pt x="612115" y="163259"/>
                  </a:cubicBezTo>
                  <a:cubicBezTo>
                    <a:pt x="611263" y="162958"/>
                    <a:pt x="610411" y="162657"/>
                    <a:pt x="609559" y="162357"/>
                  </a:cubicBezTo>
                  <a:cubicBezTo>
                    <a:pt x="606402" y="161254"/>
                    <a:pt x="603646" y="160252"/>
                    <a:pt x="600890" y="159651"/>
                  </a:cubicBezTo>
                  <a:lnTo>
                    <a:pt x="596981" y="158849"/>
                  </a:lnTo>
                  <a:cubicBezTo>
                    <a:pt x="581598" y="155642"/>
                    <a:pt x="565713" y="152335"/>
                    <a:pt x="550028" y="149679"/>
                  </a:cubicBezTo>
                  <a:cubicBezTo>
                    <a:pt x="537952" y="147624"/>
                    <a:pt x="527879" y="142914"/>
                    <a:pt x="519310" y="135197"/>
                  </a:cubicBezTo>
                  <a:cubicBezTo>
                    <a:pt x="514450" y="130888"/>
                    <a:pt x="509339" y="126678"/>
                    <a:pt x="504328" y="122670"/>
                  </a:cubicBezTo>
                  <a:cubicBezTo>
                    <a:pt x="498465" y="117909"/>
                    <a:pt x="492401" y="112998"/>
                    <a:pt x="486739" y="107787"/>
                  </a:cubicBezTo>
                  <a:cubicBezTo>
                    <a:pt x="477519" y="99318"/>
                    <a:pt x="466745" y="97264"/>
                    <a:pt x="451712" y="101172"/>
                  </a:cubicBezTo>
                  <a:cubicBezTo>
                    <a:pt x="450159" y="101573"/>
                    <a:pt x="448555" y="102325"/>
                    <a:pt x="446902" y="103077"/>
                  </a:cubicBezTo>
                  <a:cubicBezTo>
                    <a:pt x="444947" y="103978"/>
                    <a:pt x="442943" y="104931"/>
                    <a:pt x="440688" y="105432"/>
                  </a:cubicBezTo>
                  <a:cubicBezTo>
                    <a:pt x="439736" y="105632"/>
                    <a:pt x="438734" y="105933"/>
                    <a:pt x="437681" y="106183"/>
                  </a:cubicBezTo>
                  <a:cubicBezTo>
                    <a:pt x="433021" y="107386"/>
                    <a:pt x="427760" y="108789"/>
                    <a:pt x="423250" y="107236"/>
                  </a:cubicBezTo>
                  <a:cubicBezTo>
                    <a:pt x="417286" y="105231"/>
                    <a:pt x="411774" y="106183"/>
                    <a:pt x="405911" y="107186"/>
                  </a:cubicBezTo>
                  <a:cubicBezTo>
                    <a:pt x="404508" y="107436"/>
                    <a:pt x="403055" y="107687"/>
                    <a:pt x="401652" y="107887"/>
                  </a:cubicBezTo>
                  <a:cubicBezTo>
                    <a:pt x="394136" y="108939"/>
                    <a:pt x="385717" y="109791"/>
                    <a:pt x="381508" y="105833"/>
                  </a:cubicBezTo>
                  <a:cubicBezTo>
                    <a:pt x="370834" y="95861"/>
                    <a:pt x="360061" y="98567"/>
                    <a:pt x="347633" y="101673"/>
                  </a:cubicBezTo>
                  <a:lnTo>
                    <a:pt x="344276" y="102525"/>
                  </a:lnTo>
                  <a:cubicBezTo>
                    <a:pt x="340919" y="103377"/>
                    <a:pt x="337511" y="104530"/>
                    <a:pt x="333953" y="105732"/>
                  </a:cubicBezTo>
                  <a:cubicBezTo>
                    <a:pt x="332149" y="106334"/>
                    <a:pt x="330295" y="106985"/>
                    <a:pt x="328341" y="107637"/>
                  </a:cubicBezTo>
                  <a:lnTo>
                    <a:pt x="326788" y="108138"/>
                  </a:lnTo>
                  <a:lnTo>
                    <a:pt x="325635" y="106985"/>
                  </a:lnTo>
                  <a:cubicBezTo>
                    <a:pt x="322729" y="104179"/>
                    <a:pt x="319872" y="101423"/>
                    <a:pt x="317066" y="98717"/>
                  </a:cubicBezTo>
                  <a:cubicBezTo>
                    <a:pt x="311103" y="93004"/>
                    <a:pt x="305541" y="87643"/>
                    <a:pt x="299929" y="81980"/>
                  </a:cubicBezTo>
                  <a:cubicBezTo>
                    <a:pt x="294667" y="76618"/>
                    <a:pt x="288554" y="71607"/>
                    <a:pt x="279383" y="71156"/>
                  </a:cubicBezTo>
                  <a:cubicBezTo>
                    <a:pt x="266555" y="70555"/>
                    <a:pt x="254779" y="64842"/>
                    <a:pt x="244407" y="54219"/>
                  </a:cubicBezTo>
                  <a:cubicBezTo>
                    <a:pt x="243104" y="52916"/>
                    <a:pt x="242202" y="51313"/>
                    <a:pt x="241350" y="49809"/>
                  </a:cubicBezTo>
                  <a:cubicBezTo>
                    <a:pt x="240949" y="49108"/>
                    <a:pt x="240548" y="48406"/>
                    <a:pt x="240097" y="47705"/>
                  </a:cubicBezTo>
                  <a:lnTo>
                    <a:pt x="239446" y="46653"/>
                  </a:lnTo>
                  <a:lnTo>
                    <a:pt x="244557" y="29365"/>
                  </a:lnTo>
                  <a:cubicBezTo>
                    <a:pt x="240047" y="20996"/>
                    <a:pt x="234184" y="16987"/>
                    <a:pt x="224563" y="15584"/>
                  </a:cubicBezTo>
                  <a:cubicBezTo>
                    <a:pt x="215844" y="14332"/>
                    <a:pt x="207225" y="11826"/>
                    <a:pt x="198907" y="9371"/>
                  </a:cubicBezTo>
                  <a:cubicBezTo>
                    <a:pt x="195950" y="8519"/>
                    <a:pt x="192994" y="7617"/>
                    <a:pt x="189987" y="6815"/>
                  </a:cubicBezTo>
                  <a:cubicBezTo>
                    <a:pt x="184425" y="5262"/>
                    <a:pt x="178863" y="3608"/>
                    <a:pt x="173300" y="1904"/>
                  </a:cubicBezTo>
                  <a:lnTo>
                    <a:pt x="166987" y="0"/>
                  </a:lnTo>
                  <a:cubicBezTo>
                    <a:pt x="161324" y="6364"/>
                    <a:pt x="158718" y="13780"/>
                    <a:pt x="156113" y="20946"/>
                  </a:cubicBezTo>
                  <a:cubicBezTo>
                    <a:pt x="155010" y="24103"/>
                    <a:pt x="153808" y="27360"/>
                    <a:pt x="152455" y="30467"/>
                  </a:cubicBezTo>
                  <a:cubicBezTo>
                    <a:pt x="149648" y="36681"/>
                    <a:pt x="151653" y="42694"/>
                    <a:pt x="153808" y="49058"/>
                  </a:cubicBezTo>
                  <a:cubicBezTo>
                    <a:pt x="155611" y="54470"/>
                    <a:pt x="157516" y="60082"/>
                    <a:pt x="156463" y="66095"/>
                  </a:cubicBezTo>
                  <a:lnTo>
                    <a:pt x="156313" y="66847"/>
                  </a:lnTo>
                  <a:lnTo>
                    <a:pt x="145589" y="78773"/>
                  </a:lnTo>
                  <a:cubicBezTo>
                    <a:pt x="147043" y="80577"/>
                    <a:pt x="148446" y="82381"/>
                    <a:pt x="149799" y="84085"/>
                  </a:cubicBezTo>
                  <a:cubicBezTo>
                    <a:pt x="153657" y="88945"/>
                    <a:pt x="157315" y="93505"/>
                    <a:pt x="160673" y="98316"/>
                  </a:cubicBezTo>
                  <a:cubicBezTo>
                    <a:pt x="169292" y="110643"/>
                    <a:pt x="180115" y="119563"/>
                    <a:pt x="193745" y="125426"/>
                  </a:cubicBezTo>
                  <a:cubicBezTo>
                    <a:pt x="198305" y="127380"/>
                    <a:pt x="202515" y="130036"/>
                    <a:pt x="206573" y="132641"/>
                  </a:cubicBezTo>
                  <a:cubicBezTo>
                    <a:pt x="208327" y="133744"/>
                    <a:pt x="210081" y="134846"/>
                    <a:pt x="211835" y="135899"/>
                  </a:cubicBezTo>
                  <a:lnTo>
                    <a:pt x="213990" y="137201"/>
                  </a:lnTo>
                  <a:lnTo>
                    <a:pt x="212837" y="139457"/>
                  </a:lnTo>
                  <a:cubicBezTo>
                    <a:pt x="198556" y="167468"/>
                    <a:pt x="187381" y="180146"/>
                    <a:pt x="165032" y="193726"/>
                  </a:cubicBezTo>
                  <a:cubicBezTo>
                    <a:pt x="162677" y="195179"/>
                    <a:pt x="160322" y="196632"/>
                    <a:pt x="157967" y="198085"/>
                  </a:cubicBezTo>
                  <a:cubicBezTo>
                    <a:pt x="154309" y="200340"/>
                    <a:pt x="150600" y="202595"/>
                    <a:pt x="146892" y="204800"/>
                  </a:cubicBezTo>
                  <a:cubicBezTo>
                    <a:pt x="141831" y="207807"/>
                    <a:pt x="139526" y="211916"/>
                    <a:pt x="139426" y="218129"/>
                  </a:cubicBezTo>
                  <a:cubicBezTo>
                    <a:pt x="139276" y="226347"/>
                    <a:pt x="140879" y="231509"/>
                    <a:pt x="144988" y="235768"/>
                  </a:cubicBezTo>
                  <a:cubicBezTo>
                    <a:pt x="148095" y="239025"/>
                    <a:pt x="150801" y="242533"/>
                    <a:pt x="153156" y="245690"/>
                  </a:cubicBezTo>
                  <a:cubicBezTo>
                    <a:pt x="154058" y="246892"/>
                    <a:pt x="154910" y="247995"/>
                    <a:pt x="155712" y="248997"/>
                  </a:cubicBezTo>
                  <a:lnTo>
                    <a:pt x="156714" y="250300"/>
                  </a:lnTo>
                  <a:lnTo>
                    <a:pt x="156012" y="251803"/>
                  </a:lnTo>
                  <a:cubicBezTo>
                    <a:pt x="154509" y="255161"/>
                    <a:pt x="153006" y="258318"/>
                    <a:pt x="151603" y="261374"/>
                  </a:cubicBezTo>
                  <a:cubicBezTo>
                    <a:pt x="148446" y="268239"/>
                    <a:pt x="145439" y="274754"/>
                    <a:pt x="142783" y="281218"/>
                  </a:cubicBezTo>
                  <a:lnTo>
                    <a:pt x="142082" y="282922"/>
                  </a:lnTo>
                  <a:cubicBezTo>
                    <a:pt x="139877" y="288434"/>
                    <a:pt x="137321" y="294648"/>
                    <a:pt x="130657" y="297554"/>
                  </a:cubicBezTo>
                  <a:cubicBezTo>
                    <a:pt x="117778" y="303116"/>
                    <a:pt x="113068" y="314692"/>
                    <a:pt x="109059" y="327069"/>
                  </a:cubicBezTo>
                  <a:cubicBezTo>
                    <a:pt x="108007" y="330276"/>
                    <a:pt x="106904" y="333433"/>
                    <a:pt x="105802" y="336640"/>
                  </a:cubicBezTo>
                  <a:cubicBezTo>
                    <a:pt x="104098" y="341551"/>
                    <a:pt x="102294" y="346612"/>
                    <a:pt x="100841" y="351623"/>
                  </a:cubicBezTo>
                  <a:cubicBezTo>
                    <a:pt x="89516" y="390759"/>
                    <a:pt x="72729" y="428241"/>
                    <a:pt x="56444" y="464571"/>
                  </a:cubicBezTo>
                  <a:lnTo>
                    <a:pt x="50881" y="476998"/>
                  </a:lnTo>
                  <a:cubicBezTo>
                    <a:pt x="46321" y="487170"/>
                    <a:pt x="40258" y="498395"/>
                    <a:pt x="25425" y="502705"/>
                  </a:cubicBezTo>
                  <a:cubicBezTo>
                    <a:pt x="19813" y="504308"/>
                    <a:pt x="14552" y="507716"/>
                    <a:pt x="8939" y="511273"/>
                  </a:cubicBezTo>
                  <a:cubicBezTo>
                    <a:pt x="6634" y="512727"/>
                    <a:pt x="4279" y="514280"/>
                    <a:pt x="1824" y="515683"/>
                  </a:cubicBezTo>
                  <a:cubicBezTo>
                    <a:pt x="1673" y="516585"/>
                    <a:pt x="1473" y="517437"/>
                    <a:pt x="1323" y="518339"/>
                  </a:cubicBezTo>
                  <a:cubicBezTo>
                    <a:pt x="721" y="521396"/>
                    <a:pt x="120" y="524503"/>
                    <a:pt x="20" y="527559"/>
                  </a:cubicBezTo>
                  <a:cubicBezTo>
                    <a:pt x="-81" y="531217"/>
                    <a:pt x="220" y="534976"/>
                    <a:pt x="521" y="538583"/>
                  </a:cubicBezTo>
                  <a:cubicBezTo>
                    <a:pt x="621" y="539536"/>
                    <a:pt x="671" y="540438"/>
                    <a:pt x="771" y="541339"/>
                  </a:cubicBezTo>
                  <a:cubicBezTo>
                    <a:pt x="16957" y="548606"/>
                    <a:pt x="17508" y="549457"/>
                    <a:pt x="22970" y="564591"/>
                  </a:cubicBezTo>
                  <a:lnTo>
                    <a:pt x="23521" y="566044"/>
                  </a:lnTo>
                  <a:cubicBezTo>
                    <a:pt x="24674" y="569251"/>
                    <a:pt x="25927" y="572558"/>
                    <a:pt x="26879" y="575916"/>
                  </a:cubicBezTo>
                  <a:cubicBezTo>
                    <a:pt x="30587" y="588744"/>
                    <a:pt x="39306" y="596160"/>
                    <a:pt x="53437" y="598615"/>
                  </a:cubicBezTo>
                  <a:cubicBezTo>
                    <a:pt x="57295" y="599267"/>
                    <a:pt x="61354" y="599618"/>
                    <a:pt x="65263" y="599968"/>
                  </a:cubicBezTo>
                  <a:lnTo>
                    <a:pt x="69623" y="600369"/>
                  </a:lnTo>
                  <a:cubicBezTo>
                    <a:pt x="73481" y="600720"/>
                    <a:pt x="77289" y="600971"/>
                    <a:pt x="80597" y="601221"/>
                  </a:cubicBezTo>
                  <a:lnTo>
                    <a:pt x="85608" y="601622"/>
                  </a:lnTo>
                  <a:lnTo>
                    <a:pt x="104249" y="624773"/>
                  </a:lnTo>
                  <a:cubicBezTo>
                    <a:pt x="119232" y="628581"/>
                    <a:pt x="123391" y="641059"/>
                    <a:pt x="126999" y="652083"/>
                  </a:cubicBezTo>
                  <a:cubicBezTo>
                    <a:pt x="127450" y="653436"/>
                    <a:pt x="127901" y="654789"/>
                    <a:pt x="128352" y="656092"/>
                  </a:cubicBezTo>
                  <a:cubicBezTo>
                    <a:pt x="129103" y="658297"/>
                    <a:pt x="130256" y="660451"/>
                    <a:pt x="131458" y="662706"/>
                  </a:cubicBezTo>
                  <a:cubicBezTo>
                    <a:pt x="131809" y="663358"/>
                    <a:pt x="132160" y="664059"/>
                    <a:pt x="132511" y="664711"/>
                  </a:cubicBezTo>
                  <a:cubicBezTo>
                    <a:pt x="136620" y="665162"/>
                    <a:pt x="140077" y="665512"/>
                    <a:pt x="143585" y="665913"/>
                  </a:cubicBezTo>
                  <a:cubicBezTo>
                    <a:pt x="158167" y="667617"/>
                    <a:pt x="168289" y="660902"/>
                    <a:pt x="175555" y="644917"/>
                  </a:cubicBezTo>
                  <a:cubicBezTo>
                    <a:pt x="177309" y="641109"/>
                    <a:pt x="178462" y="637000"/>
                    <a:pt x="179664" y="632690"/>
                  </a:cubicBezTo>
                  <a:cubicBezTo>
                    <a:pt x="180166" y="630886"/>
                    <a:pt x="180666" y="629082"/>
                    <a:pt x="181218" y="627278"/>
                  </a:cubicBezTo>
                  <a:cubicBezTo>
                    <a:pt x="182170" y="624222"/>
                    <a:pt x="183072" y="621165"/>
                    <a:pt x="183974" y="618008"/>
                  </a:cubicBezTo>
                  <a:lnTo>
                    <a:pt x="185678" y="612145"/>
                  </a:lnTo>
                  <a:lnTo>
                    <a:pt x="187381" y="611895"/>
                  </a:lnTo>
                  <a:cubicBezTo>
                    <a:pt x="192192" y="611143"/>
                    <a:pt x="195950" y="610592"/>
                    <a:pt x="199759" y="609990"/>
                  </a:cubicBezTo>
                  <a:lnTo>
                    <a:pt x="211234" y="608186"/>
                  </a:lnTo>
                  <a:cubicBezTo>
                    <a:pt x="220654" y="606683"/>
                    <a:pt x="230025" y="605180"/>
                    <a:pt x="239446" y="603877"/>
                  </a:cubicBezTo>
                  <a:cubicBezTo>
                    <a:pt x="246862" y="602825"/>
                    <a:pt x="252324" y="599217"/>
                    <a:pt x="256533" y="592552"/>
                  </a:cubicBezTo>
                  <a:lnTo>
                    <a:pt x="257485" y="591049"/>
                  </a:lnTo>
                  <a:cubicBezTo>
                    <a:pt x="260141" y="586890"/>
                    <a:pt x="262847" y="582530"/>
                    <a:pt x="266154" y="578621"/>
                  </a:cubicBezTo>
                  <a:lnTo>
                    <a:pt x="268560" y="575715"/>
                  </a:lnTo>
                  <a:cubicBezTo>
                    <a:pt x="274823" y="568149"/>
                    <a:pt x="281338" y="560281"/>
                    <a:pt x="291811" y="556172"/>
                  </a:cubicBezTo>
                  <a:lnTo>
                    <a:pt x="293064" y="555671"/>
                  </a:lnTo>
                  <a:lnTo>
                    <a:pt x="294216" y="556373"/>
                  </a:lnTo>
                  <a:cubicBezTo>
                    <a:pt x="297172" y="558227"/>
                    <a:pt x="299878" y="560482"/>
                    <a:pt x="302534" y="562636"/>
                  </a:cubicBezTo>
                  <a:cubicBezTo>
                    <a:pt x="310702" y="569301"/>
                    <a:pt x="317768" y="575114"/>
                    <a:pt x="329544" y="570053"/>
                  </a:cubicBezTo>
                  <a:lnTo>
                    <a:pt x="332350" y="561083"/>
                  </a:lnTo>
                  <a:cubicBezTo>
                    <a:pt x="334905" y="552915"/>
                    <a:pt x="337361" y="544948"/>
                    <a:pt x="339866" y="536980"/>
                  </a:cubicBezTo>
                  <a:cubicBezTo>
                    <a:pt x="341921" y="530566"/>
                    <a:pt x="346681" y="526357"/>
                    <a:pt x="353697" y="524803"/>
                  </a:cubicBezTo>
                  <a:lnTo>
                    <a:pt x="359760" y="523450"/>
                  </a:lnTo>
                  <a:cubicBezTo>
                    <a:pt x="366876" y="521847"/>
                    <a:pt x="374292" y="520143"/>
                    <a:pt x="381658" y="519091"/>
                  </a:cubicBezTo>
                  <a:cubicBezTo>
                    <a:pt x="392031" y="517587"/>
                    <a:pt x="398345" y="510672"/>
                    <a:pt x="405010" y="503406"/>
                  </a:cubicBezTo>
                  <a:cubicBezTo>
                    <a:pt x="407164" y="501051"/>
                    <a:pt x="409369" y="498646"/>
                    <a:pt x="411724" y="496391"/>
                  </a:cubicBezTo>
                  <a:cubicBezTo>
                    <a:pt x="417236" y="491179"/>
                    <a:pt x="416835" y="484064"/>
                    <a:pt x="416384" y="476497"/>
                  </a:cubicBezTo>
                  <a:cubicBezTo>
                    <a:pt x="415533" y="461364"/>
                    <a:pt x="419090" y="449187"/>
                    <a:pt x="427258" y="439165"/>
                  </a:cubicBezTo>
                  <a:cubicBezTo>
                    <a:pt x="432420" y="432801"/>
                    <a:pt x="433121" y="425936"/>
                    <a:pt x="429563" y="417567"/>
                  </a:cubicBezTo>
                  <a:cubicBezTo>
                    <a:pt x="426306" y="409951"/>
                    <a:pt x="423300" y="402033"/>
                    <a:pt x="420443" y="394417"/>
                  </a:cubicBezTo>
                  <a:cubicBezTo>
                    <a:pt x="419241" y="391160"/>
                    <a:pt x="417988" y="387902"/>
                    <a:pt x="416735" y="384695"/>
                  </a:cubicBezTo>
                  <a:lnTo>
                    <a:pt x="416184" y="383292"/>
                  </a:lnTo>
                  <a:lnTo>
                    <a:pt x="417086" y="382090"/>
                  </a:lnTo>
                  <a:cubicBezTo>
                    <a:pt x="429313" y="366155"/>
                    <a:pt x="443494" y="350069"/>
                    <a:pt x="464440" y="340448"/>
                  </a:cubicBezTo>
                  <a:cubicBezTo>
                    <a:pt x="473510" y="336289"/>
                    <a:pt x="482830" y="331528"/>
                    <a:pt x="489696" y="325014"/>
                  </a:cubicBezTo>
                  <a:cubicBezTo>
                    <a:pt x="515653" y="300260"/>
                    <a:pt x="541209" y="274203"/>
                    <a:pt x="565963" y="24899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C2C61B6C-07EB-47FB-A8B1-8F9C6203F495}"/>
                </a:ext>
              </a:extLst>
            </p:cNvPr>
            <p:cNvSpPr/>
            <p:nvPr/>
          </p:nvSpPr>
          <p:spPr>
            <a:xfrm>
              <a:off x="9736568" y="5689183"/>
              <a:ext cx="619678" cy="1049951"/>
            </a:xfrm>
            <a:custGeom>
              <a:avLst/>
              <a:gdLst>
                <a:gd name="connsiteX0" fmla="*/ 485316 w 496886"/>
                <a:gd name="connsiteY0" fmla="*/ 89397 h 841899"/>
                <a:gd name="connsiteX1" fmla="*/ 461715 w 496886"/>
                <a:gd name="connsiteY1" fmla="*/ 81930 h 841899"/>
                <a:gd name="connsiteX2" fmla="*/ 450239 w 496886"/>
                <a:gd name="connsiteY2" fmla="*/ 62036 h 841899"/>
                <a:gd name="connsiteX3" fmla="*/ 454799 w 496886"/>
                <a:gd name="connsiteY3" fmla="*/ 40940 h 841899"/>
                <a:gd name="connsiteX4" fmla="*/ 456653 w 496886"/>
                <a:gd name="connsiteY4" fmla="*/ 33223 h 841899"/>
                <a:gd name="connsiteX5" fmla="*/ 426237 w 496886"/>
                <a:gd name="connsiteY5" fmla="*/ 0 h 841899"/>
                <a:gd name="connsiteX6" fmla="*/ 398275 w 496886"/>
                <a:gd name="connsiteY6" fmla="*/ 20194 h 841899"/>
                <a:gd name="connsiteX7" fmla="*/ 394818 w 496886"/>
                <a:gd name="connsiteY7" fmla="*/ 23802 h 841899"/>
                <a:gd name="connsiteX8" fmla="*/ 382791 w 496886"/>
                <a:gd name="connsiteY8" fmla="*/ 35277 h 841899"/>
                <a:gd name="connsiteX9" fmla="*/ 370614 w 496886"/>
                <a:gd name="connsiteY9" fmla="*/ 43045 h 841899"/>
                <a:gd name="connsiteX10" fmla="*/ 368209 w 496886"/>
                <a:gd name="connsiteY10" fmla="*/ 44397 h 841899"/>
                <a:gd name="connsiteX11" fmla="*/ 371466 w 496886"/>
                <a:gd name="connsiteY11" fmla="*/ 49408 h 841899"/>
                <a:gd name="connsiteX12" fmla="*/ 380736 w 496886"/>
                <a:gd name="connsiteY12" fmla="*/ 65143 h 841899"/>
                <a:gd name="connsiteX13" fmla="*/ 395369 w 496886"/>
                <a:gd name="connsiteY13" fmla="*/ 74113 h 841899"/>
                <a:gd name="connsiteX14" fmla="*/ 402986 w 496886"/>
                <a:gd name="connsiteY14" fmla="*/ 74163 h 841899"/>
                <a:gd name="connsiteX15" fmla="*/ 423731 w 496886"/>
                <a:gd name="connsiteY15" fmla="*/ 78573 h 841899"/>
                <a:gd name="connsiteX16" fmla="*/ 424984 w 496886"/>
                <a:gd name="connsiteY16" fmla="*/ 79475 h 841899"/>
                <a:gd name="connsiteX17" fmla="*/ 424834 w 496886"/>
                <a:gd name="connsiteY17" fmla="*/ 81028 h 841899"/>
                <a:gd name="connsiteX18" fmla="*/ 408898 w 496886"/>
                <a:gd name="connsiteY18" fmla="*/ 136851 h 841899"/>
                <a:gd name="connsiteX19" fmla="*/ 400129 w 496886"/>
                <a:gd name="connsiteY19" fmla="*/ 146021 h 841899"/>
                <a:gd name="connsiteX20" fmla="*/ 384996 w 496886"/>
                <a:gd name="connsiteY20" fmla="*/ 153988 h 841899"/>
                <a:gd name="connsiteX21" fmla="*/ 371215 w 496886"/>
                <a:gd name="connsiteY21" fmla="*/ 174834 h 841899"/>
                <a:gd name="connsiteX22" fmla="*/ 371116 w 496886"/>
                <a:gd name="connsiteY22" fmla="*/ 183353 h 841899"/>
                <a:gd name="connsiteX23" fmla="*/ 370915 w 496886"/>
                <a:gd name="connsiteY23" fmla="*/ 186961 h 841899"/>
                <a:gd name="connsiteX24" fmla="*/ 363198 w 496886"/>
                <a:gd name="connsiteY24" fmla="*/ 203347 h 841899"/>
                <a:gd name="connsiteX25" fmla="*/ 279764 w 496886"/>
                <a:gd name="connsiteY25" fmla="*/ 246542 h 841899"/>
                <a:gd name="connsiteX26" fmla="*/ 278612 w 496886"/>
                <a:gd name="connsiteY26" fmla="*/ 246792 h 841899"/>
                <a:gd name="connsiteX27" fmla="*/ 260823 w 496886"/>
                <a:gd name="connsiteY27" fmla="*/ 234465 h 841899"/>
                <a:gd name="connsiteX28" fmla="*/ 241831 w 496886"/>
                <a:gd name="connsiteY28" fmla="*/ 248596 h 841899"/>
                <a:gd name="connsiteX29" fmla="*/ 238424 w 496886"/>
                <a:gd name="connsiteY29" fmla="*/ 251152 h 841899"/>
                <a:gd name="connsiteX30" fmla="*/ 233513 w 496886"/>
                <a:gd name="connsiteY30" fmla="*/ 226297 h 841899"/>
                <a:gd name="connsiteX31" fmla="*/ 231108 w 496886"/>
                <a:gd name="connsiteY31" fmla="*/ 226548 h 841899"/>
                <a:gd name="connsiteX32" fmla="*/ 220885 w 496886"/>
                <a:gd name="connsiteY32" fmla="*/ 226598 h 841899"/>
                <a:gd name="connsiteX33" fmla="*/ 211415 w 496886"/>
                <a:gd name="connsiteY33" fmla="*/ 222790 h 841899"/>
                <a:gd name="connsiteX34" fmla="*/ 209210 w 496886"/>
                <a:gd name="connsiteY34" fmla="*/ 221637 h 841899"/>
                <a:gd name="connsiteX35" fmla="*/ 184806 w 496886"/>
                <a:gd name="connsiteY35" fmla="*/ 275956 h 841899"/>
                <a:gd name="connsiteX36" fmla="*/ 173832 w 496886"/>
                <a:gd name="connsiteY36" fmla="*/ 300761 h 841899"/>
                <a:gd name="connsiteX37" fmla="*/ 165664 w 496886"/>
                <a:gd name="connsiteY37" fmla="*/ 321907 h 841899"/>
                <a:gd name="connsiteX38" fmla="*/ 165764 w 496886"/>
                <a:gd name="connsiteY38" fmla="*/ 375976 h 841899"/>
                <a:gd name="connsiteX39" fmla="*/ 165764 w 496886"/>
                <a:gd name="connsiteY39" fmla="*/ 390959 h 841899"/>
                <a:gd name="connsiteX40" fmla="*/ 160603 w 496886"/>
                <a:gd name="connsiteY40" fmla="*/ 421827 h 841899"/>
                <a:gd name="connsiteX41" fmla="*/ 160603 w 496886"/>
                <a:gd name="connsiteY41" fmla="*/ 433653 h 841899"/>
                <a:gd name="connsiteX42" fmla="*/ 163359 w 496886"/>
                <a:gd name="connsiteY42" fmla="*/ 441921 h 841899"/>
                <a:gd name="connsiteX43" fmla="*/ 164662 w 496886"/>
                <a:gd name="connsiteY43" fmla="*/ 445128 h 841899"/>
                <a:gd name="connsiteX44" fmla="*/ 165063 w 496886"/>
                <a:gd name="connsiteY44" fmla="*/ 446281 h 841899"/>
                <a:gd name="connsiteX45" fmla="*/ 164511 w 496886"/>
                <a:gd name="connsiteY45" fmla="*/ 447333 h 841899"/>
                <a:gd name="connsiteX46" fmla="*/ 163209 w 496886"/>
                <a:gd name="connsiteY46" fmla="*/ 449939 h 841899"/>
                <a:gd name="connsiteX47" fmla="*/ 160954 w 496886"/>
                <a:gd name="connsiteY47" fmla="*/ 453547 h 841899"/>
                <a:gd name="connsiteX48" fmla="*/ 153537 w 496886"/>
                <a:gd name="connsiteY48" fmla="*/ 493484 h 841899"/>
                <a:gd name="connsiteX49" fmla="*/ 154941 w 496886"/>
                <a:gd name="connsiteY49" fmla="*/ 500500 h 841899"/>
                <a:gd name="connsiteX50" fmla="*/ 155141 w 496886"/>
                <a:gd name="connsiteY50" fmla="*/ 502805 h 841899"/>
                <a:gd name="connsiteX51" fmla="*/ 155291 w 496886"/>
                <a:gd name="connsiteY51" fmla="*/ 503857 h 841899"/>
                <a:gd name="connsiteX52" fmla="*/ 152836 w 496886"/>
                <a:gd name="connsiteY52" fmla="*/ 507365 h 841899"/>
                <a:gd name="connsiteX53" fmla="*/ 149980 w 496886"/>
                <a:gd name="connsiteY53" fmla="*/ 511323 h 841899"/>
                <a:gd name="connsiteX54" fmla="*/ 110894 w 496886"/>
                <a:gd name="connsiteY54" fmla="*/ 529163 h 841899"/>
                <a:gd name="connsiteX55" fmla="*/ 83082 w 496886"/>
                <a:gd name="connsiteY55" fmla="*/ 528762 h 841899"/>
                <a:gd name="connsiteX56" fmla="*/ 68551 w 496886"/>
                <a:gd name="connsiteY56" fmla="*/ 528912 h 841899"/>
                <a:gd name="connsiteX57" fmla="*/ 33674 w 496886"/>
                <a:gd name="connsiteY57" fmla="*/ 538333 h 841899"/>
                <a:gd name="connsiteX58" fmla="*/ 31419 w 496886"/>
                <a:gd name="connsiteY58" fmla="*/ 546400 h 841899"/>
                <a:gd name="connsiteX59" fmla="*/ 27310 w 496886"/>
                <a:gd name="connsiteY59" fmla="*/ 561133 h 841899"/>
                <a:gd name="connsiteX60" fmla="*/ 15033 w 496886"/>
                <a:gd name="connsiteY60" fmla="*/ 577419 h 841899"/>
                <a:gd name="connsiteX61" fmla="*/ 4309 w 496886"/>
                <a:gd name="connsiteY61" fmla="*/ 584434 h 841899"/>
                <a:gd name="connsiteX62" fmla="*/ 0 w 496886"/>
                <a:gd name="connsiteY62" fmla="*/ 587441 h 841899"/>
                <a:gd name="connsiteX63" fmla="*/ 2355 w 496886"/>
                <a:gd name="connsiteY63" fmla="*/ 593003 h 841899"/>
                <a:gd name="connsiteX64" fmla="*/ 7667 w 496886"/>
                <a:gd name="connsiteY64" fmla="*/ 604929 h 841899"/>
                <a:gd name="connsiteX65" fmla="*/ 12778 w 496886"/>
                <a:gd name="connsiteY65" fmla="*/ 615452 h 841899"/>
                <a:gd name="connsiteX66" fmla="*/ 33022 w 496886"/>
                <a:gd name="connsiteY66" fmla="*/ 655641 h 841899"/>
                <a:gd name="connsiteX67" fmla="*/ 48206 w 496886"/>
                <a:gd name="connsiteY67" fmla="*/ 703546 h 841899"/>
                <a:gd name="connsiteX68" fmla="*/ 48857 w 496886"/>
                <a:gd name="connsiteY68" fmla="*/ 708557 h 841899"/>
                <a:gd name="connsiteX69" fmla="*/ 59130 w 496886"/>
                <a:gd name="connsiteY69" fmla="*/ 740227 h 841899"/>
                <a:gd name="connsiteX70" fmla="*/ 61986 w 496886"/>
                <a:gd name="connsiteY70" fmla="*/ 753406 h 841899"/>
                <a:gd name="connsiteX71" fmla="*/ 51463 w 496886"/>
                <a:gd name="connsiteY71" fmla="*/ 823810 h 841899"/>
                <a:gd name="connsiteX72" fmla="*/ 51112 w 496886"/>
                <a:gd name="connsiteY72" fmla="*/ 825113 h 841899"/>
                <a:gd name="connsiteX73" fmla="*/ 44197 w 496886"/>
                <a:gd name="connsiteY73" fmla="*/ 827869 h 841899"/>
                <a:gd name="connsiteX74" fmla="*/ 31770 w 496886"/>
                <a:gd name="connsiteY74" fmla="*/ 832981 h 841899"/>
                <a:gd name="connsiteX75" fmla="*/ 24804 w 496886"/>
                <a:gd name="connsiteY75" fmla="*/ 837240 h 841899"/>
                <a:gd name="connsiteX76" fmla="*/ 24454 w 496886"/>
                <a:gd name="connsiteY76" fmla="*/ 841399 h 841899"/>
                <a:gd name="connsiteX77" fmla="*/ 24454 w 496886"/>
                <a:gd name="connsiteY77" fmla="*/ 841399 h 841899"/>
                <a:gd name="connsiteX78" fmla="*/ 25356 w 496886"/>
                <a:gd name="connsiteY78" fmla="*/ 841900 h 841899"/>
                <a:gd name="connsiteX79" fmla="*/ 62688 w 496886"/>
                <a:gd name="connsiteY79" fmla="*/ 841048 h 841899"/>
                <a:gd name="connsiteX80" fmla="*/ 71307 w 496886"/>
                <a:gd name="connsiteY80" fmla="*/ 839444 h 841899"/>
                <a:gd name="connsiteX81" fmla="*/ 74163 w 496886"/>
                <a:gd name="connsiteY81" fmla="*/ 838743 h 841899"/>
                <a:gd name="connsiteX82" fmla="*/ 75366 w 496886"/>
                <a:gd name="connsiteY82" fmla="*/ 832730 h 841899"/>
                <a:gd name="connsiteX83" fmla="*/ 99268 w 496886"/>
                <a:gd name="connsiteY83" fmla="*/ 767937 h 841899"/>
                <a:gd name="connsiteX84" fmla="*/ 95460 w 496886"/>
                <a:gd name="connsiteY84" fmla="*/ 748544 h 841899"/>
                <a:gd name="connsiteX85" fmla="*/ 98967 w 496886"/>
                <a:gd name="connsiteY85" fmla="*/ 746139 h 841899"/>
                <a:gd name="connsiteX86" fmla="*/ 104831 w 496886"/>
                <a:gd name="connsiteY86" fmla="*/ 742181 h 841899"/>
                <a:gd name="connsiteX87" fmla="*/ 118661 w 496886"/>
                <a:gd name="connsiteY87" fmla="*/ 738723 h 841899"/>
                <a:gd name="connsiteX88" fmla="*/ 128883 w 496886"/>
                <a:gd name="connsiteY88" fmla="*/ 751100 h 841899"/>
                <a:gd name="connsiteX89" fmla="*/ 130086 w 496886"/>
                <a:gd name="connsiteY89" fmla="*/ 751602 h 841899"/>
                <a:gd name="connsiteX90" fmla="*/ 130637 w 496886"/>
                <a:gd name="connsiteY90" fmla="*/ 751852 h 841899"/>
                <a:gd name="connsiteX91" fmla="*/ 152685 w 496886"/>
                <a:gd name="connsiteY91" fmla="*/ 730154 h 841899"/>
                <a:gd name="connsiteX92" fmla="*/ 154239 w 496886"/>
                <a:gd name="connsiteY92" fmla="*/ 733812 h 841899"/>
                <a:gd name="connsiteX93" fmla="*/ 167017 w 496886"/>
                <a:gd name="connsiteY93" fmla="*/ 763828 h 841899"/>
                <a:gd name="connsiteX94" fmla="*/ 190819 w 496886"/>
                <a:gd name="connsiteY94" fmla="*/ 768539 h 841899"/>
                <a:gd name="connsiteX95" fmla="*/ 214070 w 496886"/>
                <a:gd name="connsiteY95" fmla="*/ 772899 h 841899"/>
                <a:gd name="connsiteX96" fmla="*/ 214371 w 496886"/>
                <a:gd name="connsiteY96" fmla="*/ 772798 h 841899"/>
                <a:gd name="connsiteX97" fmla="*/ 221737 w 496886"/>
                <a:gd name="connsiteY97" fmla="*/ 765933 h 841899"/>
                <a:gd name="connsiteX98" fmla="*/ 223341 w 496886"/>
                <a:gd name="connsiteY98" fmla="*/ 766585 h 841899"/>
                <a:gd name="connsiteX99" fmla="*/ 251954 w 496886"/>
                <a:gd name="connsiteY99" fmla="*/ 762626 h 841899"/>
                <a:gd name="connsiteX100" fmla="*/ 256514 w 496886"/>
                <a:gd name="connsiteY100" fmla="*/ 758266 h 841899"/>
                <a:gd name="connsiteX101" fmla="*/ 256915 w 496886"/>
                <a:gd name="connsiteY101" fmla="*/ 757815 h 841899"/>
                <a:gd name="connsiteX102" fmla="*/ 273251 w 496886"/>
                <a:gd name="connsiteY102" fmla="*/ 741530 h 841899"/>
                <a:gd name="connsiteX103" fmla="*/ 311935 w 496886"/>
                <a:gd name="connsiteY103" fmla="*/ 702494 h 841899"/>
                <a:gd name="connsiteX104" fmla="*/ 327069 w 496886"/>
                <a:gd name="connsiteY104" fmla="*/ 682249 h 841899"/>
                <a:gd name="connsiteX105" fmla="*/ 352926 w 496886"/>
                <a:gd name="connsiteY105" fmla="*/ 639205 h 841899"/>
                <a:gd name="connsiteX106" fmla="*/ 361945 w 496886"/>
                <a:gd name="connsiteY106" fmla="*/ 624021 h 841899"/>
                <a:gd name="connsiteX107" fmla="*/ 364701 w 496886"/>
                <a:gd name="connsiteY107" fmla="*/ 618158 h 841899"/>
                <a:gd name="connsiteX108" fmla="*/ 370314 w 496886"/>
                <a:gd name="connsiteY108" fmla="*/ 598465 h 841899"/>
                <a:gd name="connsiteX109" fmla="*/ 375725 w 496886"/>
                <a:gd name="connsiteY109" fmla="*/ 569251 h 841899"/>
                <a:gd name="connsiteX110" fmla="*/ 378031 w 496886"/>
                <a:gd name="connsiteY110" fmla="*/ 557675 h 841899"/>
                <a:gd name="connsiteX111" fmla="*/ 379785 w 496886"/>
                <a:gd name="connsiteY111" fmla="*/ 552364 h 841899"/>
                <a:gd name="connsiteX112" fmla="*/ 381088 w 496886"/>
                <a:gd name="connsiteY112" fmla="*/ 547202 h 841899"/>
                <a:gd name="connsiteX113" fmla="*/ 383843 w 496886"/>
                <a:gd name="connsiteY113" fmla="*/ 532220 h 841899"/>
                <a:gd name="connsiteX114" fmla="*/ 394968 w 496886"/>
                <a:gd name="connsiteY114" fmla="*/ 507365 h 841899"/>
                <a:gd name="connsiteX115" fmla="*/ 406292 w 496886"/>
                <a:gd name="connsiteY115" fmla="*/ 486569 h 841899"/>
                <a:gd name="connsiteX116" fmla="*/ 450991 w 496886"/>
                <a:gd name="connsiteY116" fmla="*/ 341601 h 841899"/>
                <a:gd name="connsiteX117" fmla="*/ 453446 w 496886"/>
                <a:gd name="connsiteY117" fmla="*/ 335086 h 841899"/>
                <a:gd name="connsiteX118" fmla="*/ 482260 w 496886"/>
                <a:gd name="connsiteY118" fmla="*/ 223842 h 841899"/>
                <a:gd name="connsiteX119" fmla="*/ 487070 w 496886"/>
                <a:gd name="connsiteY119" fmla="*/ 177340 h 841899"/>
                <a:gd name="connsiteX120" fmla="*/ 494286 w 496886"/>
                <a:gd name="connsiteY120" fmla="*/ 118160 h 841899"/>
                <a:gd name="connsiteX121" fmla="*/ 495088 w 496886"/>
                <a:gd name="connsiteY121" fmla="*/ 92403 h 841899"/>
                <a:gd name="connsiteX122" fmla="*/ 485166 w 496886"/>
                <a:gd name="connsiteY122" fmla="*/ 89397 h 841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496886" h="841899">
                  <a:moveTo>
                    <a:pt x="485316" y="89397"/>
                  </a:moveTo>
                  <a:cubicBezTo>
                    <a:pt x="477148" y="86941"/>
                    <a:pt x="469432" y="84586"/>
                    <a:pt x="461715" y="81930"/>
                  </a:cubicBezTo>
                  <a:cubicBezTo>
                    <a:pt x="452995" y="78873"/>
                    <a:pt x="448686" y="71457"/>
                    <a:pt x="450239" y="62036"/>
                  </a:cubicBezTo>
                  <a:cubicBezTo>
                    <a:pt x="451392" y="54921"/>
                    <a:pt x="453146" y="47805"/>
                    <a:pt x="454799" y="40940"/>
                  </a:cubicBezTo>
                  <a:cubicBezTo>
                    <a:pt x="455401" y="38384"/>
                    <a:pt x="456052" y="35779"/>
                    <a:pt x="456653" y="33223"/>
                  </a:cubicBezTo>
                  <a:cubicBezTo>
                    <a:pt x="448385" y="15334"/>
                    <a:pt x="443474" y="9972"/>
                    <a:pt x="426237" y="0"/>
                  </a:cubicBezTo>
                  <a:cubicBezTo>
                    <a:pt x="415513" y="5362"/>
                    <a:pt x="406143" y="12127"/>
                    <a:pt x="398275" y="20194"/>
                  </a:cubicBezTo>
                  <a:cubicBezTo>
                    <a:pt x="397123" y="21397"/>
                    <a:pt x="395970" y="22600"/>
                    <a:pt x="394818" y="23802"/>
                  </a:cubicBezTo>
                  <a:cubicBezTo>
                    <a:pt x="391059" y="27761"/>
                    <a:pt x="387151" y="31820"/>
                    <a:pt x="382791" y="35277"/>
                  </a:cubicBezTo>
                  <a:cubicBezTo>
                    <a:pt x="378983" y="38334"/>
                    <a:pt x="374723" y="40740"/>
                    <a:pt x="370614" y="43045"/>
                  </a:cubicBezTo>
                  <a:cubicBezTo>
                    <a:pt x="369813" y="43496"/>
                    <a:pt x="369011" y="43947"/>
                    <a:pt x="368209" y="44397"/>
                  </a:cubicBezTo>
                  <a:cubicBezTo>
                    <a:pt x="369311" y="46101"/>
                    <a:pt x="370364" y="47755"/>
                    <a:pt x="371466" y="49408"/>
                  </a:cubicBezTo>
                  <a:cubicBezTo>
                    <a:pt x="374924" y="54720"/>
                    <a:pt x="378181" y="59731"/>
                    <a:pt x="380736" y="65143"/>
                  </a:cubicBezTo>
                  <a:cubicBezTo>
                    <a:pt x="383493" y="71006"/>
                    <a:pt x="387452" y="73411"/>
                    <a:pt x="395369" y="74113"/>
                  </a:cubicBezTo>
                  <a:cubicBezTo>
                    <a:pt x="397824" y="74313"/>
                    <a:pt x="400330" y="74263"/>
                    <a:pt x="402986" y="74163"/>
                  </a:cubicBezTo>
                  <a:cubicBezTo>
                    <a:pt x="409951" y="73963"/>
                    <a:pt x="417167" y="73762"/>
                    <a:pt x="423731" y="78573"/>
                  </a:cubicBezTo>
                  <a:lnTo>
                    <a:pt x="424984" y="79475"/>
                  </a:lnTo>
                  <a:lnTo>
                    <a:pt x="424834" y="81028"/>
                  </a:lnTo>
                  <a:cubicBezTo>
                    <a:pt x="423531" y="92954"/>
                    <a:pt x="413458" y="129485"/>
                    <a:pt x="408898" y="136851"/>
                  </a:cubicBezTo>
                  <a:cubicBezTo>
                    <a:pt x="406644" y="140458"/>
                    <a:pt x="403537" y="143716"/>
                    <a:pt x="400129" y="146021"/>
                  </a:cubicBezTo>
                  <a:cubicBezTo>
                    <a:pt x="395369" y="149228"/>
                    <a:pt x="390257" y="151884"/>
                    <a:pt x="384996" y="153988"/>
                  </a:cubicBezTo>
                  <a:cubicBezTo>
                    <a:pt x="374874" y="157997"/>
                    <a:pt x="370464" y="164612"/>
                    <a:pt x="371215" y="174834"/>
                  </a:cubicBezTo>
                  <a:cubicBezTo>
                    <a:pt x="371416" y="177691"/>
                    <a:pt x="371215" y="180547"/>
                    <a:pt x="371116" y="183353"/>
                  </a:cubicBezTo>
                  <a:cubicBezTo>
                    <a:pt x="371066" y="184556"/>
                    <a:pt x="370965" y="185758"/>
                    <a:pt x="370915" y="186961"/>
                  </a:cubicBezTo>
                  <a:cubicBezTo>
                    <a:pt x="370714" y="193626"/>
                    <a:pt x="368159" y="198987"/>
                    <a:pt x="363198" y="203347"/>
                  </a:cubicBezTo>
                  <a:cubicBezTo>
                    <a:pt x="338945" y="224644"/>
                    <a:pt x="310883" y="239226"/>
                    <a:pt x="279764" y="246542"/>
                  </a:cubicBezTo>
                  <a:lnTo>
                    <a:pt x="278612" y="246792"/>
                  </a:lnTo>
                  <a:lnTo>
                    <a:pt x="260823" y="234465"/>
                  </a:lnTo>
                  <a:cubicBezTo>
                    <a:pt x="254660" y="239025"/>
                    <a:pt x="248897" y="243335"/>
                    <a:pt x="241831" y="248596"/>
                  </a:cubicBezTo>
                  <a:lnTo>
                    <a:pt x="238424" y="251152"/>
                  </a:lnTo>
                  <a:lnTo>
                    <a:pt x="233513" y="226297"/>
                  </a:lnTo>
                  <a:cubicBezTo>
                    <a:pt x="232661" y="226347"/>
                    <a:pt x="231860" y="226448"/>
                    <a:pt x="231108" y="226548"/>
                  </a:cubicBezTo>
                  <a:cubicBezTo>
                    <a:pt x="227550" y="226898"/>
                    <a:pt x="224243" y="227249"/>
                    <a:pt x="220885" y="226598"/>
                  </a:cubicBezTo>
                  <a:cubicBezTo>
                    <a:pt x="217528" y="225947"/>
                    <a:pt x="214421" y="224343"/>
                    <a:pt x="211415" y="222790"/>
                  </a:cubicBezTo>
                  <a:cubicBezTo>
                    <a:pt x="210663" y="222389"/>
                    <a:pt x="209961" y="222038"/>
                    <a:pt x="209210" y="221637"/>
                  </a:cubicBezTo>
                  <a:cubicBezTo>
                    <a:pt x="194126" y="238173"/>
                    <a:pt x="186109" y="255963"/>
                    <a:pt x="184806" y="275956"/>
                  </a:cubicBezTo>
                  <a:cubicBezTo>
                    <a:pt x="184255" y="284175"/>
                    <a:pt x="182501" y="293495"/>
                    <a:pt x="173832" y="300761"/>
                  </a:cubicBezTo>
                  <a:cubicBezTo>
                    <a:pt x="167969" y="305672"/>
                    <a:pt x="165564" y="311986"/>
                    <a:pt x="165664" y="321907"/>
                  </a:cubicBezTo>
                  <a:cubicBezTo>
                    <a:pt x="165914" y="339947"/>
                    <a:pt x="165814" y="358237"/>
                    <a:pt x="165764" y="375976"/>
                  </a:cubicBezTo>
                  <a:lnTo>
                    <a:pt x="165764" y="390959"/>
                  </a:lnTo>
                  <a:cubicBezTo>
                    <a:pt x="165764" y="401131"/>
                    <a:pt x="165764" y="411655"/>
                    <a:pt x="160603" y="421827"/>
                  </a:cubicBezTo>
                  <a:cubicBezTo>
                    <a:pt x="159100" y="424833"/>
                    <a:pt x="160052" y="430346"/>
                    <a:pt x="160603" y="433653"/>
                  </a:cubicBezTo>
                  <a:cubicBezTo>
                    <a:pt x="161104" y="436509"/>
                    <a:pt x="162307" y="439365"/>
                    <a:pt x="163359" y="441921"/>
                  </a:cubicBezTo>
                  <a:cubicBezTo>
                    <a:pt x="163860" y="443073"/>
                    <a:pt x="164311" y="444126"/>
                    <a:pt x="164662" y="445128"/>
                  </a:cubicBezTo>
                  <a:lnTo>
                    <a:pt x="165063" y="446281"/>
                  </a:lnTo>
                  <a:lnTo>
                    <a:pt x="164511" y="447333"/>
                  </a:lnTo>
                  <a:cubicBezTo>
                    <a:pt x="163960" y="448335"/>
                    <a:pt x="163559" y="449237"/>
                    <a:pt x="163209" y="449939"/>
                  </a:cubicBezTo>
                  <a:cubicBezTo>
                    <a:pt x="162507" y="451392"/>
                    <a:pt x="161956" y="452595"/>
                    <a:pt x="160954" y="453547"/>
                  </a:cubicBezTo>
                  <a:cubicBezTo>
                    <a:pt x="148927" y="465523"/>
                    <a:pt x="146472" y="478602"/>
                    <a:pt x="153537" y="493484"/>
                  </a:cubicBezTo>
                  <a:cubicBezTo>
                    <a:pt x="154640" y="495789"/>
                    <a:pt x="154790" y="498295"/>
                    <a:pt x="154941" y="500500"/>
                  </a:cubicBezTo>
                  <a:cubicBezTo>
                    <a:pt x="154941" y="501301"/>
                    <a:pt x="155041" y="502103"/>
                    <a:pt x="155141" y="502805"/>
                  </a:cubicBezTo>
                  <a:lnTo>
                    <a:pt x="155291" y="503857"/>
                  </a:lnTo>
                  <a:lnTo>
                    <a:pt x="152836" y="507365"/>
                  </a:lnTo>
                  <a:cubicBezTo>
                    <a:pt x="151834" y="508818"/>
                    <a:pt x="150932" y="510121"/>
                    <a:pt x="149980" y="511323"/>
                  </a:cubicBezTo>
                  <a:cubicBezTo>
                    <a:pt x="139657" y="524703"/>
                    <a:pt x="126829" y="530466"/>
                    <a:pt x="110894" y="529163"/>
                  </a:cubicBezTo>
                  <a:cubicBezTo>
                    <a:pt x="101724" y="528361"/>
                    <a:pt x="92253" y="528561"/>
                    <a:pt x="83082" y="528762"/>
                  </a:cubicBezTo>
                  <a:cubicBezTo>
                    <a:pt x="78222" y="528862"/>
                    <a:pt x="73411" y="528962"/>
                    <a:pt x="68551" y="528912"/>
                  </a:cubicBezTo>
                  <a:cubicBezTo>
                    <a:pt x="54119" y="528762"/>
                    <a:pt x="43596" y="531618"/>
                    <a:pt x="33674" y="538333"/>
                  </a:cubicBezTo>
                  <a:lnTo>
                    <a:pt x="31419" y="546400"/>
                  </a:lnTo>
                  <a:cubicBezTo>
                    <a:pt x="30066" y="551161"/>
                    <a:pt x="28663" y="556172"/>
                    <a:pt x="27310" y="561133"/>
                  </a:cubicBezTo>
                  <a:cubicBezTo>
                    <a:pt x="25256" y="568649"/>
                    <a:pt x="21247" y="574011"/>
                    <a:pt x="15033" y="577419"/>
                  </a:cubicBezTo>
                  <a:cubicBezTo>
                    <a:pt x="11526" y="579323"/>
                    <a:pt x="8168" y="581728"/>
                    <a:pt x="4309" y="584434"/>
                  </a:cubicBezTo>
                  <a:cubicBezTo>
                    <a:pt x="2956" y="585386"/>
                    <a:pt x="1504" y="586389"/>
                    <a:pt x="0" y="587441"/>
                  </a:cubicBezTo>
                  <a:cubicBezTo>
                    <a:pt x="852" y="589445"/>
                    <a:pt x="1653" y="591249"/>
                    <a:pt x="2355" y="593003"/>
                  </a:cubicBezTo>
                  <a:cubicBezTo>
                    <a:pt x="4259" y="597463"/>
                    <a:pt x="5863" y="601271"/>
                    <a:pt x="7667" y="604929"/>
                  </a:cubicBezTo>
                  <a:lnTo>
                    <a:pt x="12778" y="615452"/>
                  </a:lnTo>
                  <a:cubicBezTo>
                    <a:pt x="19242" y="628731"/>
                    <a:pt x="25957" y="642412"/>
                    <a:pt x="33022" y="655641"/>
                  </a:cubicBezTo>
                  <a:cubicBezTo>
                    <a:pt x="40790" y="670173"/>
                    <a:pt x="45751" y="685857"/>
                    <a:pt x="48206" y="703546"/>
                  </a:cubicBezTo>
                  <a:cubicBezTo>
                    <a:pt x="48457" y="705200"/>
                    <a:pt x="48657" y="706853"/>
                    <a:pt x="48857" y="708557"/>
                  </a:cubicBezTo>
                  <a:cubicBezTo>
                    <a:pt x="50361" y="720082"/>
                    <a:pt x="51764" y="731006"/>
                    <a:pt x="59130" y="740227"/>
                  </a:cubicBezTo>
                  <a:cubicBezTo>
                    <a:pt x="62337" y="744185"/>
                    <a:pt x="62187" y="750800"/>
                    <a:pt x="61986" y="753406"/>
                  </a:cubicBezTo>
                  <a:cubicBezTo>
                    <a:pt x="59982" y="781166"/>
                    <a:pt x="56675" y="803516"/>
                    <a:pt x="51463" y="823810"/>
                  </a:cubicBezTo>
                  <a:lnTo>
                    <a:pt x="51112" y="825113"/>
                  </a:lnTo>
                  <a:lnTo>
                    <a:pt x="44197" y="827869"/>
                  </a:lnTo>
                  <a:cubicBezTo>
                    <a:pt x="39788" y="829623"/>
                    <a:pt x="35729" y="831226"/>
                    <a:pt x="31770" y="832981"/>
                  </a:cubicBezTo>
                  <a:cubicBezTo>
                    <a:pt x="29164" y="834133"/>
                    <a:pt x="26508" y="835436"/>
                    <a:pt x="24804" y="837240"/>
                  </a:cubicBezTo>
                  <a:cubicBezTo>
                    <a:pt x="24554" y="837540"/>
                    <a:pt x="24203" y="838943"/>
                    <a:pt x="24454" y="841399"/>
                  </a:cubicBezTo>
                  <a:cubicBezTo>
                    <a:pt x="24454" y="841399"/>
                    <a:pt x="24454" y="841399"/>
                    <a:pt x="24454" y="841399"/>
                  </a:cubicBezTo>
                  <a:cubicBezTo>
                    <a:pt x="24604" y="841399"/>
                    <a:pt x="25105" y="841800"/>
                    <a:pt x="25356" y="841900"/>
                  </a:cubicBezTo>
                  <a:cubicBezTo>
                    <a:pt x="38334" y="841750"/>
                    <a:pt x="50361" y="841649"/>
                    <a:pt x="62688" y="841048"/>
                  </a:cubicBezTo>
                  <a:cubicBezTo>
                    <a:pt x="65494" y="840898"/>
                    <a:pt x="68300" y="840196"/>
                    <a:pt x="71307" y="839444"/>
                  </a:cubicBezTo>
                  <a:cubicBezTo>
                    <a:pt x="72259" y="839194"/>
                    <a:pt x="73211" y="838993"/>
                    <a:pt x="74163" y="838743"/>
                  </a:cubicBezTo>
                  <a:lnTo>
                    <a:pt x="75366" y="832730"/>
                  </a:lnTo>
                  <a:cubicBezTo>
                    <a:pt x="80126" y="808927"/>
                    <a:pt x="84586" y="786428"/>
                    <a:pt x="99268" y="767937"/>
                  </a:cubicBezTo>
                  <a:lnTo>
                    <a:pt x="95460" y="748544"/>
                  </a:lnTo>
                  <a:lnTo>
                    <a:pt x="98967" y="746139"/>
                  </a:lnTo>
                  <a:cubicBezTo>
                    <a:pt x="100872" y="744786"/>
                    <a:pt x="102826" y="743434"/>
                    <a:pt x="104831" y="742181"/>
                  </a:cubicBezTo>
                  <a:cubicBezTo>
                    <a:pt x="110793" y="738573"/>
                    <a:pt x="114903" y="737521"/>
                    <a:pt x="118661" y="738723"/>
                  </a:cubicBezTo>
                  <a:cubicBezTo>
                    <a:pt x="122669" y="739976"/>
                    <a:pt x="125626" y="743584"/>
                    <a:pt x="128883" y="751100"/>
                  </a:cubicBezTo>
                  <a:cubicBezTo>
                    <a:pt x="129184" y="751251"/>
                    <a:pt x="129685" y="751451"/>
                    <a:pt x="130086" y="751602"/>
                  </a:cubicBezTo>
                  <a:cubicBezTo>
                    <a:pt x="130286" y="751651"/>
                    <a:pt x="130487" y="751752"/>
                    <a:pt x="130637" y="751852"/>
                  </a:cubicBezTo>
                  <a:lnTo>
                    <a:pt x="152685" y="730154"/>
                  </a:lnTo>
                  <a:lnTo>
                    <a:pt x="154239" y="733812"/>
                  </a:lnTo>
                  <a:cubicBezTo>
                    <a:pt x="159200" y="745538"/>
                    <a:pt x="163359" y="755210"/>
                    <a:pt x="167017" y="763828"/>
                  </a:cubicBezTo>
                  <a:cubicBezTo>
                    <a:pt x="174634" y="767687"/>
                    <a:pt x="182852" y="768088"/>
                    <a:pt x="190819" y="768539"/>
                  </a:cubicBezTo>
                  <a:cubicBezTo>
                    <a:pt x="198586" y="768940"/>
                    <a:pt x="206604" y="769340"/>
                    <a:pt x="214070" y="772899"/>
                  </a:cubicBezTo>
                  <a:cubicBezTo>
                    <a:pt x="214171" y="772899"/>
                    <a:pt x="214271" y="772848"/>
                    <a:pt x="214371" y="772798"/>
                  </a:cubicBezTo>
                  <a:lnTo>
                    <a:pt x="221737" y="765933"/>
                  </a:lnTo>
                  <a:lnTo>
                    <a:pt x="223341" y="766585"/>
                  </a:lnTo>
                  <a:cubicBezTo>
                    <a:pt x="238875" y="772798"/>
                    <a:pt x="240478" y="772598"/>
                    <a:pt x="251954" y="762626"/>
                  </a:cubicBezTo>
                  <a:cubicBezTo>
                    <a:pt x="253557" y="761273"/>
                    <a:pt x="255061" y="759770"/>
                    <a:pt x="256514" y="758266"/>
                  </a:cubicBezTo>
                  <a:lnTo>
                    <a:pt x="256915" y="757815"/>
                  </a:lnTo>
                  <a:cubicBezTo>
                    <a:pt x="262326" y="752403"/>
                    <a:pt x="267789" y="746941"/>
                    <a:pt x="273251" y="741530"/>
                  </a:cubicBezTo>
                  <a:cubicBezTo>
                    <a:pt x="286028" y="728801"/>
                    <a:pt x="299257" y="715673"/>
                    <a:pt x="311935" y="702494"/>
                  </a:cubicBezTo>
                  <a:cubicBezTo>
                    <a:pt x="316896" y="697332"/>
                    <a:pt x="321707" y="690918"/>
                    <a:pt x="327069" y="682249"/>
                  </a:cubicBezTo>
                  <a:cubicBezTo>
                    <a:pt x="335888" y="668018"/>
                    <a:pt x="344557" y="653386"/>
                    <a:pt x="352926" y="639205"/>
                  </a:cubicBezTo>
                  <a:lnTo>
                    <a:pt x="361945" y="624021"/>
                  </a:lnTo>
                  <a:cubicBezTo>
                    <a:pt x="363198" y="622017"/>
                    <a:pt x="364451" y="619962"/>
                    <a:pt x="364701" y="618158"/>
                  </a:cubicBezTo>
                  <a:cubicBezTo>
                    <a:pt x="365653" y="611293"/>
                    <a:pt x="368009" y="604779"/>
                    <a:pt x="370314" y="598465"/>
                  </a:cubicBezTo>
                  <a:cubicBezTo>
                    <a:pt x="373821" y="588794"/>
                    <a:pt x="377179" y="579624"/>
                    <a:pt x="375725" y="569251"/>
                  </a:cubicBezTo>
                  <a:cubicBezTo>
                    <a:pt x="375174" y="565292"/>
                    <a:pt x="376628" y="561434"/>
                    <a:pt x="378031" y="557675"/>
                  </a:cubicBezTo>
                  <a:cubicBezTo>
                    <a:pt x="378732" y="555821"/>
                    <a:pt x="379383" y="554067"/>
                    <a:pt x="379785" y="552364"/>
                  </a:cubicBezTo>
                  <a:cubicBezTo>
                    <a:pt x="380185" y="550660"/>
                    <a:pt x="380636" y="548956"/>
                    <a:pt x="381088" y="547202"/>
                  </a:cubicBezTo>
                  <a:cubicBezTo>
                    <a:pt x="382441" y="541991"/>
                    <a:pt x="383743" y="537130"/>
                    <a:pt x="383843" y="532220"/>
                  </a:cubicBezTo>
                  <a:cubicBezTo>
                    <a:pt x="384094" y="521797"/>
                    <a:pt x="387602" y="513879"/>
                    <a:pt x="394968" y="507365"/>
                  </a:cubicBezTo>
                  <a:cubicBezTo>
                    <a:pt x="401081" y="502003"/>
                    <a:pt x="404739" y="495188"/>
                    <a:pt x="406292" y="486569"/>
                  </a:cubicBezTo>
                  <a:cubicBezTo>
                    <a:pt x="415212" y="436359"/>
                    <a:pt x="433402" y="388153"/>
                    <a:pt x="450991" y="341601"/>
                  </a:cubicBezTo>
                  <a:lnTo>
                    <a:pt x="453446" y="335086"/>
                  </a:lnTo>
                  <a:cubicBezTo>
                    <a:pt x="466826" y="299608"/>
                    <a:pt x="476247" y="263228"/>
                    <a:pt x="482260" y="223842"/>
                  </a:cubicBezTo>
                  <a:cubicBezTo>
                    <a:pt x="484916" y="206554"/>
                    <a:pt x="486920" y="192172"/>
                    <a:pt x="487070" y="177340"/>
                  </a:cubicBezTo>
                  <a:cubicBezTo>
                    <a:pt x="487170" y="159701"/>
                    <a:pt x="488173" y="138855"/>
                    <a:pt x="494286" y="118160"/>
                  </a:cubicBezTo>
                  <a:cubicBezTo>
                    <a:pt x="497443" y="107386"/>
                    <a:pt x="497743" y="99168"/>
                    <a:pt x="495088" y="92403"/>
                  </a:cubicBezTo>
                  <a:cubicBezTo>
                    <a:pt x="491730" y="91351"/>
                    <a:pt x="488423" y="90348"/>
                    <a:pt x="485166" y="8939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35C33FAF-E8EB-4DEB-82BE-215FFE3732FB}"/>
                </a:ext>
              </a:extLst>
            </p:cNvPr>
            <p:cNvSpPr/>
            <p:nvPr/>
          </p:nvSpPr>
          <p:spPr>
            <a:xfrm>
              <a:off x="1939842" y="2356559"/>
              <a:ext cx="878205" cy="744271"/>
            </a:xfrm>
            <a:custGeom>
              <a:avLst/>
              <a:gdLst>
                <a:gd name="connsiteX0" fmla="*/ 63227 w 704185"/>
                <a:gd name="connsiteY0" fmla="*/ 128713 h 596791"/>
                <a:gd name="connsiteX1" fmla="*/ 54407 w 704185"/>
                <a:gd name="connsiteY1" fmla="*/ 135978 h 596791"/>
                <a:gd name="connsiteX2" fmla="*/ 50900 w 704185"/>
                <a:gd name="connsiteY2" fmla="*/ 138684 h 596791"/>
                <a:gd name="connsiteX3" fmla="*/ 49747 w 704185"/>
                <a:gd name="connsiteY3" fmla="*/ 139586 h 596791"/>
                <a:gd name="connsiteX4" fmla="*/ 48344 w 704185"/>
                <a:gd name="connsiteY4" fmla="*/ 139085 h 596791"/>
                <a:gd name="connsiteX5" fmla="*/ 7304 w 704185"/>
                <a:gd name="connsiteY5" fmla="*/ 134425 h 596791"/>
                <a:gd name="connsiteX6" fmla="*/ 15472 w 704185"/>
                <a:gd name="connsiteY6" fmla="*/ 176568 h 596791"/>
                <a:gd name="connsiteX7" fmla="*/ 16524 w 704185"/>
                <a:gd name="connsiteY7" fmla="*/ 177470 h 596791"/>
                <a:gd name="connsiteX8" fmla="*/ 17226 w 704185"/>
                <a:gd name="connsiteY8" fmla="*/ 178021 h 596791"/>
                <a:gd name="connsiteX9" fmla="*/ 26847 w 704185"/>
                <a:gd name="connsiteY9" fmla="*/ 198566 h 596791"/>
                <a:gd name="connsiteX10" fmla="*/ 26847 w 704185"/>
                <a:gd name="connsiteY10" fmla="*/ 204078 h 596791"/>
                <a:gd name="connsiteX11" fmla="*/ 27248 w 704185"/>
                <a:gd name="connsiteY11" fmla="*/ 224423 h 596791"/>
                <a:gd name="connsiteX12" fmla="*/ 29102 w 704185"/>
                <a:gd name="connsiteY12" fmla="*/ 234746 h 596791"/>
                <a:gd name="connsiteX13" fmla="*/ 29853 w 704185"/>
                <a:gd name="connsiteY13" fmla="*/ 238153 h 596791"/>
                <a:gd name="connsiteX14" fmla="*/ 40026 w 704185"/>
                <a:gd name="connsiteY14" fmla="*/ 239406 h 596791"/>
                <a:gd name="connsiteX15" fmla="*/ 89535 w 704185"/>
                <a:gd name="connsiteY15" fmla="*/ 252084 h 596791"/>
                <a:gd name="connsiteX16" fmla="*/ 90787 w 704185"/>
                <a:gd name="connsiteY16" fmla="*/ 252785 h 596791"/>
                <a:gd name="connsiteX17" fmla="*/ 93944 w 704185"/>
                <a:gd name="connsiteY17" fmla="*/ 294978 h 596791"/>
                <a:gd name="connsiteX18" fmla="*/ 114289 w 704185"/>
                <a:gd name="connsiteY18" fmla="*/ 300139 h 596791"/>
                <a:gd name="connsiteX19" fmla="*/ 117246 w 704185"/>
                <a:gd name="connsiteY19" fmla="*/ 286359 h 596791"/>
                <a:gd name="connsiteX20" fmla="*/ 129873 w 704185"/>
                <a:gd name="connsiteY20" fmla="*/ 252084 h 596791"/>
                <a:gd name="connsiteX21" fmla="*/ 131377 w 704185"/>
                <a:gd name="connsiteY21" fmla="*/ 250179 h 596791"/>
                <a:gd name="connsiteX22" fmla="*/ 133431 w 704185"/>
                <a:gd name="connsiteY22" fmla="*/ 251482 h 596791"/>
                <a:gd name="connsiteX23" fmla="*/ 144355 w 704185"/>
                <a:gd name="connsiteY23" fmla="*/ 274583 h 596791"/>
                <a:gd name="connsiteX24" fmla="*/ 139745 w 704185"/>
                <a:gd name="connsiteY24" fmla="*/ 310161 h 596791"/>
                <a:gd name="connsiteX25" fmla="*/ 150168 w 704185"/>
                <a:gd name="connsiteY25" fmla="*/ 325294 h 596791"/>
                <a:gd name="connsiteX26" fmla="*/ 162896 w 704185"/>
                <a:gd name="connsiteY26" fmla="*/ 327449 h 596791"/>
                <a:gd name="connsiteX27" fmla="*/ 194966 w 704185"/>
                <a:gd name="connsiteY27" fmla="*/ 335868 h 596791"/>
                <a:gd name="connsiteX28" fmla="*/ 214459 w 704185"/>
                <a:gd name="connsiteY28" fmla="*/ 381368 h 596791"/>
                <a:gd name="connsiteX29" fmla="*/ 214459 w 704185"/>
                <a:gd name="connsiteY29" fmla="*/ 384725 h 596791"/>
                <a:gd name="connsiteX30" fmla="*/ 214459 w 704185"/>
                <a:gd name="connsiteY30" fmla="*/ 388233 h 596791"/>
                <a:gd name="connsiteX31" fmla="*/ 223579 w 704185"/>
                <a:gd name="connsiteY31" fmla="*/ 414140 h 596791"/>
                <a:gd name="connsiteX32" fmla="*/ 229392 w 704185"/>
                <a:gd name="connsiteY32" fmla="*/ 421205 h 596791"/>
                <a:gd name="connsiteX33" fmla="*/ 232599 w 704185"/>
                <a:gd name="connsiteY33" fmla="*/ 425314 h 596791"/>
                <a:gd name="connsiteX34" fmla="*/ 237359 w 704185"/>
                <a:gd name="connsiteY34" fmla="*/ 431227 h 596791"/>
                <a:gd name="connsiteX35" fmla="*/ 272887 w 704185"/>
                <a:gd name="connsiteY35" fmla="*/ 437290 h 596791"/>
                <a:gd name="connsiteX36" fmla="*/ 274792 w 704185"/>
                <a:gd name="connsiteY36" fmla="*/ 434585 h 596791"/>
                <a:gd name="connsiteX37" fmla="*/ 280254 w 704185"/>
                <a:gd name="connsiteY37" fmla="*/ 427068 h 596791"/>
                <a:gd name="connsiteX38" fmla="*/ 302102 w 704185"/>
                <a:gd name="connsiteY38" fmla="*/ 420353 h 596791"/>
                <a:gd name="connsiteX39" fmla="*/ 307764 w 704185"/>
                <a:gd name="connsiteY39" fmla="*/ 422157 h 596791"/>
                <a:gd name="connsiteX40" fmla="*/ 317836 w 704185"/>
                <a:gd name="connsiteY40" fmla="*/ 425314 h 596791"/>
                <a:gd name="connsiteX41" fmla="*/ 326555 w 704185"/>
                <a:gd name="connsiteY41" fmla="*/ 428271 h 596791"/>
                <a:gd name="connsiteX42" fmla="*/ 345998 w 704185"/>
                <a:gd name="connsiteY42" fmla="*/ 433282 h 596791"/>
                <a:gd name="connsiteX43" fmla="*/ 369700 w 704185"/>
                <a:gd name="connsiteY43" fmla="*/ 414541 h 596791"/>
                <a:gd name="connsiteX44" fmla="*/ 371203 w 704185"/>
                <a:gd name="connsiteY44" fmla="*/ 419552 h 596791"/>
                <a:gd name="connsiteX45" fmla="*/ 384032 w 704185"/>
                <a:gd name="connsiteY45" fmla="*/ 441750 h 596791"/>
                <a:gd name="connsiteX46" fmla="*/ 392751 w 704185"/>
                <a:gd name="connsiteY46" fmla="*/ 460491 h 596791"/>
                <a:gd name="connsiteX47" fmla="*/ 394404 w 704185"/>
                <a:gd name="connsiteY47" fmla="*/ 470964 h 596791"/>
                <a:gd name="connsiteX48" fmla="*/ 395106 w 704185"/>
                <a:gd name="connsiteY48" fmla="*/ 474572 h 596791"/>
                <a:gd name="connsiteX49" fmla="*/ 425823 w 704185"/>
                <a:gd name="connsiteY49" fmla="*/ 484194 h 596791"/>
                <a:gd name="connsiteX50" fmla="*/ 426224 w 704185"/>
                <a:gd name="connsiteY50" fmla="*/ 485547 h 596791"/>
                <a:gd name="connsiteX51" fmla="*/ 447772 w 704185"/>
                <a:gd name="connsiteY51" fmla="*/ 508547 h 596791"/>
                <a:gd name="connsiteX52" fmla="*/ 462654 w 704185"/>
                <a:gd name="connsiteY52" fmla="*/ 525885 h 596791"/>
                <a:gd name="connsiteX53" fmla="*/ 499586 w 704185"/>
                <a:gd name="connsiteY53" fmla="*/ 568028 h 596791"/>
                <a:gd name="connsiteX54" fmla="*/ 515972 w 704185"/>
                <a:gd name="connsiteY54" fmla="*/ 579403 h 596791"/>
                <a:gd name="connsiteX55" fmla="*/ 526795 w 704185"/>
                <a:gd name="connsiteY55" fmla="*/ 587170 h 596791"/>
                <a:gd name="connsiteX56" fmla="*/ 536216 w 704185"/>
                <a:gd name="connsiteY56" fmla="*/ 592582 h 596791"/>
                <a:gd name="connsiteX57" fmla="*/ 539323 w 704185"/>
                <a:gd name="connsiteY57" fmla="*/ 594235 h 596791"/>
                <a:gd name="connsiteX58" fmla="*/ 554156 w 704185"/>
                <a:gd name="connsiteY58" fmla="*/ 586468 h 596791"/>
                <a:gd name="connsiteX59" fmla="*/ 555258 w 704185"/>
                <a:gd name="connsiteY59" fmla="*/ 586869 h 596791"/>
                <a:gd name="connsiteX60" fmla="*/ 576755 w 704185"/>
                <a:gd name="connsiteY60" fmla="*/ 594586 h 596791"/>
                <a:gd name="connsiteX61" fmla="*/ 600207 w 704185"/>
                <a:gd name="connsiteY61" fmla="*/ 577098 h 596791"/>
                <a:gd name="connsiteX62" fmla="*/ 601409 w 704185"/>
                <a:gd name="connsiteY62" fmla="*/ 577398 h 596791"/>
                <a:gd name="connsiteX63" fmla="*/ 630874 w 704185"/>
                <a:gd name="connsiteY63" fmla="*/ 596791 h 596791"/>
                <a:gd name="connsiteX64" fmla="*/ 637288 w 704185"/>
                <a:gd name="connsiteY64" fmla="*/ 591680 h 596791"/>
                <a:gd name="connsiteX65" fmla="*/ 636587 w 704185"/>
                <a:gd name="connsiteY65" fmla="*/ 586869 h 596791"/>
                <a:gd name="connsiteX66" fmla="*/ 636587 w 704185"/>
                <a:gd name="connsiteY66" fmla="*/ 563067 h 596791"/>
                <a:gd name="connsiteX67" fmla="*/ 633881 w 704185"/>
                <a:gd name="connsiteY67" fmla="*/ 562165 h 596791"/>
                <a:gd name="connsiteX68" fmla="*/ 619499 w 704185"/>
                <a:gd name="connsiteY68" fmla="*/ 550790 h 596791"/>
                <a:gd name="connsiteX69" fmla="*/ 617144 w 704185"/>
                <a:gd name="connsiteY69" fmla="*/ 544777 h 596791"/>
                <a:gd name="connsiteX70" fmla="*/ 613837 w 704185"/>
                <a:gd name="connsiteY70" fmla="*/ 529493 h 596791"/>
                <a:gd name="connsiteX71" fmla="*/ 642399 w 704185"/>
                <a:gd name="connsiteY71" fmla="*/ 511153 h 596791"/>
                <a:gd name="connsiteX72" fmla="*/ 679280 w 704185"/>
                <a:gd name="connsiteY72" fmla="*/ 498525 h 596791"/>
                <a:gd name="connsiteX73" fmla="*/ 685143 w 704185"/>
                <a:gd name="connsiteY73" fmla="*/ 495468 h 596791"/>
                <a:gd name="connsiteX74" fmla="*/ 704185 w 704185"/>
                <a:gd name="connsiteY74" fmla="*/ 476727 h 596791"/>
                <a:gd name="connsiteX75" fmla="*/ 681686 w 704185"/>
                <a:gd name="connsiteY75" fmla="*/ 437341 h 596791"/>
                <a:gd name="connsiteX76" fmla="*/ 680383 w 704185"/>
                <a:gd name="connsiteY76" fmla="*/ 436789 h 596791"/>
                <a:gd name="connsiteX77" fmla="*/ 675622 w 704185"/>
                <a:gd name="connsiteY77" fmla="*/ 412336 h 596791"/>
                <a:gd name="connsiteX78" fmla="*/ 666653 w 704185"/>
                <a:gd name="connsiteY78" fmla="*/ 411935 h 596791"/>
                <a:gd name="connsiteX79" fmla="*/ 644203 w 704185"/>
                <a:gd name="connsiteY79" fmla="*/ 411534 h 596791"/>
                <a:gd name="connsiteX80" fmla="*/ 613937 w 704185"/>
                <a:gd name="connsiteY80" fmla="*/ 396751 h 596791"/>
                <a:gd name="connsiteX81" fmla="*/ 592540 w 704185"/>
                <a:gd name="connsiteY81" fmla="*/ 366786 h 596791"/>
                <a:gd name="connsiteX82" fmla="*/ 587779 w 704185"/>
                <a:gd name="connsiteY82" fmla="*/ 360472 h 596791"/>
                <a:gd name="connsiteX83" fmla="*/ 580814 w 704185"/>
                <a:gd name="connsiteY83" fmla="*/ 352604 h 596791"/>
                <a:gd name="connsiteX84" fmla="*/ 578509 w 704185"/>
                <a:gd name="connsiteY84" fmla="*/ 350199 h 596791"/>
                <a:gd name="connsiteX85" fmla="*/ 532859 w 704185"/>
                <a:gd name="connsiteY85" fmla="*/ 352554 h 596791"/>
                <a:gd name="connsiteX86" fmla="*/ 531405 w 704185"/>
                <a:gd name="connsiteY86" fmla="*/ 352103 h 596791"/>
                <a:gd name="connsiteX87" fmla="*/ 525793 w 704185"/>
                <a:gd name="connsiteY87" fmla="*/ 329103 h 596791"/>
                <a:gd name="connsiteX88" fmla="*/ 494074 w 704185"/>
                <a:gd name="connsiteY88" fmla="*/ 305300 h 596791"/>
                <a:gd name="connsiteX89" fmla="*/ 466463 w 704185"/>
                <a:gd name="connsiteY89" fmla="*/ 277139 h 596791"/>
                <a:gd name="connsiteX90" fmla="*/ 444064 w 704185"/>
                <a:gd name="connsiteY90" fmla="*/ 274182 h 596791"/>
                <a:gd name="connsiteX91" fmla="*/ 428780 w 704185"/>
                <a:gd name="connsiteY91" fmla="*/ 278291 h 596791"/>
                <a:gd name="connsiteX92" fmla="*/ 421314 w 704185"/>
                <a:gd name="connsiteY92" fmla="*/ 280296 h 596791"/>
                <a:gd name="connsiteX93" fmla="*/ 420462 w 704185"/>
                <a:gd name="connsiteY93" fmla="*/ 277991 h 596791"/>
                <a:gd name="connsiteX94" fmla="*/ 417205 w 704185"/>
                <a:gd name="connsiteY94" fmla="*/ 267918 h 596791"/>
                <a:gd name="connsiteX95" fmla="*/ 411342 w 704185"/>
                <a:gd name="connsiteY95" fmla="*/ 254288 h 596791"/>
                <a:gd name="connsiteX96" fmla="*/ 407583 w 704185"/>
                <a:gd name="connsiteY96" fmla="*/ 249979 h 596791"/>
                <a:gd name="connsiteX97" fmla="*/ 373509 w 704185"/>
                <a:gd name="connsiteY97" fmla="*/ 221617 h 596791"/>
                <a:gd name="connsiteX98" fmla="*/ 372456 w 704185"/>
                <a:gd name="connsiteY98" fmla="*/ 221216 h 596791"/>
                <a:gd name="connsiteX99" fmla="*/ 372005 w 704185"/>
                <a:gd name="connsiteY99" fmla="*/ 220163 h 596791"/>
                <a:gd name="connsiteX100" fmla="*/ 371354 w 704185"/>
                <a:gd name="connsiteY100" fmla="*/ 218760 h 596791"/>
                <a:gd name="connsiteX101" fmla="*/ 370001 w 704185"/>
                <a:gd name="connsiteY101" fmla="*/ 215102 h 596791"/>
                <a:gd name="connsiteX102" fmla="*/ 351560 w 704185"/>
                <a:gd name="connsiteY102" fmla="*/ 193906 h 596791"/>
                <a:gd name="connsiteX103" fmla="*/ 339634 w 704185"/>
                <a:gd name="connsiteY103" fmla="*/ 187742 h 596791"/>
                <a:gd name="connsiteX104" fmla="*/ 335575 w 704185"/>
                <a:gd name="connsiteY104" fmla="*/ 185136 h 596791"/>
                <a:gd name="connsiteX105" fmla="*/ 334523 w 704185"/>
                <a:gd name="connsiteY105" fmla="*/ 184535 h 596791"/>
                <a:gd name="connsiteX106" fmla="*/ 334272 w 704185"/>
                <a:gd name="connsiteY106" fmla="*/ 183333 h 596791"/>
                <a:gd name="connsiteX107" fmla="*/ 315481 w 704185"/>
                <a:gd name="connsiteY107" fmla="*/ 153868 h 596791"/>
                <a:gd name="connsiteX108" fmla="*/ 314479 w 704185"/>
                <a:gd name="connsiteY108" fmla="*/ 153166 h 596791"/>
                <a:gd name="connsiteX109" fmla="*/ 314328 w 704185"/>
                <a:gd name="connsiteY109" fmla="*/ 151914 h 596791"/>
                <a:gd name="connsiteX110" fmla="*/ 322296 w 704185"/>
                <a:gd name="connsiteY110" fmla="*/ 93585 h 596791"/>
                <a:gd name="connsiteX111" fmla="*/ 338883 w 704185"/>
                <a:gd name="connsiteY111" fmla="*/ 40769 h 596791"/>
                <a:gd name="connsiteX112" fmla="*/ 330264 w 704185"/>
                <a:gd name="connsiteY112" fmla="*/ 32000 h 596791"/>
                <a:gd name="connsiteX113" fmla="*/ 306662 w 704185"/>
                <a:gd name="connsiteY113" fmla="*/ 8398 h 596791"/>
                <a:gd name="connsiteX114" fmla="*/ 285365 w 704185"/>
                <a:gd name="connsiteY114" fmla="*/ 7196 h 596791"/>
                <a:gd name="connsiteX115" fmla="*/ 284714 w 704185"/>
                <a:gd name="connsiteY115" fmla="*/ 7596 h 596791"/>
                <a:gd name="connsiteX116" fmla="*/ 271184 w 704185"/>
                <a:gd name="connsiteY116" fmla="*/ 13409 h 596791"/>
                <a:gd name="connsiteX117" fmla="*/ 239264 w 704185"/>
                <a:gd name="connsiteY117" fmla="*/ 22680 h 596791"/>
                <a:gd name="connsiteX118" fmla="*/ 198023 w 704185"/>
                <a:gd name="connsiteY118" fmla="*/ 7797 h 596791"/>
                <a:gd name="connsiteX119" fmla="*/ 186097 w 704185"/>
                <a:gd name="connsiteY119" fmla="*/ 30 h 596791"/>
                <a:gd name="connsiteX120" fmla="*/ 177478 w 704185"/>
                <a:gd name="connsiteY120" fmla="*/ 8248 h 596791"/>
                <a:gd name="connsiteX121" fmla="*/ 138192 w 704185"/>
                <a:gd name="connsiteY121" fmla="*/ 42473 h 596791"/>
                <a:gd name="connsiteX122" fmla="*/ 118248 w 704185"/>
                <a:gd name="connsiteY122" fmla="*/ 52445 h 596791"/>
                <a:gd name="connsiteX123" fmla="*/ 111483 w 704185"/>
                <a:gd name="connsiteY123" fmla="*/ 56354 h 596791"/>
                <a:gd name="connsiteX124" fmla="*/ 101611 w 704185"/>
                <a:gd name="connsiteY124" fmla="*/ 73441 h 596791"/>
                <a:gd name="connsiteX125" fmla="*/ 98855 w 704185"/>
                <a:gd name="connsiteY125" fmla="*/ 91431 h 596791"/>
                <a:gd name="connsiteX126" fmla="*/ 97402 w 704185"/>
                <a:gd name="connsiteY126" fmla="*/ 98897 h 596791"/>
                <a:gd name="connsiteX127" fmla="*/ 100960 w 704185"/>
                <a:gd name="connsiteY127" fmla="*/ 103958 h 596791"/>
                <a:gd name="connsiteX128" fmla="*/ 102463 w 704185"/>
                <a:gd name="connsiteY128" fmla="*/ 106113 h 596791"/>
                <a:gd name="connsiteX129" fmla="*/ 101311 w 704185"/>
                <a:gd name="connsiteY129" fmla="*/ 107666 h 596791"/>
                <a:gd name="connsiteX130" fmla="*/ 77909 w 704185"/>
                <a:gd name="connsiteY130" fmla="*/ 121847 h 596791"/>
                <a:gd name="connsiteX131" fmla="*/ 63177 w 704185"/>
                <a:gd name="connsiteY131" fmla="*/ 128512 h 596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704185" h="596791">
                  <a:moveTo>
                    <a:pt x="63227" y="128713"/>
                  </a:moveTo>
                  <a:cubicBezTo>
                    <a:pt x="60371" y="131419"/>
                    <a:pt x="57364" y="133724"/>
                    <a:pt x="54407" y="135978"/>
                  </a:cubicBezTo>
                  <a:cubicBezTo>
                    <a:pt x="53205" y="136930"/>
                    <a:pt x="52002" y="137833"/>
                    <a:pt x="50900" y="138684"/>
                  </a:cubicBezTo>
                  <a:lnTo>
                    <a:pt x="49747" y="139586"/>
                  </a:lnTo>
                  <a:lnTo>
                    <a:pt x="48344" y="139085"/>
                  </a:lnTo>
                  <a:cubicBezTo>
                    <a:pt x="23339" y="130466"/>
                    <a:pt x="22738" y="130266"/>
                    <a:pt x="7304" y="134425"/>
                  </a:cubicBezTo>
                  <a:cubicBezTo>
                    <a:pt x="-3620" y="158628"/>
                    <a:pt x="-3370" y="158929"/>
                    <a:pt x="15472" y="176568"/>
                  </a:cubicBezTo>
                  <a:cubicBezTo>
                    <a:pt x="15823" y="176918"/>
                    <a:pt x="16173" y="177169"/>
                    <a:pt x="16524" y="177470"/>
                  </a:cubicBezTo>
                  <a:lnTo>
                    <a:pt x="17226" y="178021"/>
                  </a:lnTo>
                  <a:cubicBezTo>
                    <a:pt x="23540" y="183082"/>
                    <a:pt x="26797" y="190047"/>
                    <a:pt x="26847" y="198566"/>
                  </a:cubicBezTo>
                  <a:lnTo>
                    <a:pt x="26847" y="204078"/>
                  </a:lnTo>
                  <a:cubicBezTo>
                    <a:pt x="26847" y="210743"/>
                    <a:pt x="26847" y="217658"/>
                    <a:pt x="27248" y="224423"/>
                  </a:cubicBezTo>
                  <a:cubicBezTo>
                    <a:pt x="27498" y="227780"/>
                    <a:pt x="28250" y="231188"/>
                    <a:pt x="29102" y="234746"/>
                  </a:cubicBezTo>
                  <a:cubicBezTo>
                    <a:pt x="29352" y="235898"/>
                    <a:pt x="29603" y="237000"/>
                    <a:pt x="29853" y="238153"/>
                  </a:cubicBezTo>
                  <a:cubicBezTo>
                    <a:pt x="33261" y="238604"/>
                    <a:pt x="36669" y="239005"/>
                    <a:pt x="40026" y="239406"/>
                  </a:cubicBezTo>
                  <a:cubicBezTo>
                    <a:pt x="57414" y="241460"/>
                    <a:pt x="73800" y="243364"/>
                    <a:pt x="89535" y="252084"/>
                  </a:cubicBezTo>
                  <a:lnTo>
                    <a:pt x="90787" y="252785"/>
                  </a:lnTo>
                  <a:lnTo>
                    <a:pt x="93944" y="294978"/>
                  </a:lnTo>
                  <a:lnTo>
                    <a:pt x="114289" y="300139"/>
                  </a:lnTo>
                  <a:cubicBezTo>
                    <a:pt x="115492" y="295529"/>
                    <a:pt x="116394" y="290869"/>
                    <a:pt x="117246" y="286359"/>
                  </a:cubicBezTo>
                  <a:cubicBezTo>
                    <a:pt x="119501" y="274483"/>
                    <a:pt x="121806" y="262206"/>
                    <a:pt x="129873" y="252084"/>
                  </a:cubicBezTo>
                  <a:lnTo>
                    <a:pt x="131377" y="250179"/>
                  </a:lnTo>
                  <a:lnTo>
                    <a:pt x="133431" y="251482"/>
                  </a:lnTo>
                  <a:cubicBezTo>
                    <a:pt x="147462" y="260402"/>
                    <a:pt x="150318" y="262206"/>
                    <a:pt x="144355" y="274583"/>
                  </a:cubicBezTo>
                  <a:cubicBezTo>
                    <a:pt x="138743" y="286259"/>
                    <a:pt x="138793" y="298586"/>
                    <a:pt x="139745" y="310161"/>
                  </a:cubicBezTo>
                  <a:cubicBezTo>
                    <a:pt x="140196" y="315623"/>
                    <a:pt x="144355" y="321686"/>
                    <a:pt x="150168" y="325294"/>
                  </a:cubicBezTo>
                  <a:cubicBezTo>
                    <a:pt x="154678" y="328101"/>
                    <a:pt x="159338" y="328902"/>
                    <a:pt x="162896" y="327449"/>
                  </a:cubicBezTo>
                  <a:cubicBezTo>
                    <a:pt x="177428" y="321686"/>
                    <a:pt x="185997" y="327850"/>
                    <a:pt x="194966" y="335868"/>
                  </a:cubicBezTo>
                  <a:cubicBezTo>
                    <a:pt x="206692" y="346441"/>
                    <a:pt x="218167" y="360121"/>
                    <a:pt x="214459" y="381368"/>
                  </a:cubicBezTo>
                  <a:cubicBezTo>
                    <a:pt x="214309" y="382370"/>
                    <a:pt x="214359" y="383472"/>
                    <a:pt x="214459" y="384725"/>
                  </a:cubicBezTo>
                  <a:cubicBezTo>
                    <a:pt x="214509" y="385928"/>
                    <a:pt x="214559" y="387080"/>
                    <a:pt x="214459" y="388233"/>
                  </a:cubicBezTo>
                  <a:cubicBezTo>
                    <a:pt x="213557" y="398205"/>
                    <a:pt x="216514" y="406673"/>
                    <a:pt x="223579" y="414140"/>
                  </a:cubicBezTo>
                  <a:cubicBezTo>
                    <a:pt x="225684" y="416395"/>
                    <a:pt x="227588" y="418850"/>
                    <a:pt x="229392" y="421205"/>
                  </a:cubicBezTo>
                  <a:cubicBezTo>
                    <a:pt x="230444" y="422608"/>
                    <a:pt x="231496" y="423961"/>
                    <a:pt x="232599" y="425314"/>
                  </a:cubicBezTo>
                  <a:cubicBezTo>
                    <a:pt x="234403" y="427469"/>
                    <a:pt x="235956" y="429473"/>
                    <a:pt x="237359" y="431227"/>
                  </a:cubicBezTo>
                  <a:cubicBezTo>
                    <a:pt x="248534" y="445258"/>
                    <a:pt x="248684" y="445408"/>
                    <a:pt x="272887" y="437290"/>
                  </a:cubicBezTo>
                  <a:cubicBezTo>
                    <a:pt x="273489" y="436439"/>
                    <a:pt x="274140" y="435537"/>
                    <a:pt x="274792" y="434585"/>
                  </a:cubicBezTo>
                  <a:cubicBezTo>
                    <a:pt x="276495" y="432179"/>
                    <a:pt x="278299" y="429574"/>
                    <a:pt x="280254" y="427068"/>
                  </a:cubicBezTo>
                  <a:cubicBezTo>
                    <a:pt x="285816" y="419952"/>
                    <a:pt x="293383" y="417597"/>
                    <a:pt x="302102" y="420353"/>
                  </a:cubicBezTo>
                  <a:lnTo>
                    <a:pt x="307764" y="422157"/>
                  </a:lnTo>
                  <a:cubicBezTo>
                    <a:pt x="311122" y="423210"/>
                    <a:pt x="314479" y="424312"/>
                    <a:pt x="317836" y="425314"/>
                  </a:cubicBezTo>
                  <a:cubicBezTo>
                    <a:pt x="320793" y="426166"/>
                    <a:pt x="323649" y="427218"/>
                    <a:pt x="326555" y="428271"/>
                  </a:cubicBezTo>
                  <a:cubicBezTo>
                    <a:pt x="333020" y="430626"/>
                    <a:pt x="339183" y="432831"/>
                    <a:pt x="345998" y="433282"/>
                  </a:cubicBezTo>
                  <a:lnTo>
                    <a:pt x="369700" y="414541"/>
                  </a:lnTo>
                  <a:lnTo>
                    <a:pt x="371203" y="419552"/>
                  </a:lnTo>
                  <a:cubicBezTo>
                    <a:pt x="374160" y="429373"/>
                    <a:pt x="376515" y="437140"/>
                    <a:pt x="384032" y="441750"/>
                  </a:cubicBezTo>
                  <a:cubicBezTo>
                    <a:pt x="390897" y="445960"/>
                    <a:pt x="392300" y="453977"/>
                    <a:pt x="392751" y="460491"/>
                  </a:cubicBezTo>
                  <a:cubicBezTo>
                    <a:pt x="393001" y="463899"/>
                    <a:pt x="393703" y="467357"/>
                    <a:pt x="394404" y="470964"/>
                  </a:cubicBezTo>
                  <a:cubicBezTo>
                    <a:pt x="394655" y="472167"/>
                    <a:pt x="394906" y="473370"/>
                    <a:pt x="395106" y="474572"/>
                  </a:cubicBezTo>
                  <a:lnTo>
                    <a:pt x="425823" y="484194"/>
                  </a:lnTo>
                  <a:lnTo>
                    <a:pt x="426224" y="485547"/>
                  </a:lnTo>
                  <a:cubicBezTo>
                    <a:pt x="429482" y="496220"/>
                    <a:pt x="436748" y="503937"/>
                    <a:pt x="447772" y="508547"/>
                  </a:cubicBezTo>
                  <a:cubicBezTo>
                    <a:pt x="456641" y="512205"/>
                    <a:pt x="460500" y="520223"/>
                    <a:pt x="462654" y="525885"/>
                  </a:cubicBezTo>
                  <a:cubicBezTo>
                    <a:pt x="469119" y="543173"/>
                    <a:pt x="481195" y="556953"/>
                    <a:pt x="499586" y="568028"/>
                  </a:cubicBezTo>
                  <a:cubicBezTo>
                    <a:pt x="505298" y="571485"/>
                    <a:pt x="510710" y="575494"/>
                    <a:pt x="515972" y="579403"/>
                  </a:cubicBezTo>
                  <a:cubicBezTo>
                    <a:pt x="519529" y="582059"/>
                    <a:pt x="523087" y="584714"/>
                    <a:pt x="526795" y="587170"/>
                  </a:cubicBezTo>
                  <a:cubicBezTo>
                    <a:pt x="529752" y="589174"/>
                    <a:pt x="533059" y="590878"/>
                    <a:pt x="536216" y="592582"/>
                  </a:cubicBezTo>
                  <a:cubicBezTo>
                    <a:pt x="537268" y="593133"/>
                    <a:pt x="538321" y="593684"/>
                    <a:pt x="539323" y="594235"/>
                  </a:cubicBezTo>
                  <a:lnTo>
                    <a:pt x="554156" y="586468"/>
                  </a:lnTo>
                  <a:lnTo>
                    <a:pt x="555258" y="586869"/>
                  </a:lnTo>
                  <a:cubicBezTo>
                    <a:pt x="562574" y="589525"/>
                    <a:pt x="569489" y="591980"/>
                    <a:pt x="576755" y="594586"/>
                  </a:cubicBezTo>
                  <a:lnTo>
                    <a:pt x="600207" y="577098"/>
                  </a:lnTo>
                  <a:lnTo>
                    <a:pt x="601409" y="577398"/>
                  </a:lnTo>
                  <a:cubicBezTo>
                    <a:pt x="613336" y="580255"/>
                    <a:pt x="622756" y="586468"/>
                    <a:pt x="630874" y="596791"/>
                  </a:cubicBezTo>
                  <a:cubicBezTo>
                    <a:pt x="634382" y="595288"/>
                    <a:pt x="636587" y="593534"/>
                    <a:pt x="637288" y="591680"/>
                  </a:cubicBezTo>
                  <a:cubicBezTo>
                    <a:pt x="637789" y="590327"/>
                    <a:pt x="637589" y="588773"/>
                    <a:pt x="636587" y="586869"/>
                  </a:cubicBezTo>
                  <a:cubicBezTo>
                    <a:pt x="631726" y="577749"/>
                    <a:pt x="633680" y="569531"/>
                    <a:pt x="636587" y="563067"/>
                  </a:cubicBezTo>
                  <a:cubicBezTo>
                    <a:pt x="635685" y="562766"/>
                    <a:pt x="634783" y="562466"/>
                    <a:pt x="633881" y="562165"/>
                  </a:cubicBezTo>
                  <a:cubicBezTo>
                    <a:pt x="627968" y="560261"/>
                    <a:pt x="621854" y="558357"/>
                    <a:pt x="619499" y="550790"/>
                  </a:cubicBezTo>
                  <a:cubicBezTo>
                    <a:pt x="618898" y="548886"/>
                    <a:pt x="618046" y="546881"/>
                    <a:pt x="617144" y="544777"/>
                  </a:cubicBezTo>
                  <a:cubicBezTo>
                    <a:pt x="614939" y="539716"/>
                    <a:pt x="612684" y="534454"/>
                    <a:pt x="613837" y="529493"/>
                  </a:cubicBezTo>
                  <a:cubicBezTo>
                    <a:pt x="616442" y="518218"/>
                    <a:pt x="626565" y="511704"/>
                    <a:pt x="642399" y="511153"/>
                  </a:cubicBezTo>
                  <a:cubicBezTo>
                    <a:pt x="656180" y="510702"/>
                    <a:pt x="667404" y="504789"/>
                    <a:pt x="679280" y="498525"/>
                  </a:cubicBezTo>
                  <a:cubicBezTo>
                    <a:pt x="681235" y="497473"/>
                    <a:pt x="683189" y="496471"/>
                    <a:pt x="685143" y="495468"/>
                  </a:cubicBezTo>
                  <a:cubicBezTo>
                    <a:pt x="694063" y="490908"/>
                    <a:pt x="700677" y="484444"/>
                    <a:pt x="704185" y="476727"/>
                  </a:cubicBezTo>
                  <a:cubicBezTo>
                    <a:pt x="702932" y="455480"/>
                    <a:pt x="696017" y="443304"/>
                    <a:pt x="681686" y="437341"/>
                  </a:cubicBezTo>
                  <a:lnTo>
                    <a:pt x="680383" y="436789"/>
                  </a:lnTo>
                  <a:lnTo>
                    <a:pt x="675622" y="412336"/>
                  </a:lnTo>
                  <a:cubicBezTo>
                    <a:pt x="672566" y="412235"/>
                    <a:pt x="669609" y="412085"/>
                    <a:pt x="666653" y="411935"/>
                  </a:cubicBezTo>
                  <a:cubicBezTo>
                    <a:pt x="658835" y="411584"/>
                    <a:pt x="651519" y="411233"/>
                    <a:pt x="644203" y="411534"/>
                  </a:cubicBezTo>
                  <a:cubicBezTo>
                    <a:pt x="630273" y="412185"/>
                    <a:pt x="620902" y="407675"/>
                    <a:pt x="613937" y="396751"/>
                  </a:cubicBezTo>
                  <a:cubicBezTo>
                    <a:pt x="607372" y="386429"/>
                    <a:pt x="599856" y="376457"/>
                    <a:pt x="592540" y="366786"/>
                  </a:cubicBezTo>
                  <a:lnTo>
                    <a:pt x="587779" y="360472"/>
                  </a:lnTo>
                  <a:cubicBezTo>
                    <a:pt x="585725" y="357716"/>
                    <a:pt x="583320" y="355210"/>
                    <a:pt x="580814" y="352604"/>
                  </a:cubicBezTo>
                  <a:cubicBezTo>
                    <a:pt x="580063" y="351803"/>
                    <a:pt x="579261" y="351001"/>
                    <a:pt x="578509" y="350199"/>
                  </a:cubicBezTo>
                  <a:cubicBezTo>
                    <a:pt x="561271" y="356112"/>
                    <a:pt x="547140" y="356864"/>
                    <a:pt x="532859" y="352554"/>
                  </a:cubicBezTo>
                  <a:lnTo>
                    <a:pt x="531405" y="352103"/>
                  </a:lnTo>
                  <a:lnTo>
                    <a:pt x="525793" y="329103"/>
                  </a:lnTo>
                  <a:cubicBezTo>
                    <a:pt x="510961" y="326447"/>
                    <a:pt x="499435" y="317828"/>
                    <a:pt x="494074" y="305300"/>
                  </a:cubicBezTo>
                  <a:cubicBezTo>
                    <a:pt x="488561" y="292372"/>
                    <a:pt x="479792" y="285206"/>
                    <a:pt x="466463" y="277139"/>
                  </a:cubicBezTo>
                  <a:cubicBezTo>
                    <a:pt x="459197" y="272779"/>
                    <a:pt x="452733" y="271927"/>
                    <a:pt x="444064" y="274182"/>
                  </a:cubicBezTo>
                  <a:cubicBezTo>
                    <a:pt x="439002" y="275535"/>
                    <a:pt x="433991" y="276888"/>
                    <a:pt x="428780" y="278291"/>
                  </a:cubicBezTo>
                  <a:lnTo>
                    <a:pt x="421314" y="280296"/>
                  </a:lnTo>
                  <a:lnTo>
                    <a:pt x="420462" y="277991"/>
                  </a:lnTo>
                  <a:cubicBezTo>
                    <a:pt x="419109" y="274383"/>
                    <a:pt x="418107" y="270925"/>
                    <a:pt x="417205" y="267918"/>
                  </a:cubicBezTo>
                  <a:cubicBezTo>
                    <a:pt x="415501" y="262055"/>
                    <a:pt x="414098" y="257395"/>
                    <a:pt x="411342" y="254288"/>
                  </a:cubicBezTo>
                  <a:lnTo>
                    <a:pt x="407583" y="249979"/>
                  </a:lnTo>
                  <a:cubicBezTo>
                    <a:pt x="397812" y="238804"/>
                    <a:pt x="387740" y="227229"/>
                    <a:pt x="373509" y="221617"/>
                  </a:cubicBezTo>
                  <a:lnTo>
                    <a:pt x="372456" y="221216"/>
                  </a:lnTo>
                  <a:lnTo>
                    <a:pt x="372005" y="220163"/>
                  </a:lnTo>
                  <a:cubicBezTo>
                    <a:pt x="371805" y="219662"/>
                    <a:pt x="371604" y="219211"/>
                    <a:pt x="371354" y="218760"/>
                  </a:cubicBezTo>
                  <a:cubicBezTo>
                    <a:pt x="370803" y="217658"/>
                    <a:pt x="370302" y="216455"/>
                    <a:pt x="370001" y="215102"/>
                  </a:cubicBezTo>
                  <a:cubicBezTo>
                    <a:pt x="367646" y="203226"/>
                    <a:pt x="361933" y="196662"/>
                    <a:pt x="351560" y="193906"/>
                  </a:cubicBezTo>
                  <a:cubicBezTo>
                    <a:pt x="347101" y="192703"/>
                    <a:pt x="343142" y="190047"/>
                    <a:pt x="339634" y="187742"/>
                  </a:cubicBezTo>
                  <a:cubicBezTo>
                    <a:pt x="338231" y="186790"/>
                    <a:pt x="336878" y="185888"/>
                    <a:pt x="335575" y="185136"/>
                  </a:cubicBezTo>
                  <a:lnTo>
                    <a:pt x="334523" y="184535"/>
                  </a:lnTo>
                  <a:lnTo>
                    <a:pt x="334272" y="183333"/>
                  </a:lnTo>
                  <a:cubicBezTo>
                    <a:pt x="331667" y="170439"/>
                    <a:pt x="325403" y="160618"/>
                    <a:pt x="315481" y="153868"/>
                  </a:cubicBezTo>
                  <a:lnTo>
                    <a:pt x="314479" y="153166"/>
                  </a:lnTo>
                  <a:lnTo>
                    <a:pt x="314328" y="151914"/>
                  </a:lnTo>
                  <a:cubicBezTo>
                    <a:pt x="312575" y="136029"/>
                    <a:pt x="311923" y="115083"/>
                    <a:pt x="322296" y="93585"/>
                  </a:cubicBezTo>
                  <a:cubicBezTo>
                    <a:pt x="330865" y="75746"/>
                    <a:pt x="336277" y="58458"/>
                    <a:pt x="338883" y="40769"/>
                  </a:cubicBezTo>
                  <a:cubicBezTo>
                    <a:pt x="335976" y="37863"/>
                    <a:pt x="333120" y="34957"/>
                    <a:pt x="330264" y="32000"/>
                  </a:cubicBezTo>
                  <a:cubicBezTo>
                    <a:pt x="322597" y="24183"/>
                    <a:pt x="314629" y="16115"/>
                    <a:pt x="306662" y="8398"/>
                  </a:cubicBezTo>
                  <a:cubicBezTo>
                    <a:pt x="300714" y="2650"/>
                    <a:pt x="293618" y="2250"/>
                    <a:pt x="285365" y="7196"/>
                  </a:cubicBezTo>
                  <a:lnTo>
                    <a:pt x="284714" y="7596"/>
                  </a:lnTo>
                  <a:cubicBezTo>
                    <a:pt x="281005" y="9801"/>
                    <a:pt x="276596" y="11705"/>
                    <a:pt x="271184" y="13409"/>
                  </a:cubicBezTo>
                  <a:cubicBezTo>
                    <a:pt x="259408" y="17117"/>
                    <a:pt x="249486" y="20124"/>
                    <a:pt x="239264" y="22680"/>
                  </a:cubicBezTo>
                  <a:cubicBezTo>
                    <a:pt x="213958" y="29094"/>
                    <a:pt x="212806" y="28643"/>
                    <a:pt x="198023" y="7797"/>
                  </a:cubicBezTo>
                  <a:cubicBezTo>
                    <a:pt x="194215" y="2435"/>
                    <a:pt x="189855" y="-321"/>
                    <a:pt x="186097" y="30"/>
                  </a:cubicBezTo>
                  <a:cubicBezTo>
                    <a:pt x="182689" y="380"/>
                    <a:pt x="179633" y="3287"/>
                    <a:pt x="177478" y="8248"/>
                  </a:cubicBezTo>
                  <a:cubicBezTo>
                    <a:pt x="170162" y="24985"/>
                    <a:pt x="157684" y="35858"/>
                    <a:pt x="138192" y="42473"/>
                  </a:cubicBezTo>
                  <a:cubicBezTo>
                    <a:pt x="131326" y="44778"/>
                    <a:pt x="124662" y="48687"/>
                    <a:pt x="118248" y="52445"/>
                  </a:cubicBezTo>
                  <a:cubicBezTo>
                    <a:pt x="115993" y="53748"/>
                    <a:pt x="113738" y="55051"/>
                    <a:pt x="111483" y="56354"/>
                  </a:cubicBezTo>
                  <a:cubicBezTo>
                    <a:pt x="105019" y="59911"/>
                    <a:pt x="101962" y="65173"/>
                    <a:pt x="101611" y="73441"/>
                  </a:cubicBezTo>
                  <a:cubicBezTo>
                    <a:pt x="101311" y="79404"/>
                    <a:pt x="100158" y="85267"/>
                    <a:pt x="98855" y="91431"/>
                  </a:cubicBezTo>
                  <a:cubicBezTo>
                    <a:pt x="98354" y="93836"/>
                    <a:pt x="97853" y="96341"/>
                    <a:pt x="97402" y="98897"/>
                  </a:cubicBezTo>
                  <a:cubicBezTo>
                    <a:pt x="98254" y="100100"/>
                    <a:pt x="99457" y="101853"/>
                    <a:pt x="100960" y="103958"/>
                  </a:cubicBezTo>
                  <a:lnTo>
                    <a:pt x="102463" y="106113"/>
                  </a:lnTo>
                  <a:lnTo>
                    <a:pt x="101311" y="107666"/>
                  </a:lnTo>
                  <a:cubicBezTo>
                    <a:pt x="95849" y="115183"/>
                    <a:pt x="89535" y="122399"/>
                    <a:pt x="77909" y="121847"/>
                  </a:cubicBezTo>
                  <a:cubicBezTo>
                    <a:pt x="72748" y="121597"/>
                    <a:pt x="68338" y="123551"/>
                    <a:pt x="63177" y="12851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88D837D-5710-4F8C-A175-62FCBF0FB6B1}"/>
                </a:ext>
              </a:extLst>
            </p:cNvPr>
            <p:cNvSpPr/>
            <p:nvPr/>
          </p:nvSpPr>
          <p:spPr>
            <a:xfrm>
              <a:off x="2269166" y="4055356"/>
              <a:ext cx="804040" cy="861784"/>
            </a:xfrm>
            <a:custGeom>
              <a:avLst/>
              <a:gdLst>
                <a:gd name="connsiteX0" fmla="*/ 601422 w 644716"/>
                <a:gd name="connsiteY0" fmla="*/ 582330 h 691018"/>
                <a:gd name="connsiteX1" fmla="*/ 593705 w 644716"/>
                <a:gd name="connsiteY1" fmla="*/ 571857 h 691018"/>
                <a:gd name="connsiteX2" fmla="*/ 592803 w 644716"/>
                <a:gd name="connsiteY2" fmla="*/ 570604 h 691018"/>
                <a:gd name="connsiteX3" fmla="*/ 593454 w 644716"/>
                <a:gd name="connsiteY3" fmla="*/ 569201 h 691018"/>
                <a:gd name="connsiteX4" fmla="*/ 590397 w 644716"/>
                <a:gd name="connsiteY4" fmla="*/ 533222 h 691018"/>
                <a:gd name="connsiteX5" fmla="*/ 584635 w 644716"/>
                <a:gd name="connsiteY5" fmla="*/ 516535 h 691018"/>
                <a:gd name="connsiteX6" fmla="*/ 584384 w 644716"/>
                <a:gd name="connsiteY6" fmla="*/ 515282 h 691018"/>
                <a:gd name="connsiteX7" fmla="*/ 612496 w 644716"/>
                <a:gd name="connsiteY7" fmla="*/ 479504 h 691018"/>
                <a:gd name="connsiteX8" fmla="*/ 608838 w 644716"/>
                <a:gd name="connsiteY8" fmla="*/ 475545 h 691018"/>
                <a:gd name="connsiteX9" fmla="*/ 596411 w 644716"/>
                <a:gd name="connsiteY9" fmla="*/ 464170 h 691018"/>
                <a:gd name="connsiteX10" fmla="*/ 564641 w 644716"/>
                <a:gd name="connsiteY10" fmla="*/ 459911 h 691018"/>
                <a:gd name="connsiteX11" fmla="*/ 555721 w 644716"/>
                <a:gd name="connsiteY11" fmla="*/ 461815 h 691018"/>
                <a:gd name="connsiteX12" fmla="*/ 551412 w 644716"/>
                <a:gd name="connsiteY12" fmla="*/ 462065 h 691018"/>
                <a:gd name="connsiteX13" fmla="*/ 549157 w 644716"/>
                <a:gd name="connsiteY13" fmla="*/ 462316 h 691018"/>
                <a:gd name="connsiteX14" fmla="*/ 543795 w 644716"/>
                <a:gd name="connsiteY14" fmla="*/ 444527 h 691018"/>
                <a:gd name="connsiteX15" fmla="*/ 542041 w 644716"/>
                <a:gd name="connsiteY15" fmla="*/ 445880 h 691018"/>
                <a:gd name="connsiteX16" fmla="*/ 532220 w 644716"/>
                <a:gd name="connsiteY16" fmla="*/ 452244 h 691018"/>
                <a:gd name="connsiteX17" fmla="*/ 520895 w 644716"/>
                <a:gd name="connsiteY17" fmla="*/ 455250 h 691018"/>
                <a:gd name="connsiteX18" fmla="*/ 517537 w 644716"/>
                <a:gd name="connsiteY18" fmla="*/ 455902 h 691018"/>
                <a:gd name="connsiteX19" fmla="*/ 513779 w 644716"/>
                <a:gd name="connsiteY19" fmla="*/ 462917 h 691018"/>
                <a:gd name="connsiteX20" fmla="*/ 504408 w 644716"/>
                <a:gd name="connsiteY20" fmla="*/ 480656 h 691018"/>
                <a:gd name="connsiteX21" fmla="*/ 485868 w 644716"/>
                <a:gd name="connsiteY21" fmla="*/ 489876 h 691018"/>
                <a:gd name="connsiteX22" fmla="*/ 453496 w 644716"/>
                <a:gd name="connsiteY22" fmla="*/ 482159 h 691018"/>
                <a:gd name="connsiteX23" fmla="*/ 442973 w 644716"/>
                <a:gd name="connsiteY23" fmla="*/ 474292 h 691018"/>
                <a:gd name="connsiteX24" fmla="*/ 419021 w 644716"/>
                <a:gd name="connsiteY24" fmla="*/ 463018 h 691018"/>
                <a:gd name="connsiteX25" fmla="*/ 414411 w 644716"/>
                <a:gd name="connsiteY25" fmla="*/ 462917 h 691018"/>
                <a:gd name="connsiteX26" fmla="*/ 405090 w 644716"/>
                <a:gd name="connsiteY26" fmla="*/ 462967 h 691018"/>
                <a:gd name="connsiteX27" fmla="*/ 376878 w 644716"/>
                <a:gd name="connsiteY27" fmla="*/ 448435 h 691018"/>
                <a:gd name="connsiteX28" fmla="*/ 366155 w 644716"/>
                <a:gd name="connsiteY28" fmla="*/ 434856 h 691018"/>
                <a:gd name="connsiteX29" fmla="*/ 359590 w 644716"/>
                <a:gd name="connsiteY29" fmla="*/ 426888 h 691018"/>
                <a:gd name="connsiteX30" fmla="*/ 358638 w 644716"/>
                <a:gd name="connsiteY30" fmla="*/ 425685 h 691018"/>
                <a:gd name="connsiteX31" fmla="*/ 361745 w 644716"/>
                <a:gd name="connsiteY31" fmla="*/ 417517 h 691018"/>
                <a:gd name="connsiteX32" fmla="*/ 367257 w 644716"/>
                <a:gd name="connsiteY32" fmla="*/ 402685 h 691018"/>
                <a:gd name="connsiteX33" fmla="*/ 369562 w 644716"/>
                <a:gd name="connsiteY33" fmla="*/ 397072 h 691018"/>
                <a:gd name="connsiteX34" fmla="*/ 373270 w 644716"/>
                <a:gd name="connsiteY34" fmla="*/ 381989 h 691018"/>
                <a:gd name="connsiteX35" fmla="*/ 357636 w 644716"/>
                <a:gd name="connsiteY35" fmla="*/ 362446 h 691018"/>
                <a:gd name="connsiteX36" fmla="*/ 358688 w 644716"/>
                <a:gd name="connsiteY36" fmla="*/ 360843 h 691018"/>
                <a:gd name="connsiteX37" fmla="*/ 371717 w 644716"/>
                <a:gd name="connsiteY37" fmla="*/ 345309 h 691018"/>
                <a:gd name="connsiteX38" fmla="*/ 388554 w 644716"/>
                <a:gd name="connsiteY38" fmla="*/ 319602 h 691018"/>
                <a:gd name="connsiteX39" fmla="*/ 369512 w 644716"/>
                <a:gd name="connsiteY39" fmla="*/ 320204 h 691018"/>
                <a:gd name="connsiteX40" fmla="*/ 362146 w 644716"/>
                <a:gd name="connsiteY40" fmla="*/ 326868 h 691018"/>
                <a:gd name="connsiteX41" fmla="*/ 347313 w 644716"/>
                <a:gd name="connsiteY41" fmla="*/ 330626 h 691018"/>
                <a:gd name="connsiteX42" fmla="*/ 337642 w 644716"/>
                <a:gd name="connsiteY42" fmla="*/ 320003 h 691018"/>
                <a:gd name="connsiteX43" fmla="*/ 323561 w 644716"/>
                <a:gd name="connsiteY43" fmla="*/ 277861 h 691018"/>
                <a:gd name="connsiteX44" fmla="*/ 321957 w 644716"/>
                <a:gd name="connsiteY44" fmla="*/ 272850 h 691018"/>
                <a:gd name="connsiteX45" fmla="*/ 322158 w 644716"/>
                <a:gd name="connsiteY45" fmla="*/ 263830 h 691018"/>
                <a:gd name="connsiteX46" fmla="*/ 329875 w 644716"/>
                <a:gd name="connsiteY46" fmla="*/ 257416 h 691018"/>
                <a:gd name="connsiteX47" fmla="*/ 334134 w 644716"/>
                <a:gd name="connsiteY47" fmla="*/ 257065 h 691018"/>
                <a:gd name="connsiteX48" fmla="*/ 336239 w 644716"/>
                <a:gd name="connsiteY48" fmla="*/ 256614 h 691018"/>
                <a:gd name="connsiteX49" fmla="*/ 334134 w 644716"/>
                <a:gd name="connsiteY49" fmla="*/ 202545 h 691018"/>
                <a:gd name="connsiteX50" fmla="*/ 330025 w 644716"/>
                <a:gd name="connsiteY50" fmla="*/ 197434 h 691018"/>
                <a:gd name="connsiteX51" fmla="*/ 321356 w 644716"/>
                <a:gd name="connsiteY51" fmla="*/ 184556 h 691018"/>
                <a:gd name="connsiteX52" fmla="*/ 310382 w 644716"/>
                <a:gd name="connsiteY52" fmla="*/ 168069 h 691018"/>
                <a:gd name="connsiteX53" fmla="*/ 301262 w 644716"/>
                <a:gd name="connsiteY53" fmla="*/ 144868 h 691018"/>
                <a:gd name="connsiteX54" fmla="*/ 301262 w 644716"/>
                <a:gd name="connsiteY54" fmla="*/ 133143 h 691018"/>
                <a:gd name="connsiteX55" fmla="*/ 308428 w 644716"/>
                <a:gd name="connsiteY55" fmla="*/ 78573 h 691018"/>
                <a:gd name="connsiteX56" fmla="*/ 308478 w 644716"/>
                <a:gd name="connsiteY56" fmla="*/ 76218 h 691018"/>
                <a:gd name="connsiteX57" fmla="*/ 302765 w 644716"/>
                <a:gd name="connsiteY57" fmla="*/ 67849 h 691018"/>
                <a:gd name="connsiteX58" fmla="*/ 293144 w 644716"/>
                <a:gd name="connsiteY58" fmla="*/ 49809 h 691018"/>
                <a:gd name="connsiteX59" fmla="*/ 294998 w 644716"/>
                <a:gd name="connsiteY59" fmla="*/ 29966 h 691018"/>
                <a:gd name="connsiteX60" fmla="*/ 296602 w 644716"/>
                <a:gd name="connsiteY60" fmla="*/ 22499 h 691018"/>
                <a:gd name="connsiteX61" fmla="*/ 288283 w 644716"/>
                <a:gd name="connsiteY61" fmla="*/ 12227 h 691018"/>
                <a:gd name="connsiteX62" fmla="*/ 276307 w 644716"/>
                <a:gd name="connsiteY62" fmla="*/ 0 h 691018"/>
                <a:gd name="connsiteX63" fmla="*/ 251352 w 644716"/>
                <a:gd name="connsiteY63" fmla="*/ 20746 h 691018"/>
                <a:gd name="connsiteX64" fmla="*/ 214772 w 644716"/>
                <a:gd name="connsiteY64" fmla="*/ 51864 h 691018"/>
                <a:gd name="connsiteX65" fmla="*/ 191571 w 644716"/>
                <a:gd name="connsiteY65" fmla="*/ 72259 h 691018"/>
                <a:gd name="connsiteX66" fmla="*/ 170224 w 644716"/>
                <a:gd name="connsiteY66" fmla="*/ 97965 h 691018"/>
                <a:gd name="connsiteX67" fmla="*/ 168721 w 644716"/>
                <a:gd name="connsiteY67" fmla="*/ 99619 h 691018"/>
                <a:gd name="connsiteX68" fmla="*/ 156845 w 644716"/>
                <a:gd name="connsiteY68" fmla="*/ 106434 h 691018"/>
                <a:gd name="connsiteX69" fmla="*/ 134295 w 644716"/>
                <a:gd name="connsiteY69" fmla="*/ 114802 h 691018"/>
                <a:gd name="connsiteX70" fmla="*/ 123822 w 644716"/>
                <a:gd name="connsiteY70" fmla="*/ 120665 h 691018"/>
                <a:gd name="connsiteX71" fmla="*/ 78873 w 644716"/>
                <a:gd name="connsiteY71" fmla="*/ 152335 h 691018"/>
                <a:gd name="connsiteX72" fmla="*/ 52265 w 644716"/>
                <a:gd name="connsiteY72" fmla="*/ 165213 h 691018"/>
                <a:gd name="connsiteX73" fmla="*/ 7817 w 644716"/>
                <a:gd name="connsiteY73" fmla="*/ 170675 h 691018"/>
                <a:gd name="connsiteX74" fmla="*/ 1403 w 644716"/>
                <a:gd name="connsiteY74" fmla="*/ 172830 h 691018"/>
                <a:gd name="connsiteX75" fmla="*/ 0 w 644716"/>
                <a:gd name="connsiteY75" fmla="*/ 173431 h 691018"/>
                <a:gd name="connsiteX76" fmla="*/ 251 w 644716"/>
                <a:gd name="connsiteY76" fmla="*/ 174734 h 691018"/>
                <a:gd name="connsiteX77" fmla="*/ 1253 w 644716"/>
                <a:gd name="connsiteY77" fmla="*/ 178643 h 691018"/>
                <a:gd name="connsiteX78" fmla="*/ 6715 w 644716"/>
                <a:gd name="connsiteY78" fmla="*/ 187813 h 691018"/>
                <a:gd name="connsiteX79" fmla="*/ 17188 w 644716"/>
                <a:gd name="connsiteY79" fmla="*/ 216325 h 691018"/>
                <a:gd name="connsiteX80" fmla="*/ 23151 w 644716"/>
                <a:gd name="connsiteY80" fmla="*/ 223190 h 691018"/>
                <a:gd name="connsiteX81" fmla="*/ 56023 w 644716"/>
                <a:gd name="connsiteY81" fmla="*/ 234816 h 691018"/>
                <a:gd name="connsiteX82" fmla="*/ 60533 w 644716"/>
                <a:gd name="connsiteY82" fmla="*/ 234565 h 691018"/>
                <a:gd name="connsiteX83" fmla="*/ 88394 w 644716"/>
                <a:gd name="connsiteY83" fmla="*/ 239476 h 691018"/>
                <a:gd name="connsiteX84" fmla="*/ 89547 w 644716"/>
                <a:gd name="connsiteY84" fmla="*/ 240178 h 691018"/>
                <a:gd name="connsiteX85" fmla="*/ 92453 w 644716"/>
                <a:gd name="connsiteY85" fmla="*/ 281970 h 691018"/>
                <a:gd name="connsiteX86" fmla="*/ 97164 w 644716"/>
                <a:gd name="connsiteY86" fmla="*/ 283924 h 691018"/>
                <a:gd name="connsiteX87" fmla="*/ 109040 w 644716"/>
                <a:gd name="connsiteY87" fmla="*/ 289235 h 691018"/>
                <a:gd name="connsiteX88" fmla="*/ 146221 w 644716"/>
                <a:gd name="connsiteY88" fmla="*/ 338243 h 691018"/>
                <a:gd name="connsiteX89" fmla="*/ 158899 w 644716"/>
                <a:gd name="connsiteY89" fmla="*/ 400280 h 691018"/>
                <a:gd name="connsiteX90" fmla="*/ 159701 w 644716"/>
                <a:gd name="connsiteY90" fmla="*/ 441570 h 691018"/>
                <a:gd name="connsiteX91" fmla="*/ 167218 w 644716"/>
                <a:gd name="connsiteY91" fmla="*/ 433753 h 691018"/>
                <a:gd name="connsiteX92" fmla="*/ 176939 w 644716"/>
                <a:gd name="connsiteY92" fmla="*/ 423380 h 691018"/>
                <a:gd name="connsiteX93" fmla="*/ 178091 w 644716"/>
                <a:gd name="connsiteY93" fmla="*/ 422929 h 691018"/>
                <a:gd name="connsiteX94" fmla="*/ 200791 w 644716"/>
                <a:gd name="connsiteY94" fmla="*/ 434856 h 691018"/>
                <a:gd name="connsiteX95" fmla="*/ 200942 w 644716"/>
                <a:gd name="connsiteY95" fmla="*/ 436259 h 691018"/>
                <a:gd name="connsiteX96" fmla="*/ 201543 w 644716"/>
                <a:gd name="connsiteY96" fmla="*/ 440869 h 691018"/>
                <a:gd name="connsiteX97" fmla="*/ 202495 w 644716"/>
                <a:gd name="connsiteY97" fmla="*/ 450791 h 691018"/>
                <a:gd name="connsiteX98" fmla="*/ 210312 w 644716"/>
                <a:gd name="connsiteY98" fmla="*/ 470283 h 691018"/>
                <a:gd name="connsiteX99" fmla="*/ 224844 w 644716"/>
                <a:gd name="connsiteY99" fmla="*/ 488073 h 691018"/>
                <a:gd name="connsiteX100" fmla="*/ 229454 w 644716"/>
                <a:gd name="connsiteY100" fmla="*/ 493986 h 691018"/>
                <a:gd name="connsiteX101" fmla="*/ 259270 w 644716"/>
                <a:gd name="connsiteY101" fmla="*/ 486719 h 691018"/>
                <a:gd name="connsiteX102" fmla="*/ 271998 w 644716"/>
                <a:gd name="connsiteY102" fmla="*/ 478151 h 691018"/>
                <a:gd name="connsiteX103" fmla="*/ 272850 w 644716"/>
                <a:gd name="connsiteY103" fmla="*/ 477750 h 691018"/>
                <a:gd name="connsiteX104" fmla="*/ 273752 w 644716"/>
                <a:gd name="connsiteY104" fmla="*/ 478000 h 691018"/>
                <a:gd name="connsiteX105" fmla="*/ 284525 w 644716"/>
                <a:gd name="connsiteY105" fmla="*/ 480606 h 691018"/>
                <a:gd name="connsiteX106" fmla="*/ 308227 w 644716"/>
                <a:gd name="connsiteY106" fmla="*/ 487271 h 691018"/>
                <a:gd name="connsiteX107" fmla="*/ 310983 w 644716"/>
                <a:gd name="connsiteY107" fmla="*/ 488323 h 691018"/>
                <a:gd name="connsiteX108" fmla="*/ 363098 w 644716"/>
                <a:gd name="connsiteY108" fmla="*/ 531267 h 691018"/>
                <a:gd name="connsiteX109" fmla="*/ 364200 w 644716"/>
                <a:gd name="connsiteY109" fmla="*/ 532019 h 691018"/>
                <a:gd name="connsiteX110" fmla="*/ 365152 w 644716"/>
                <a:gd name="connsiteY110" fmla="*/ 532721 h 691018"/>
                <a:gd name="connsiteX111" fmla="*/ 379634 w 644716"/>
                <a:gd name="connsiteY111" fmla="*/ 530115 h 691018"/>
                <a:gd name="connsiteX112" fmla="*/ 394517 w 644716"/>
                <a:gd name="connsiteY112" fmla="*/ 526156 h 691018"/>
                <a:gd name="connsiteX113" fmla="*/ 395469 w 644716"/>
                <a:gd name="connsiteY113" fmla="*/ 526156 h 691018"/>
                <a:gd name="connsiteX114" fmla="*/ 399227 w 644716"/>
                <a:gd name="connsiteY114" fmla="*/ 529463 h 691018"/>
                <a:gd name="connsiteX115" fmla="*/ 432751 w 644716"/>
                <a:gd name="connsiteY115" fmla="*/ 544747 h 691018"/>
                <a:gd name="connsiteX116" fmla="*/ 434855 w 644716"/>
                <a:gd name="connsiteY116" fmla="*/ 544546 h 691018"/>
                <a:gd name="connsiteX117" fmla="*/ 435507 w 644716"/>
                <a:gd name="connsiteY117" fmla="*/ 546551 h 691018"/>
                <a:gd name="connsiteX118" fmla="*/ 438714 w 644716"/>
                <a:gd name="connsiteY118" fmla="*/ 555320 h 691018"/>
                <a:gd name="connsiteX119" fmla="*/ 444276 w 644716"/>
                <a:gd name="connsiteY119" fmla="*/ 574813 h 691018"/>
                <a:gd name="connsiteX120" fmla="*/ 441320 w 644716"/>
                <a:gd name="connsiteY120" fmla="*/ 591500 h 691018"/>
                <a:gd name="connsiteX121" fmla="*/ 439415 w 644716"/>
                <a:gd name="connsiteY121" fmla="*/ 597964 h 691018"/>
                <a:gd name="connsiteX122" fmla="*/ 448786 w 644716"/>
                <a:gd name="connsiteY122" fmla="*/ 610942 h 691018"/>
                <a:gd name="connsiteX123" fmla="*/ 475795 w 644716"/>
                <a:gd name="connsiteY123" fmla="*/ 648525 h 691018"/>
                <a:gd name="connsiteX124" fmla="*/ 489977 w 644716"/>
                <a:gd name="connsiteY124" fmla="*/ 655290 h 691018"/>
                <a:gd name="connsiteX125" fmla="*/ 509319 w 644716"/>
                <a:gd name="connsiteY125" fmla="*/ 648124 h 691018"/>
                <a:gd name="connsiteX126" fmla="*/ 517738 w 644716"/>
                <a:gd name="connsiteY126" fmla="*/ 641008 h 691018"/>
                <a:gd name="connsiteX127" fmla="*/ 521596 w 644716"/>
                <a:gd name="connsiteY127" fmla="*/ 638002 h 691018"/>
                <a:gd name="connsiteX128" fmla="*/ 523200 w 644716"/>
                <a:gd name="connsiteY128" fmla="*/ 636699 h 691018"/>
                <a:gd name="connsiteX129" fmla="*/ 524853 w 644716"/>
                <a:gd name="connsiteY129" fmla="*/ 637902 h 691018"/>
                <a:gd name="connsiteX130" fmla="*/ 537681 w 644716"/>
                <a:gd name="connsiteY130" fmla="*/ 656943 h 691018"/>
                <a:gd name="connsiteX131" fmla="*/ 538784 w 644716"/>
                <a:gd name="connsiteY131" fmla="*/ 659850 h 691018"/>
                <a:gd name="connsiteX132" fmla="*/ 547954 w 644716"/>
                <a:gd name="connsiteY132" fmla="*/ 670273 h 691018"/>
                <a:gd name="connsiteX133" fmla="*/ 596962 w 644716"/>
                <a:gd name="connsiteY133" fmla="*/ 691018 h 691018"/>
                <a:gd name="connsiteX134" fmla="*/ 608287 w 644716"/>
                <a:gd name="connsiteY134" fmla="*/ 682149 h 691018"/>
                <a:gd name="connsiteX135" fmla="*/ 644717 w 644716"/>
                <a:gd name="connsiteY135" fmla="*/ 649527 h 691018"/>
                <a:gd name="connsiteX136" fmla="*/ 638052 w 644716"/>
                <a:gd name="connsiteY136" fmla="*/ 638102 h 691018"/>
                <a:gd name="connsiteX137" fmla="*/ 621065 w 644716"/>
                <a:gd name="connsiteY137" fmla="*/ 610141 h 691018"/>
                <a:gd name="connsiteX138" fmla="*/ 601422 w 644716"/>
                <a:gd name="connsiteY138" fmla="*/ 582530 h 691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644716" h="691018">
                  <a:moveTo>
                    <a:pt x="601422" y="582330"/>
                  </a:moveTo>
                  <a:cubicBezTo>
                    <a:pt x="598766" y="578722"/>
                    <a:pt x="596160" y="575214"/>
                    <a:pt x="593705" y="571857"/>
                  </a:cubicBezTo>
                  <a:lnTo>
                    <a:pt x="592803" y="570604"/>
                  </a:lnTo>
                  <a:lnTo>
                    <a:pt x="593454" y="569201"/>
                  </a:lnTo>
                  <a:cubicBezTo>
                    <a:pt x="599668" y="555470"/>
                    <a:pt x="595158" y="544647"/>
                    <a:pt x="590397" y="533222"/>
                  </a:cubicBezTo>
                  <a:cubicBezTo>
                    <a:pt x="588192" y="527910"/>
                    <a:pt x="585887" y="522448"/>
                    <a:pt x="584635" y="516535"/>
                  </a:cubicBezTo>
                  <a:lnTo>
                    <a:pt x="584384" y="515282"/>
                  </a:lnTo>
                  <a:lnTo>
                    <a:pt x="612496" y="479504"/>
                  </a:lnTo>
                  <a:cubicBezTo>
                    <a:pt x="611243" y="478251"/>
                    <a:pt x="610040" y="476898"/>
                    <a:pt x="608838" y="475545"/>
                  </a:cubicBezTo>
                  <a:cubicBezTo>
                    <a:pt x="604979" y="471386"/>
                    <a:pt x="601021" y="467026"/>
                    <a:pt x="596411" y="464170"/>
                  </a:cubicBezTo>
                  <a:cubicBezTo>
                    <a:pt x="585938" y="457656"/>
                    <a:pt x="576216" y="451592"/>
                    <a:pt x="564641" y="459911"/>
                  </a:cubicBezTo>
                  <a:cubicBezTo>
                    <a:pt x="562185" y="461664"/>
                    <a:pt x="559028" y="461765"/>
                    <a:pt x="555721" y="461815"/>
                  </a:cubicBezTo>
                  <a:cubicBezTo>
                    <a:pt x="554318" y="461815"/>
                    <a:pt x="552865" y="461865"/>
                    <a:pt x="551412" y="462065"/>
                  </a:cubicBezTo>
                  <a:lnTo>
                    <a:pt x="549157" y="462316"/>
                  </a:lnTo>
                  <a:lnTo>
                    <a:pt x="543795" y="444527"/>
                  </a:lnTo>
                  <a:cubicBezTo>
                    <a:pt x="543194" y="444978"/>
                    <a:pt x="542592" y="445429"/>
                    <a:pt x="542041" y="445880"/>
                  </a:cubicBezTo>
                  <a:cubicBezTo>
                    <a:pt x="538784" y="448385"/>
                    <a:pt x="535727" y="450740"/>
                    <a:pt x="532220" y="452244"/>
                  </a:cubicBezTo>
                  <a:cubicBezTo>
                    <a:pt x="528561" y="453847"/>
                    <a:pt x="524703" y="454549"/>
                    <a:pt x="520895" y="455250"/>
                  </a:cubicBezTo>
                  <a:cubicBezTo>
                    <a:pt x="519792" y="455451"/>
                    <a:pt x="518640" y="455651"/>
                    <a:pt x="517537" y="455902"/>
                  </a:cubicBezTo>
                  <a:lnTo>
                    <a:pt x="513779" y="462917"/>
                  </a:lnTo>
                  <a:cubicBezTo>
                    <a:pt x="510522" y="469030"/>
                    <a:pt x="507365" y="474793"/>
                    <a:pt x="504408" y="480656"/>
                  </a:cubicBezTo>
                  <a:cubicBezTo>
                    <a:pt x="500650" y="488173"/>
                    <a:pt x="494036" y="491480"/>
                    <a:pt x="485868" y="489876"/>
                  </a:cubicBezTo>
                  <a:cubicBezTo>
                    <a:pt x="474843" y="487822"/>
                    <a:pt x="463919" y="485216"/>
                    <a:pt x="453496" y="482159"/>
                  </a:cubicBezTo>
                  <a:cubicBezTo>
                    <a:pt x="449337" y="480957"/>
                    <a:pt x="445128" y="477800"/>
                    <a:pt x="442973" y="474292"/>
                  </a:cubicBezTo>
                  <a:cubicBezTo>
                    <a:pt x="438163" y="466325"/>
                    <a:pt x="431248" y="463067"/>
                    <a:pt x="419021" y="463018"/>
                  </a:cubicBezTo>
                  <a:cubicBezTo>
                    <a:pt x="417467" y="463018"/>
                    <a:pt x="415914" y="462967"/>
                    <a:pt x="414411" y="462917"/>
                  </a:cubicBezTo>
                  <a:cubicBezTo>
                    <a:pt x="411204" y="462817"/>
                    <a:pt x="408147" y="462717"/>
                    <a:pt x="405090" y="462967"/>
                  </a:cubicBezTo>
                  <a:cubicBezTo>
                    <a:pt x="393414" y="463970"/>
                    <a:pt x="384445" y="459359"/>
                    <a:pt x="376878" y="448435"/>
                  </a:cubicBezTo>
                  <a:cubicBezTo>
                    <a:pt x="373771" y="443975"/>
                    <a:pt x="370213" y="439766"/>
                    <a:pt x="366155" y="434856"/>
                  </a:cubicBezTo>
                  <a:cubicBezTo>
                    <a:pt x="364100" y="432400"/>
                    <a:pt x="361895" y="429794"/>
                    <a:pt x="359590" y="426888"/>
                  </a:cubicBezTo>
                  <a:lnTo>
                    <a:pt x="358638" y="425685"/>
                  </a:lnTo>
                  <a:lnTo>
                    <a:pt x="361745" y="417517"/>
                  </a:lnTo>
                  <a:cubicBezTo>
                    <a:pt x="363549" y="412707"/>
                    <a:pt x="365453" y="407746"/>
                    <a:pt x="367257" y="402685"/>
                  </a:cubicBezTo>
                  <a:cubicBezTo>
                    <a:pt x="367959" y="400781"/>
                    <a:pt x="368760" y="398926"/>
                    <a:pt x="369562" y="397072"/>
                  </a:cubicBezTo>
                  <a:cubicBezTo>
                    <a:pt x="371767" y="392112"/>
                    <a:pt x="373821" y="387401"/>
                    <a:pt x="373270" y="381989"/>
                  </a:cubicBezTo>
                  <a:lnTo>
                    <a:pt x="357636" y="362446"/>
                  </a:lnTo>
                  <a:lnTo>
                    <a:pt x="358688" y="360843"/>
                  </a:lnTo>
                  <a:cubicBezTo>
                    <a:pt x="362396" y="355030"/>
                    <a:pt x="367157" y="350119"/>
                    <a:pt x="371717" y="345309"/>
                  </a:cubicBezTo>
                  <a:cubicBezTo>
                    <a:pt x="379233" y="337491"/>
                    <a:pt x="386349" y="330075"/>
                    <a:pt x="388554" y="319602"/>
                  </a:cubicBezTo>
                  <a:cubicBezTo>
                    <a:pt x="380536" y="314190"/>
                    <a:pt x="375124" y="314391"/>
                    <a:pt x="369512" y="320204"/>
                  </a:cubicBezTo>
                  <a:cubicBezTo>
                    <a:pt x="367457" y="322308"/>
                    <a:pt x="365002" y="324764"/>
                    <a:pt x="362146" y="326868"/>
                  </a:cubicBezTo>
                  <a:cubicBezTo>
                    <a:pt x="356884" y="330677"/>
                    <a:pt x="351773" y="331979"/>
                    <a:pt x="347313" y="330626"/>
                  </a:cubicBezTo>
                  <a:cubicBezTo>
                    <a:pt x="344307" y="329724"/>
                    <a:pt x="340248" y="327119"/>
                    <a:pt x="337642" y="320003"/>
                  </a:cubicBezTo>
                  <a:cubicBezTo>
                    <a:pt x="332581" y="306073"/>
                    <a:pt x="327971" y="291741"/>
                    <a:pt x="323561" y="277861"/>
                  </a:cubicBezTo>
                  <a:lnTo>
                    <a:pt x="321957" y="272850"/>
                  </a:lnTo>
                  <a:cubicBezTo>
                    <a:pt x="321506" y="271497"/>
                    <a:pt x="320304" y="266886"/>
                    <a:pt x="322158" y="263830"/>
                  </a:cubicBezTo>
                  <a:cubicBezTo>
                    <a:pt x="324162" y="260522"/>
                    <a:pt x="327871" y="258418"/>
                    <a:pt x="329875" y="257416"/>
                  </a:cubicBezTo>
                  <a:cubicBezTo>
                    <a:pt x="331378" y="256664"/>
                    <a:pt x="332932" y="256915"/>
                    <a:pt x="334134" y="257065"/>
                  </a:cubicBezTo>
                  <a:cubicBezTo>
                    <a:pt x="335487" y="257265"/>
                    <a:pt x="335888" y="257315"/>
                    <a:pt x="336239" y="256614"/>
                  </a:cubicBezTo>
                  <a:cubicBezTo>
                    <a:pt x="325816" y="239476"/>
                    <a:pt x="328923" y="220585"/>
                    <a:pt x="334134" y="202545"/>
                  </a:cubicBezTo>
                  <a:cubicBezTo>
                    <a:pt x="332731" y="200741"/>
                    <a:pt x="331378" y="199037"/>
                    <a:pt x="330025" y="197434"/>
                  </a:cubicBezTo>
                  <a:cubicBezTo>
                    <a:pt x="326517" y="193225"/>
                    <a:pt x="323260" y="189216"/>
                    <a:pt x="321356" y="184556"/>
                  </a:cubicBezTo>
                  <a:cubicBezTo>
                    <a:pt x="318600" y="177791"/>
                    <a:pt x="315092" y="172529"/>
                    <a:pt x="310382" y="168069"/>
                  </a:cubicBezTo>
                  <a:cubicBezTo>
                    <a:pt x="304068" y="162106"/>
                    <a:pt x="301162" y="154740"/>
                    <a:pt x="301262" y="144868"/>
                  </a:cubicBezTo>
                  <a:cubicBezTo>
                    <a:pt x="301262" y="140960"/>
                    <a:pt x="301262" y="137051"/>
                    <a:pt x="301262" y="133143"/>
                  </a:cubicBezTo>
                  <a:cubicBezTo>
                    <a:pt x="301062" y="115103"/>
                    <a:pt x="300911" y="96412"/>
                    <a:pt x="308428" y="78573"/>
                  </a:cubicBezTo>
                  <a:cubicBezTo>
                    <a:pt x="308678" y="77971"/>
                    <a:pt x="308628" y="76869"/>
                    <a:pt x="308478" y="76218"/>
                  </a:cubicBezTo>
                  <a:cubicBezTo>
                    <a:pt x="306624" y="73261"/>
                    <a:pt x="304670" y="70505"/>
                    <a:pt x="302765" y="67849"/>
                  </a:cubicBezTo>
                  <a:cubicBezTo>
                    <a:pt x="298506" y="61836"/>
                    <a:pt x="294447" y="56223"/>
                    <a:pt x="293144" y="49809"/>
                  </a:cubicBezTo>
                  <a:cubicBezTo>
                    <a:pt x="291841" y="43496"/>
                    <a:pt x="293395" y="36881"/>
                    <a:pt x="294998" y="29966"/>
                  </a:cubicBezTo>
                  <a:cubicBezTo>
                    <a:pt x="295549" y="27510"/>
                    <a:pt x="296151" y="25005"/>
                    <a:pt x="296602" y="22499"/>
                  </a:cubicBezTo>
                  <a:cubicBezTo>
                    <a:pt x="293094" y="19743"/>
                    <a:pt x="290639" y="15935"/>
                    <a:pt x="288283" y="12227"/>
                  </a:cubicBezTo>
                  <a:cubicBezTo>
                    <a:pt x="285026" y="7166"/>
                    <a:pt x="281970" y="2355"/>
                    <a:pt x="276307" y="0"/>
                  </a:cubicBezTo>
                  <a:cubicBezTo>
                    <a:pt x="265734" y="5462"/>
                    <a:pt x="256564" y="10924"/>
                    <a:pt x="251352" y="20746"/>
                  </a:cubicBezTo>
                  <a:cubicBezTo>
                    <a:pt x="243836" y="34977"/>
                    <a:pt x="231860" y="45149"/>
                    <a:pt x="214772" y="51864"/>
                  </a:cubicBezTo>
                  <a:cubicBezTo>
                    <a:pt x="205953" y="55321"/>
                    <a:pt x="198987" y="61435"/>
                    <a:pt x="191571" y="72259"/>
                  </a:cubicBezTo>
                  <a:cubicBezTo>
                    <a:pt x="185257" y="81429"/>
                    <a:pt x="177590" y="89847"/>
                    <a:pt x="170224" y="97965"/>
                  </a:cubicBezTo>
                  <a:lnTo>
                    <a:pt x="168721" y="99619"/>
                  </a:lnTo>
                  <a:cubicBezTo>
                    <a:pt x="167268" y="101273"/>
                    <a:pt x="161956" y="106534"/>
                    <a:pt x="156845" y="106434"/>
                  </a:cubicBezTo>
                  <a:cubicBezTo>
                    <a:pt x="148126" y="106133"/>
                    <a:pt x="141411" y="110393"/>
                    <a:pt x="134295" y="114802"/>
                  </a:cubicBezTo>
                  <a:cubicBezTo>
                    <a:pt x="130988" y="116857"/>
                    <a:pt x="127530" y="119012"/>
                    <a:pt x="123822" y="120665"/>
                  </a:cubicBezTo>
                  <a:cubicBezTo>
                    <a:pt x="109892" y="126979"/>
                    <a:pt x="92153" y="136300"/>
                    <a:pt x="78873" y="152335"/>
                  </a:cubicBezTo>
                  <a:cubicBezTo>
                    <a:pt x="72459" y="160052"/>
                    <a:pt x="63991" y="164161"/>
                    <a:pt x="52265" y="165213"/>
                  </a:cubicBezTo>
                  <a:cubicBezTo>
                    <a:pt x="37132" y="166566"/>
                    <a:pt x="21998" y="168621"/>
                    <a:pt x="7817" y="170675"/>
                  </a:cubicBezTo>
                  <a:cubicBezTo>
                    <a:pt x="5763" y="170976"/>
                    <a:pt x="3608" y="171878"/>
                    <a:pt x="1403" y="172830"/>
                  </a:cubicBezTo>
                  <a:cubicBezTo>
                    <a:pt x="952" y="173030"/>
                    <a:pt x="451" y="173231"/>
                    <a:pt x="0" y="173431"/>
                  </a:cubicBezTo>
                  <a:cubicBezTo>
                    <a:pt x="100" y="173882"/>
                    <a:pt x="150" y="174333"/>
                    <a:pt x="251" y="174734"/>
                  </a:cubicBezTo>
                  <a:cubicBezTo>
                    <a:pt x="551" y="176438"/>
                    <a:pt x="802" y="177691"/>
                    <a:pt x="1253" y="178643"/>
                  </a:cubicBezTo>
                  <a:cubicBezTo>
                    <a:pt x="2856" y="181749"/>
                    <a:pt x="4811" y="184806"/>
                    <a:pt x="6715" y="187813"/>
                  </a:cubicBezTo>
                  <a:cubicBezTo>
                    <a:pt x="12027" y="196131"/>
                    <a:pt x="17539" y="204750"/>
                    <a:pt x="17188" y="216325"/>
                  </a:cubicBezTo>
                  <a:cubicBezTo>
                    <a:pt x="17188" y="218029"/>
                    <a:pt x="21497" y="221787"/>
                    <a:pt x="23151" y="223190"/>
                  </a:cubicBezTo>
                  <a:cubicBezTo>
                    <a:pt x="32922" y="231509"/>
                    <a:pt x="43596" y="235217"/>
                    <a:pt x="56023" y="234816"/>
                  </a:cubicBezTo>
                  <a:cubicBezTo>
                    <a:pt x="57526" y="234766"/>
                    <a:pt x="59030" y="234666"/>
                    <a:pt x="60533" y="234565"/>
                  </a:cubicBezTo>
                  <a:cubicBezTo>
                    <a:pt x="69102" y="234014"/>
                    <a:pt x="78823" y="233413"/>
                    <a:pt x="88394" y="239476"/>
                  </a:cubicBezTo>
                  <a:lnTo>
                    <a:pt x="89547" y="240178"/>
                  </a:lnTo>
                  <a:lnTo>
                    <a:pt x="92453" y="281970"/>
                  </a:lnTo>
                  <a:cubicBezTo>
                    <a:pt x="94057" y="282671"/>
                    <a:pt x="95660" y="283273"/>
                    <a:pt x="97164" y="283924"/>
                  </a:cubicBezTo>
                  <a:cubicBezTo>
                    <a:pt x="101323" y="285628"/>
                    <a:pt x="105281" y="287231"/>
                    <a:pt x="109040" y="289235"/>
                  </a:cubicBezTo>
                  <a:cubicBezTo>
                    <a:pt x="131539" y="301412"/>
                    <a:pt x="144067" y="317899"/>
                    <a:pt x="146221" y="338243"/>
                  </a:cubicBezTo>
                  <a:cubicBezTo>
                    <a:pt x="148577" y="359991"/>
                    <a:pt x="154089" y="381388"/>
                    <a:pt x="158899" y="400280"/>
                  </a:cubicBezTo>
                  <a:cubicBezTo>
                    <a:pt x="162106" y="412857"/>
                    <a:pt x="165764" y="427088"/>
                    <a:pt x="159701" y="441570"/>
                  </a:cubicBezTo>
                  <a:cubicBezTo>
                    <a:pt x="163159" y="440769"/>
                    <a:pt x="164912" y="437962"/>
                    <a:pt x="167218" y="433753"/>
                  </a:cubicBezTo>
                  <a:cubicBezTo>
                    <a:pt x="169372" y="429845"/>
                    <a:pt x="171828" y="425385"/>
                    <a:pt x="176939" y="423380"/>
                  </a:cubicBezTo>
                  <a:lnTo>
                    <a:pt x="178091" y="422929"/>
                  </a:lnTo>
                  <a:lnTo>
                    <a:pt x="200791" y="434856"/>
                  </a:lnTo>
                  <a:lnTo>
                    <a:pt x="200942" y="436259"/>
                  </a:lnTo>
                  <a:cubicBezTo>
                    <a:pt x="201092" y="437812"/>
                    <a:pt x="201343" y="439365"/>
                    <a:pt x="201543" y="440869"/>
                  </a:cubicBezTo>
                  <a:cubicBezTo>
                    <a:pt x="201994" y="444126"/>
                    <a:pt x="202445" y="447433"/>
                    <a:pt x="202495" y="450791"/>
                  </a:cubicBezTo>
                  <a:cubicBezTo>
                    <a:pt x="202495" y="458407"/>
                    <a:pt x="204950" y="464370"/>
                    <a:pt x="210312" y="470283"/>
                  </a:cubicBezTo>
                  <a:cubicBezTo>
                    <a:pt x="215624" y="476146"/>
                    <a:pt x="220535" y="482460"/>
                    <a:pt x="224844" y="488073"/>
                  </a:cubicBezTo>
                  <a:cubicBezTo>
                    <a:pt x="226448" y="490127"/>
                    <a:pt x="227951" y="492131"/>
                    <a:pt x="229454" y="493986"/>
                  </a:cubicBezTo>
                  <a:cubicBezTo>
                    <a:pt x="242583" y="500099"/>
                    <a:pt x="250300" y="493885"/>
                    <a:pt x="259270" y="486719"/>
                  </a:cubicBezTo>
                  <a:cubicBezTo>
                    <a:pt x="263228" y="483563"/>
                    <a:pt x="267337" y="480255"/>
                    <a:pt x="271998" y="478151"/>
                  </a:cubicBezTo>
                  <a:lnTo>
                    <a:pt x="272850" y="477750"/>
                  </a:lnTo>
                  <a:lnTo>
                    <a:pt x="273752" y="478000"/>
                  </a:lnTo>
                  <a:cubicBezTo>
                    <a:pt x="277309" y="478952"/>
                    <a:pt x="280917" y="479754"/>
                    <a:pt x="284525" y="480606"/>
                  </a:cubicBezTo>
                  <a:cubicBezTo>
                    <a:pt x="292392" y="482410"/>
                    <a:pt x="300560" y="484314"/>
                    <a:pt x="308227" y="487271"/>
                  </a:cubicBezTo>
                  <a:lnTo>
                    <a:pt x="310983" y="488323"/>
                  </a:lnTo>
                  <a:cubicBezTo>
                    <a:pt x="332481" y="496641"/>
                    <a:pt x="354679" y="505210"/>
                    <a:pt x="363098" y="531267"/>
                  </a:cubicBezTo>
                  <a:cubicBezTo>
                    <a:pt x="363198" y="531267"/>
                    <a:pt x="363799" y="531768"/>
                    <a:pt x="364200" y="532019"/>
                  </a:cubicBezTo>
                  <a:cubicBezTo>
                    <a:pt x="364551" y="532220"/>
                    <a:pt x="364852" y="532470"/>
                    <a:pt x="365152" y="532721"/>
                  </a:cubicBezTo>
                  <a:cubicBezTo>
                    <a:pt x="370213" y="534324"/>
                    <a:pt x="374573" y="532370"/>
                    <a:pt x="379634" y="530115"/>
                  </a:cubicBezTo>
                  <a:cubicBezTo>
                    <a:pt x="383944" y="528211"/>
                    <a:pt x="388804" y="526106"/>
                    <a:pt x="394517" y="526156"/>
                  </a:cubicBezTo>
                  <a:lnTo>
                    <a:pt x="395469" y="526156"/>
                  </a:lnTo>
                  <a:cubicBezTo>
                    <a:pt x="395469" y="526156"/>
                    <a:pt x="399227" y="529463"/>
                    <a:pt x="399227" y="529463"/>
                  </a:cubicBezTo>
                  <a:cubicBezTo>
                    <a:pt x="408548" y="537581"/>
                    <a:pt x="418169" y="545950"/>
                    <a:pt x="432751" y="544747"/>
                  </a:cubicBezTo>
                  <a:lnTo>
                    <a:pt x="434855" y="544546"/>
                  </a:lnTo>
                  <a:lnTo>
                    <a:pt x="435507" y="546551"/>
                  </a:lnTo>
                  <a:cubicBezTo>
                    <a:pt x="436509" y="549557"/>
                    <a:pt x="437612" y="552464"/>
                    <a:pt x="438714" y="555320"/>
                  </a:cubicBezTo>
                  <a:cubicBezTo>
                    <a:pt x="441270" y="561935"/>
                    <a:pt x="443625" y="568199"/>
                    <a:pt x="444276" y="574813"/>
                  </a:cubicBezTo>
                  <a:cubicBezTo>
                    <a:pt x="444777" y="580325"/>
                    <a:pt x="443074" y="585737"/>
                    <a:pt x="441320" y="591500"/>
                  </a:cubicBezTo>
                  <a:cubicBezTo>
                    <a:pt x="440668" y="593604"/>
                    <a:pt x="439967" y="595759"/>
                    <a:pt x="439415" y="597964"/>
                  </a:cubicBezTo>
                  <a:lnTo>
                    <a:pt x="448786" y="610942"/>
                  </a:lnTo>
                  <a:cubicBezTo>
                    <a:pt x="457806" y="623420"/>
                    <a:pt x="466826" y="635947"/>
                    <a:pt x="475795" y="648525"/>
                  </a:cubicBezTo>
                  <a:cubicBezTo>
                    <a:pt x="478952" y="652935"/>
                    <a:pt x="483362" y="655039"/>
                    <a:pt x="489977" y="655290"/>
                  </a:cubicBezTo>
                  <a:cubicBezTo>
                    <a:pt x="498095" y="655540"/>
                    <a:pt x="504258" y="653336"/>
                    <a:pt x="509319" y="648124"/>
                  </a:cubicBezTo>
                  <a:cubicBezTo>
                    <a:pt x="511925" y="645418"/>
                    <a:pt x="514881" y="643213"/>
                    <a:pt x="517738" y="641008"/>
                  </a:cubicBezTo>
                  <a:cubicBezTo>
                    <a:pt x="519041" y="640006"/>
                    <a:pt x="520343" y="639054"/>
                    <a:pt x="521596" y="638002"/>
                  </a:cubicBezTo>
                  <a:lnTo>
                    <a:pt x="523200" y="636699"/>
                  </a:lnTo>
                  <a:lnTo>
                    <a:pt x="524853" y="637902"/>
                  </a:lnTo>
                  <a:cubicBezTo>
                    <a:pt x="532520" y="643364"/>
                    <a:pt x="535226" y="650580"/>
                    <a:pt x="537681" y="656943"/>
                  </a:cubicBezTo>
                  <a:cubicBezTo>
                    <a:pt x="538032" y="657895"/>
                    <a:pt x="538433" y="658898"/>
                    <a:pt x="538784" y="659850"/>
                  </a:cubicBezTo>
                  <a:cubicBezTo>
                    <a:pt x="540989" y="665362"/>
                    <a:pt x="543745" y="668469"/>
                    <a:pt x="547954" y="670273"/>
                  </a:cubicBezTo>
                  <a:lnTo>
                    <a:pt x="596962" y="691018"/>
                  </a:lnTo>
                  <a:cubicBezTo>
                    <a:pt x="600720" y="688012"/>
                    <a:pt x="604528" y="685055"/>
                    <a:pt x="608287" y="682149"/>
                  </a:cubicBezTo>
                  <a:cubicBezTo>
                    <a:pt x="621516" y="671976"/>
                    <a:pt x="633993" y="662305"/>
                    <a:pt x="644717" y="649527"/>
                  </a:cubicBezTo>
                  <a:cubicBezTo>
                    <a:pt x="642462" y="645669"/>
                    <a:pt x="640207" y="641910"/>
                    <a:pt x="638052" y="638102"/>
                  </a:cubicBezTo>
                  <a:cubicBezTo>
                    <a:pt x="632390" y="628331"/>
                    <a:pt x="627028" y="619160"/>
                    <a:pt x="621065" y="610141"/>
                  </a:cubicBezTo>
                  <a:cubicBezTo>
                    <a:pt x="614701" y="600520"/>
                    <a:pt x="607936" y="591400"/>
                    <a:pt x="601422" y="58253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2A14E9F-65F9-4F20-8003-5DAD0F893792}"/>
                </a:ext>
              </a:extLst>
            </p:cNvPr>
            <p:cNvSpPr/>
            <p:nvPr/>
          </p:nvSpPr>
          <p:spPr>
            <a:xfrm>
              <a:off x="2472333" y="2967695"/>
              <a:ext cx="700989" cy="776129"/>
            </a:xfrm>
            <a:custGeom>
              <a:avLst/>
              <a:gdLst>
                <a:gd name="connsiteX0" fmla="*/ 321857 w 562085"/>
                <a:gd name="connsiteY0" fmla="*/ 5531 h 622336"/>
                <a:gd name="connsiteX1" fmla="*/ 310081 w 562085"/>
                <a:gd name="connsiteY1" fmla="*/ 2775 h 622336"/>
                <a:gd name="connsiteX2" fmla="*/ 301262 w 562085"/>
                <a:gd name="connsiteY2" fmla="*/ 871 h 622336"/>
                <a:gd name="connsiteX3" fmla="*/ 278412 w 562085"/>
                <a:gd name="connsiteY3" fmla="*/ 7836 h 622336"/>
                <a:gd name="connsiteX4" fmla="*/ 231960 w 562085"/>
                <a:gd name="connsiteY4" fmla="*/ 43064 h 622336"/>
                <a:gd name="connsiteX5" fmla="*/ 230957 w 562085"/>
                <a:gd name="connsiteY5" fmla="*/ 43615 h 622336"/>
                <a:gd name="connsiteX6" fmla="*/ 229855 w 562085"/>
                <a:gd name="connsiteY6" fmla="*/ 43314 h 622336"/>
                <a:gd name="connsiteX7" fmla="*/ 223190 w 562085"/>
                <a:gd name="connsiteY7" fmla="*/ 41310 h 622336"/>
                <a:gd name="connsiteX8" fmla="*/ 210613 w 562085"/>
                <a:gd name="connsiteY8" fmla="*/ 37953 h 622336"/>
                <a:gd name="connsiteX9" fmla="*/ 204499 w 562085"/>
                <a:gd name="connsiteY9" fmla="*/ 39757 h 622336"/>
                <a:gd name="connsiteX10" fmla="*/ 201092 w 562085"/>
                <a:gd name="connsiteY10" fmla="*/ 44316 h 622336"/>
                <a:gd name="connsiteX11" fmla="*/ 207756 w 562085"/>
                <a:gd name="connsiteY11" fmla="*/ 56393 h 622336"/>
                <a:gd name="connsiteX12" fmla="*/ 217177 w 562085"/>
                <a:gd name="connsiteY12" fmla="*/ 57295 h 622336"/>
                <a:gd name="connsiteX13" fmla="*/ 223992 w 562085"/>
                <a:gd name="connsiteY13" fmla="*/ 57746 h 622336"/>
                <a:gd name="connsiteX14" fmla="*/ 225946 w 562085"/>
                <a:gd name="connsiteY14" fmla="*/ 57746 h 622336"/>
                <a:gd name="connsiteX15" fmla="*/ 236770 w 562085"/>
                <a:gd name="connsiteY15" fmla="*/ 64210 h 622336"/>
                <a:gd name="connsiteX16" fmla="*/ 237372 w 562085"/>
                <a:gd name="connsiteY16" fmla="*/ 65663 h 622336"/>
                <a:gd name="connsiteX17" fmla="*/ 236419 w 562085"/>
                <a:gd name="connsiteY17" fmla="*/ 66916 h 622336"/>
                <a:gd name="connsiteX18" fmla="*/ 222138 w 562085"/>
                <a:gd name="connsiteY18" fmla="*/ 85206 h 622336"/>
                <a:gd name="connsiteX19" fmla="*/ 227149 w 562085"/>
                <a:gd name="connsiteY19" fmla="*/ 104198 h 622336"/>
                <a:gd name="connsiteX20" fmla="*/ 226297 w 562085"/>
                <a:gd name="connsiteY20" fmla="*/ 105250 h 622336"/>
                <a:gd name="connsiteX21" fmla="*/ 221737 w 562085"/>
                <a:gd name="connsiteY21" fmla="*/ 110763 h 622336"/>
                <a:gd name="connsiteX22" fmla="*/ 197534 w 562085"/>
                <a:gd name="connsiteY22" fmla="*/ 147343 h 622336"/>
                <a:gd name="connsiteX23" fmla="*/ 190869 w 562085"/>
                <a:gd name="connsiteY23" fmla="*/ 180015 h 622336"/>
                <a:gd name="connsiteX24" fmla="*/ 188164 w 562085"/>
                <a:gd name="connsiteY24" fmla="*/ 198906 h 622336"/>
                <a:gd name="connsiteX25" fmla="*/ 187963 w 562085"/>
                <a:gd name="connsiteY25" fmla="*/ 199858 h 622336"/>
                <a:gd name="connsiteX26" fmla="*/ 187211 w 562085"/>
                <a:gd name="connsiteY26" fmla="*/ 200460 h 622336"/>
                <a:gd name="connsiteX27" fmla="*/ 149378 w 562085"/>
                <a:gd name="connsiteY27" fmla="*/ 213438 h 622336"/>
                <a:gd name="connsiteX28" fmla="*/ 138705 w 562085"/>
                <a:gd name="connsiteY28" fmla="*/ 214290 h 622336"/>
                <a:gd name="connsiteX29" fmla="*/ 131038 w 562085"/>
                <a:gd name="connsiteY29" fmla="*/ 218549 h 622336"/>
                <a:gd name="connsiteX30" fmla="*/ 127179 w 562085"/>
                <a:gd name="connsiteY30" fmla="*/ 221005 h 622336"/>
                <a:gd name="connsiteX31" fmla="*/ 126027 w 562085"/>
                <a:gd name="connsiteY31" fmla="*/ 221706 h 622336"/>
                <a:gd name="connsiteX32" fmla="*/ 124774 w 562085"/>
                <a:gd name="connsiteY32" fmla="*/ 221205 h 622336"/>
                <a:gd name="connsiteX33" fmla="*/ 120214 w 562085"/>
                <a:gd name="connsiteY33" fmla="*/ 219301 h 622336"/>
                <a:gd name="connsiteX34" fmla="*/ 109591 w 562085"/>
                <a:gd name="connsiteY34" fmla="*/ 215192 h 622336"/>
                <a:gd name="connsiteX35" fmla="*/ 102325 w 562085"/>
                <a:gd name="connsiteY35" fmla="*/ 214340 h 622336"/>
                <a:gd name="connsiteX36" fmla="*/ 66246 w 562085"/>
                <a:gd name="connsiteY36" fmla="*/ 238243 h 622336"/>
                <a:gd name="connsiteX37" fmla="*/ 89196 w 562085"/>
                <a:gd name="connsiteY37" fmla="*/ 270363 h 622336"/>
                <a:gd name="connsiteX38" fmla="*/ 113950 w 562085"/>
                <a:gd name="connsiteY38" fmla="*/ 305791 h 622336"/>
                <a:gd name="connsiteX39" fmla="*/ 114502 w 562085"/>
                <a:gd name="connsiteY39" fmla="*/ 306793 h 622336"/>
                <a:gd name="connsiteX40" fmla="*/ 114151 w 562085"/>
                <a:gd name="connsiteY40" fmla="*/ 307896 h 622336"/>
                <a:gd name="connsiteX41" fmla="*/ 98166 w 562085"/>
                <a:gd name="connsiteY41" fmla="*/ 326136 h 622336"/>
                <a:gd name="connsiteX42" fmla="*/ 83784 w 562085"/>
                <a:gd name="connsiteY42" fmla="*/ 333502 h 622336"/>
                <a:gd name="connsiteX43" fmla="*/ 72860 w 562085"/>
                <a:gd name="connsiteY43" fmla="*/ 339014 h 622336"/>
                <a:gd name="connsiteX44" fmla="*/ 50110 w 562085"/>
                <a:gd name="connsiteY44" fmla="*/ 339265 h 622336"/>
                <a:gd name="connsiteX45" fmla="*/ 31870 w 562085"/>
                <a:gd name="connsiteY45" fmla="*/ 330696 h 622336"/>
                <a:gd name="connsiteX46" fmla="*/ 26107 w 562085"/>
                <a:gd name="connsiteY46" fmla="*/ 328090 h 622336"/>
                <a:gd name="connsiteX47" fmla="*/ 9571 w 562085"/>
                <a:gd name="connsiteY47" fmla="*/ 350740 h 622336"/>
                <a:gd name="connsiteX48" fmla="*/ 0 w 562085"/>
                <a:gd name="connsiteY48" fmla="*/ 365071 h 622336"/>
                <a:gd name="connsiteX49" fmla="*/ 20996 w 562085"/>
                <a:gd name="connsiteY49" fmla="*/ 393534 h 622336"/>
                <a:gd name="connsiteX50" fmla="*/ 71557 w 562085"/>
                <a:gd name="connsiteY50" fmla="*/ 402955 h 622336"/>
                <a:gd name="connsiteX51" fmla="*/ 77120 w 562085"/>
                <a:gd name="connsiteY51" fmla="*/ 404708 h 622336"/>
                <a:gd name="connsiteX52" fmla="*/ 91401 w 562085"/>
                <a:gd name="connsiteY52" fmla="*/ 411323 h 622336"/>
                <a:gd name="connsiteX53" fmla="*/ 124373 w 562085"/>
                <a:gd name="connsiteY53" fmla="*/ 422397 h 622336"/>
                <a:gd name="connsiteX54" fmla="*/ 134395 w 562085"/>
                <a:gd name="connsiteY54" fmla="*/ 423750 h 622336"/>
                <a:gd name="connsiteX55" fmla="*/ 137252 w 562085"/>
                <a:gd name="connsiteY55" fmla="*/ 424402 h 622336"/>
                <a:gd name="connsiteX56" fmla="*/ 138404 w 562085"/>
                <a:gd name="connsiteY56" fmla="*/ 424602 h 622336"/>
                <a:gd name="connsiteX57" fmla="*/ 139056 w 562085"/>
                <a:gd name="connsiteY57" fmla="*/ 425554 h 622336"/>
                <a:gd name="connsiteX58" fmla="*/ 140709 w 562085"/>
                <a:gd name="connsiteY58" fmla="*/ 446601 h 622336"/>
                <a:gd name="connsiteX59" fmla="*/ 139106 w 562085"/>
                <a:gd name="connsiteY59" fmla="*/ 457775 h 622336"/>
                <a:gd name="connsiteX60" fmla="*/ 148576 w 562085"/>
                <a:gd name="connsiteY60" fmla="*/ 462135 h 622336"/>
                <a:gd name="connsiteX61" fmla="*/ 152435 w 562085"/>
                <a:gd name="connsiteY61" fmla="*/ 480325 h 622336"/>
                <a:gd name="connsiteX62" fmla="*/ 160352 w 562085"/>
                <a:gd name="connsiteY62" fmla="*/ 513147 h 622336"/>
                <a:gd name="connsiteX63" fmla="*/ 161104 w 562085"/>
                <a:gd name="connsiteY63" fmla="*/ 514399 h 622336"/>
                <a:gd name="connsiteX64" fmla="*/ 153788 w 562085"/>
                <a:gd name="connsiteY64" fmla="*/ 529182 h 622336"/>
                <a:gd name="connsiteX65" fmla="*/ 169122 w 562085"/>
                <a:gd name="connsiteY65" fmla="*/ 538803 h 622336"/>
                <a:gd name="connsiteX66" fmla="*/ 169322 w 562085"/>
                <a:gd name="connsiteY66" fmla="*/ 540006 h 622336"/>
                <a:gd name="connsiteX67" fmla="*/ 166516 w 562085"/>
                <a:gd name="connsiteY67" fmla="*/ 558246 h 622336"/>
                <a:gd name="connsiteX68" fmla="*/ 164060 w 562085"/>
                <a:gd name="connsiteY68" fmla="*/ 566915 h 622336"/>
                <a:gd name="connsiteX69" fmla="*/ 163710 w 562085"/>
                <a:gd name="connsiteY69" fmla="*/ 569170 h 622336"/>
                <a:gd name="connsiteX70" fmla="*/ 163609 w 562085"/>
                <a:gd name="connsiteY70" fmla="*/ 578340 h 622336"/>
                <a:gd name="connsiteX71" fmla="*/ 167418 w 562085"/>
                <a:gd name="connsiteY71" fmla="*/ 607153 h 622336"/>
                <a:gd name="connsiteX72" fmla="*/ 167418 w 562085"/>
                <a:gd name="connsiteY72" fmla="*/ 607153 h 622336"/>
                <a:gd name="connsiteX73" fmla="*/ 172679 w 562085"/>
                <a:gd name="connsiteY73" fmla="*/ 620783 h 622336"/>
                <a:gd name="connsiteX74" fmla="*/ 176889 w 562085"/>
                <a:gd name="connsiteY74" fmla="*/ 622086 h 622336"/>
                <a:gd name="connsiteX75" fmla="*/ 178192 w 562085"/>
                <a:gd name="connsiteY75" fmla="*/ 622337 h 622336"/>
                <a:gd name="connsiteX76" fmla="*/ 188063 w 562085"/>
                <a:gd name="connsiteY76" fmla="*/ 592822 h 622336"/>
                <a:gd name="connsiteX77" fmla="*/ 195580 w 562085"/>
                <a:gd name="connsiteY77" fmla="*/ 568518 h 622336"/>
                <a:gd name="connsiteX78" fmla="*/ 195931 w 562085"/>
                <a:gd name="connsiteY78" fmla="*/ 567717 h 622336"/>
                <a:gd name="connsiteX79" fmla="*/ 196732 w 562085"/>
                <a:gd name="connsiteY79" fmla="*/ 567316 h 622336"/>
                <a:gd name="connsiteX80" fmla="*/ 198837 w 562085"/>
                <a:gd name="connsiteY80" fmla="*/ 566013 h 622336"/>
                <a:gd name="connsiteX81" fmla="*/ 203648 w 562085"/>
                <a:gd name="connsiteY81" fmla="*/ 564259 h 622336"/>
                <a:gd name="connsiteX82" fmla="*/ 226698 w 562085"/>
                <a:gd name="connsiteY82" fmla="*/ 541960 h 622336"/>
                <a:gd name="connsiteX83" fmla="*/ 227350 w 562085"/>
                <a:gd name="connsiteY83" fmla="*/ 538803 h 622336"/>
                <a:gd name="connsiteX84" fmla="*/ 227750 w 562085"/>
                <a:gd name="connsiteY84" fmla="*/ 537150 h 622336"/>
                <a:gd name="connsiteX85" fmla="*/ 254058 w 562085"/>
                <a:gd name="connsiteY85" fmla="*/ 490447 h 622336"/>
                <a:gd name="connsiteX86" fmla="*/ 254660 w 562085"/>
                <a:gd name="connsiteY86" fmla="*/ 489846 h 622336"/>
                <a:gd name="connsiteX87" fmla="*/ 255511 w 562085"/>
                <a:gd name="connsiteY87" fmla="*/ 489695 h 622336"/>
                <a:gd name="connsiteX88" fmla="*/ 288083 w 562085"/>
                <a:gd name="connsiteY88" fmla="*/ 494906 h 622336"/>
                <a:gd name="connsiteX89" fmla="*/ 304519 w 562085"/>
                <a:gd name="connsiteY89" fmla="*/ 496460 h 622336"/>
                <a:gd name="connsiteX90" fmla="*/ 319402 w 562085"/>
                <a:gd name="connsiteY90" fmla="*/ 482580 h 622336"/>
                <a:gd name="connsiteX91" fmla="*/ 322759 w 562085"/>
                <a:gd name="connsiteY91" fmla="*/ 473259 h 622336"/>
                <a:gd name="connsiteX92" fmla="*/ 324012 w 562085"/>
                <a:gd name="connsiteY92" fmla="*/ 469451 h 622336"/>
                <a:gd name="connsiteX93" fmla="*/ 373270 w 562085"/>
                <a:gd name="connsiteY93" fmla="*/ 415783 h 622336"/>
                <a:gd name="connsiteX94" fmla="*/ 377129 w 562085"/>
                <a:gd name="connsiteY94" fmla="*/ 414730 h 622336"/>
                <a:gd name="connsiteX95" fmla="*/ 380486 w 562085"/>
                <a:gd name="connsiteY95" fmla="*/ 414029 h 622336"/>
                <a:gd name="connsiteX96" fmla="*/ 381889 w 562085"/>
                <a:gd name="connsiteY96" fmla="*/ 413728 h 622336"/>
                <a:gd name="connsiteX97" fmla="*/ 388053 w 562085"/>
                <a:gd name="connsiteY97" fmla="*/ 419391 h 622336"/>
                <a:gd name="connsiteX98" fmla="*/ 399077 w 562085"/>
                <a:gd name="connsiteY98" fmla="*/ 429413 h 622336"/>
                <a:gd name="connsiteX99" fmla="*/ 422378 w 562085"/>
                <a:gd name="connsiteY99" fmla="*/ 440838 h 622336"/>
                <a:gd name="connsiteX100" fmla="*/ 453547 w 562085"/>
                <a:gd name="connsiteY100" fmla="*/ 462185 h 622336"/>
                <a:gd name="connsiteX101" fmla="*/ 459610 w 562085"/>
                <a:gd name="connsiteY101" fmla="*/ 468699 h 622336"/>
                <a:gd name="connsiteX102" fmla="*/ 471185 w 562085"/>
                <a:gd name="connsiteY102" fmla="*/ 466845 h 622336"/>
                <a:gd name="connsiteX103" fmla="*/ 478602 w 562085"/>
                <a:gd name="connsiteY103" fmla="*/ 462034 h 622336"/>
                <a:gd name="connsiteX104" fmla="*/ 487070 w 562085"/>
                <a:gd name="connsiteY104" fmla="*/ 456623 h 622336"/>
                <a:gd name="connsiteX105" fmla="*/ 497593 w 562085"/>
                <a:gd name="connsiteY105" fmla="*/ 444145 h 622336"/>
                <a:gd name="connsiteX106" fmla="*/ 504258 w 562085"/>
                <a:gd name="connsiteY106" fmla="*/ 425354 h 622336"/>
                <a:gd name="connsiteX107" fmla="*/ 506513 w 562085"/>
                <a:gd name="connsiteY107" fmla="*/ 419140 h 622336"/>
                <a:gd name="connsiteX108" fmla="*/ 493033 w 562085"/>
                <a:gd name="connsiteY108" fmla="*/ 381508 h 622336"/>
                <a:gd name="connsiteX109" fmla="*/ 503256 w 562085"/>
                <a:gd name="connsiteY109" fmla="*/ 363869 h 622336"/>
                <a:gd name="connsiteX110" fmla="*/ 507515 w 562085"/>
                <a:gd name="connsiteY110" fmla="*/ 361313 h 622336"/>
                <a:gd name="connsiteX111" fmla="*/ 533472 w 562085"/>
                <a:gd name="connsiteY111" fmla="*/ 345478 h 622336"/>
                <a:gd name="connsiteX112" fmla="*/ 562085 w 562085"/>
                <a:gd name="connsiteY112" fmla="*/ 310451 h 622336"/>
                <a:gd name="connsiteX113" fmla="*/ 559429 w 562085"/>
                <a:gd name="connsiteY113" fmla="*/ 308647 h 622336"/>
                <a:gd name="connsiteX114" fmla="*/ 551762 w 562085"/>
                <a:gd name="connsiteY114" fmla="*/ 304037 h 622336"/>
                <a:gd name="connsiteX115" fmla="*/ 520193 w 562085"/>
                <a:gd name="connsiteY115" fmla="*/ 277930 h 622336"/>
                <a:gd name="connsiteX116" fmla="*/ 499497 w 562085"/>
                <a:gd name="connsiteY116" fmla="*/ 252725 h 622336"/>
                <a:gd name="connsiteX117" fmla="*/ 491380 w 562085"/>
                <a:gd name="connsiteY117" fmla="*/ 243154 h 622336"/>
                <a:gd name="connsiteX118" fmla="*/ 460111 w 562085"/>
                <a:gd name="connsiteY118" fmla="*/ 244607 h 622336"/>
                <a:gd name="connsiteX119" fmla="*/ 403236 w 562085"/>
                <a:gd name="connsiteY119" fmla="*/ 239596 h 622336"/>
                <a:gd name="connsiteX120" fmla="*/ 396471 w 562085"/>
                <a:gd name="connsiteY120" fmla="*/ 236338 h 622336"/>
                <a:gd name="connsiteX121" fmla="*/ 386249 w 562085"/>
                <a:gd name="connsiteY121" fmla="*/ 231628 h 622336"/>
                <a:gd name="connsiteX122" fmla="*/ 376477 w 562085"/>
                <a:gd name="connsiteY122" fmla="*/ 229774 h 622336"/>
                <a:gd name="connsiteX123" fmla="*/ 372569 w 562085"/>
                <a:gd name="connsiteY123" fmla="*/ 230425 h 622336"/>
                <a:gd name="connsiteX124" fmla="*/ 340147 w 562085"/>
                <a:gd name="connsiteY124" fmla="*/ 244757 h 622336"/>
                <a:gd name="connsiteX125" fmla="*/ 302815 w 562085"/>
                <a:gd name="connsiteY125" fmla="*/ 268459 h 622336"/>
                <a:gd name="connsiteX126" fmla="*/ 300059 w 562085"/>
                <a:gd name="connsiteY126" fmla="*/ 269361 h 622336"/>
                <a:gd name="connsiteX127" fmla="*/ 299408 w 562085"/>
                <a:gd name="connsiteY127" fmla="*/ 266505 h 622336"/>
                <a:gd name="connsiteX128" fmla="*/ 300059 w 562085"/>
                <a:gd name="connsiteY128" fmla="*/ 237942 h 622336"/>
                <a:gd name="connsiteX129" fmla="*/ 300610 w 562085"/>
                <a:gd name="connsiteY129" fmla="*/ 217247 h 622336"/>
                <a:gd name="connsiteX130" fmla="*/ 297403 w 562085"/>
                <a:gd name="connsiteY130" fmla="*/ 198104 h 622336"/>
                <a:gd name="connsiteX131" fmla="*/ 284325 w 562085"/>
                <a:gd name="connsiteY131" fmla="*/ 167988 h 622336"/>
                <a:gd name="connsiteX132" fmla="*/ 274904 w 562085"/>
                <a:gd name="connsiteY132" fmla="*/ 157315 h 622336"/>
                <a:gd name="connsiteX133" fmla="*/ 268690 w 562085"/>
                <a:gd name="connsiteY133" fmla="*/ 150249 h 622336"/>
                <a:gd name="connsiteX134" fmla="*/ 273150 w 562085"/>
                <a:gd name="connsiteY134" fmla="*/ 142382 h 622336"/>
                <a:gd name="connsiteX135" fmla="*/ 279113 w 562085"/>
                <a:gd name="connsiteY135" fmla="*/ 131759 h 622336"/>
                <a:gd name="connsiteX136" fmla="*/ 308227 w 562085"/>
                <a:gd name="connsiteY136" fmla="*/ 109961 h 622336"/>
                <a:gd name="connsiteX137" fmla="*/ 319703 w 562085"/>
                <a:gd name="connsiteY137" fmla="*/ 106253 h 622336"/>
                <a:gd name="connsiteX138" fmla="*/ 323411 w 562085"/>
                <a:gd name="connsiteY138" fmla="*/ 104799 h 622336"/>
                <a:gd name="connsiteX139" fmla="*/ 324563 w 562085"/>
                <a:gd name="connsiteY139" fmla="*/ 96732 h 622336"/>
                <a:gd name="connsiteX140" fmla="*/ 328772 w 562085"/>
                <a:gd name="connsiteY140" fmla="*/ 76988 h 622336"/>
                <a:gd name="connsiteX141" fmla="*/ 338694 w 562085"/>
                <a:gd name="connsiteY141" fmla="*/ 58698 h 622336"/>
                <a:gd name="connsiteX142" fmla="*/ 344006 w 562085"/>
                <a:gd name="connsiteY142" fmla="*/ 49929 h 622336"/>
                <a:gd name="connsiteX143" fmla="*/ 348065 w 562085"/>
                <a:gd name="connsiteY143" fmla="*/ 41661 h 622336"/>
                <a:gd name="connsiteX144" fmla="*/ 349217 w 562085"/>
                <a:gd name="connsiteY144" fmla="*/ 39205 h 622336"/>
                <a:gd name="connsiteX145" fmla="*/ 344407 w 562085"/>
                <a:gd name="connsiteY145" fmla="*/ 31939 h 622336"/>
                <a:gd name="connsiteX146" fmla="*/ 329875 w 562085"/>
                <a:gd name="connsiteY146" fmla="*/ 10843 h 622336"/>
                <a:gd name="connsiteX147" fmla="*/ 321707 w 562085"/>
                <a:gd name="connsiteY147" fmla="*/ 5581 h 622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562085" h="622336">
                  <a:moveTo>
                    <a:pt x="321857" y="5531"/>
                  </a:moveTo>
                  <a:cubicBezTo>
                    <a:pt x="318049" y="4329"/>
                    <a:pt x="314190" y="3577"/>
                    <a:pt x="310081" y="2775"/>
                  </a:cubicBezTo>
                  <a:cubicBezTo>
                    <a:pt x="307125" y="2174"/>
                    <a:pt x="304168" y="1623"/>
                    <a:pt x="301262" y="871"/>
                  </a:cubicBezTo>
                  <a:cubicBezTo>
                    <a:pt x="292443" y="-1384"/>
                    <a:pt x="285628" y="671"/>
                    <a:pt x="278412" y="7836"/>
                  </a:cubicBezTo>
                  <a:cubicBezTo>
                    <a:pt x="265032" y="21065"/>
                    <a:pt x="249448" y="32942"/>
                    <a:pt x="231960" y="43064"/>
                  </a:cubicBezTo>
                  <a:lnTo>
                    <a:pt x="230957" y="43615"/>
                  </a:lnTo>
                  <a:lnTo>
                    <a:pt x="229855" y="43314"/>
                  </a:lnTo>
                  <a:cubicBezTo>
                    <a:pt x="227500" y="42613"/>
                    <a:pt x="225295" y="41961"/>
                    <a:pt x="223190" y="41310"/>
                  </a:cubicBezTo>
                  <a:cubicBezTo>
                    <a:pt x="218580" y="39857"/>
                    <a:pt x="214622" y="38654"/>
                    <a:pt x="210613" y="37953"/>
                  </a:cubicBezTo>
                  <a:cubicBezTo>
                    <a:pt x="208809" y="37652"/>
                    <a:pt x="206504" y="38303"/>
                    <a:pt x="204499" y="39757"/>
                  </a:cubicBezTo>
                  <a:cubicBezTo>
                    <a:pt x="202695" y="41059"/>
                    <a:pt x="201342" y="42863"/>
                    <a:pt x="201092" y="44316"/>
                  </a:cubicBezTo>
                  <a:cubicBezTo>
                    <a:pt x="200390" y="48726"/>
                    <a:pt x="204249" y="55692"/>
                    <a:pt x="207756" y="56393"/>
                  </a:cubicBezTo>
                  <a:cubicBezTo>
                    <a:pt x="210763" y="56994"/>
                    <a:pt x="213870" y="57145"/>
                    <a:pt x="217177" y="57295"/>
                  </a:cubicBezTo>
                  <a:cubicBezTo>
                    <a:pt x="219432" y="57395"/>
                    <a:pt x="221737" y="57495"/>
                    <a:pt x="223992" y="57746"/>
                  </a:cubicBezTo>
                  <a:cubicBezTo>
                    <a:pt x="224594" y="57796"/>
                    <a:pt x="225295" y="57796"/>
                    <a:pt x="225946" y="57746"/>
                  </a:cubicBezTo>
                  <a:cubicBezTo>
                    <a:pt x="229154" y="57746"/>
                    <a:pt x="234014" y="57696"/>
                    <a:pt x="236770" y="64210"/>
                  </a:cubicBezTo>
                  <a:lnTo>
                    <a:pt x="237372" y="65663"/>
                  </a:lnTo>
                  <a:lnTo>
                    <a:pt x="236419" y="66916"/>
                  </a:lnTo>
                  <a:cubicBezTo>
                    <a:pt x="231910" y="72729"/>
                    <a:pt x="226999" y="78943"/>
                    <a:pt x="222138" y="85206"/>
                  </a:cubicBezTo>
                  <a:lnTo>
                    <a:pt x="227149" y="104198"/>
                  </a:lnTo>
                  <a:lnTo>
                    <a:pt x="226297" y="105250"/>
                  </a:lnTo>
                  <a:cubicBezTo>
                    <a:pt x="224794" y="107104"/>
                    <a:pt x="223241" y="108959"/>
                    <a:pt x="221737" y="110763"/>
                  </a:cubicBezTo>
                  <a:cubicBezTo>
                    <a:pt x="212116" y="122338"/>
                    <a:pt x="203046" y="133312"/>
                    <a:pt x="197534" y="147343"/>
                  </a:cubicBezTo>
                  <a:cubicBezTo>
                    <a:pt x="193375" y="157966"/>
                    <a:pt x="192122" y="169191"/>
                    <a:pt x="190869" y="180015"/>
                  </a:cubicBezTo>
                  <a:cubicBezTo>
                    <a:pt x="190168" y="186279"/>
                    <a:pt x="189416" y="192743"/>
                    <a:pt x="188164" y="198906"/>
                  </a:cubicBezTo>
                  <a:lnTo>
                    <a:pt x="187963" y="199858"/>
                  </a:lnTo>
                  <a:lnTo>
                    <a:pt x="187211" y="200460"/>
                  </a:lnTo>
                  <a:cubicBezTo>
                    <a:pt x="175586" y="209930"/>
                    <a:pt x="163209" y="214190"/>
                    <a:pt x="149378" y="213438"/>
                  </a:cubicBezTo>
                  <a:cubicBezTo>
                    <a:pt x="145670" y="213238"/>
                    <a:pt x="141812" y="213188"/>
                    <a:pt x="138705" y="214290"/>
                  </a:cubicBezTo>
                  <a:cubicBezTo>
                    <a:pt x="136149" y="215192"/>
                    <a:pt x="133644" y="216796"/>
                    <a:pt x="131038" y="218549"/>
                  </a:cubicBezTo>
                  <a:cubicBezTo>
                    <a:pt x="129785" y="219401"/>
                    <a:pt x="128482" y="220203"/>
                    <a:pt x="127179" y="221005"/>
                  </a:cubicBezTo>
                  <a:lnTo>
                    <a:pt x="126027" y="221706"/>
                  </a:lnTo>
                  <a:lnTo>
                    <a:pt x="124774" y="221205"/>
                  </a:lnTo>
                  <a:cubicBezTo>
                    <a:pt x="123221" y="220604"/>
                    <a:pt x="121717" y="219953"/>
                    <a:pt x="120214" y="219301"/>
                  </a:cubicBezTo>
                  <a:cubicBezTo>
                    <a:pt x="116606" y="217798"/>
                    <a:pt x="113149" y="216345"/>
                    <a:pt x="109591" y="215192"/>
                  </a:cubicBezTo>
                  <a:cubicBezTo>
                    <a:pt x="105131" y="213789"/>
                    <a:pt x="103177" y="213939"/>
                    <a:pt x="102325" y="214340"/>
                  </a:cubicBezTo>
                  <a:cubicBezTo>
                    <a:pt x="89647" y="220053"/>
                    <a:pt x="76518" y="226918"/>
                    <a:pt x="66246" y="238243"/>
                  </a:cubicBezTo>
                  <a:cubicBezTo>
                    <a:pt x="73211" y="249668"/>
                    <a:pt x="81329" y="260191"/>
                    <a:pt x="89196" y="270363"/>
                  </a:cubicBezTo>
                  <a:cubicBezTo>
                    <a:pt x="98366" y="282189"/>
                    <a:pt x="107035" y="293364"/>
                    <a:pt x="113950" y="305791"/>
                  </a:cubicBezTo>
                  <a:lnTo>
                    <a:pt x="114502" y="306793"/>
                  </a:lnTo>
                  <a:lnTo>
                    <a:pt x="114151" y="307896"/>
                  </a:lnTo>
                  <a:cubicBezTo>
                    <a:pt x="111044" y="317918"/>
                    <a:pt x="104630" y="322578"/>
                    <a:pt x="98166" y="326136"/>
                  </a:cubicBezTo>
                  <a:cubicBezTo>
                    <a:pt x="93405" y="328742"/>
                    <a:pt x="88545" y="331147"/>
                    <a:pt x="83784" y="333502"/>
                  </a:cubicBezTo>
                  <a:cubicBezTo>
                    <a:pt x="80126" y="335306"/>
                    <a:pt x="76468" y="337110"/>
                    <a:pt x="72860" y="339014"/>
                  </a:cubicBezTo>
                  <a:cubicBezTo>
                    <a:pt x="65243" y="343023"/>
                    <a:pt x="57827" y="343123"/>
                    <a:pt x="50110" y="339265"/>
                  </a:cubicBezTo>
                  <a:cubicBezTo>
                    <a:pt x="44147" y="336308"/>
                    <a:pt x="38184" y="333602"/>
                    <a:pt x="31870" y="330696"/>
                  </a:cubicBezTo>
                  <a:lnTo>
                    <a:pt x="26107" y="328090"/>
                  </a:lnTo>
                  <a:cubicBezTo>
                    <a:pt x="19343" y="335156"/>
                    <a:pt x="14382" y="343073"/>
                    <a:pt x="9571" y="350740"/>
                  </a:cubicBezTo>
                  <a:cubicBezTo>
                    <a:pt x="6564" y="355550"/>
                    <a:pt x="3458" y="360461"/>
                    <a:pt x="0" y="365071"/>
                  </a:cubicBezTo>
                  <a:lnTo>
                    <a:pt x="20996" y="393534"/>
                  </a:lnTo>
                  <a:cubicBezTo>
                    <a:pt x="38535" y="391930"/>
                    <a:pt x="55622" y="397092"/>
                    <a:pt x="71557" y="402955"/>
                  </a:cubicBezTo>
                  <a:cubicBezTo>
                    <a:pt x="73411" y="403656"/>
                    <a:pt x="75265" y="404157"/>
                    <a:pt x="77120" y="404708"/>
                  </a:cubicBezTo>
                  <a:cubicBezTo>
                    <a:pt x="81930" y="406112"/>
                    <a:pt x="86941" y="407515"/>
                    <a:pt x="91401" y="411323"/>
                  </a:cubicBezTo>
                  <a:cubicBezTo>
                    <a:pt x="101323" y="419691"/>
                    <a:pt x="112096" y="423249"/>
                    <a:pt x="124373" y="422397"/>
                  </a:cubicBezTo>
                  <a:cubicBezTo>
                    <a:pt x="127931" y="422097"/>
                    <a:pt x="131539" y="422999"/>
                    <a:pt x="134395" y="423750"/>
                  </a:cubicBezTo>
                  <a:cubicBezTo>
                    <a:pt x="135448" y="424001"/>
                    <a:pt x="136400" y="424251"/>
                    <a:pt x="137252" y="424402"/>
                  </a:cubicBezTo>
                  <a:lnTo>
                    <a:pt x="138404" y="424602"/>
                  </a:lnTo>
                  <a:lnTo>
                    <a:pt x="139056" y="425554"/>
                  </a:lnTo>
                  <a:cubicBezTo>
                    <a:pt x="144117" y="433171"/>
                    <a:pt x="142363" y="439986"/>
                    <a:pt x="140709" y="446601"/>
                  </a:cubicBezTo>
                  <a:cubicBezTo>
                    <a:pt x="139757" y="450359"/>
                    <a:pt x="138855" y="453967"/>
                    <a:pt x="139106" y="457775"/>
                  </a:cubicBezTo>
                  <a:cubicBezTo>
                    <a:pt x="143165" y="458176"/>
                    <a:pt x="146322" y="459679"/>
                    <a:pt x="148576" y="462135"/>
                  </a:cubicBezTo>
                  <a:cubicBezTo>
                    <a:pt x="152936" y="466895"/>
                    <a:pt x="152886" y="474361"/>
                    <a:pt x="152435" y="480325"/>
                  </a:cubicBezTo>
                  <a:cubicBezTo>
                    <a:pt x="151533" y="491499"/>
                    <a:pt x="154189" y="502523"/>
                    <a:pt x="160352" y="513147"/>
                  </a:cubicBezTo>
                  <a:lnTo>
                    <a:pt x="161104" y="514399"/>
                  </a:lnTo>
                  <a:lnTo>
                    <a:pt x="153788" y="529182"/>
                  </a:lnTo>
                  <a:lnTo>
                    <a:pt x="169122" y="538803"/>
                  </a:lnTo>
                  <a:lnTo>
                    <a:pt x="169322" y="540006"/>
                  </a:lnTo>
                  <a:cubicBezTo>
                    <a:pt x="170475" y="547071"/>
                    <a:pt x="168370" y="553034"/>
                    <a:pt x="166516" y="558246"/>
                  </a:cubicBezTo>
                  <a:cubicBezTo>
                    <a:pt x="165464" y="561253"/>
                    <a:pt x="164461" y="564059"/>
                    <a:pt x="164060" y="566915"/>
                  </a:cubicBezTo>
                  <a:lnTo>
                    <a:pt x="163710" y="569170"/>
                  </a:lnTo>
                  <a:cubicBezTo>
                    <a:pt x="163259" y="572126"/>
                    <a:pt x="162457" y="577037"/>
                    <a:pt x="163609" y="578340"/>
                  </a:cubicBezTo>
                  <a:cubicBezTo>
                    <a:pt x="171026" y="587059"/>
                    <a:pt x="172128" y="595678"/>
                    <a:pt x="167418" y="607153"/>
                  </a:cubicBezTo>
                  <a:lnTo>
                    <a:pt x="167418" y="607153"/>
                  </a:lnTo>
                  <a:cubicBezTo>
                    <a:pt x="165313" y="612214"/>
                    <a:pt x="168971" y="617626"/>
                    <a:pt x="172679" y="620783"/>
                  </a:cubicBezTo>
                  <a:cubicBezTo>
                    <a:pt x="173481" y="621485"/>
                    <a:pt x="175135" y="621785"/>
                    <a:pt x="176889" y="622086"/>
                  </a:cubicBezTo>
                  <a:cubicBezTo>
                    <a:pt x="177290" y="622186"/>
                    <a:pt x="177741" y="622236"/>
                    <a:pt x="178192" y="622337"/>
                  </a:cubicBezTo>
                  <a:cubicBezTo>
                    <a:pt x="183253" y="612916"/>
                    <a:pt x="185708" y="602693"/>
                    <a:pt x="188063" y="592822"/>
                  </a:cubicBezTo>
                  <a:cubicBezTo>
                    <a:pt x="190118" y="584253"/>
                    <a:pt x="192072" y="576135"/>
                    <a:pt x="195580" y="568518"/>
                  </a:cubicBezTo>
                  <a:lnTo>
                    <a:pt x="195931" y="567717"/>
                  </a:lnTo>
                  <a:lnTo>
                    <a:pt x="196732" y="567316"/>
                  </a:lnTo>
                  <a:cubicBezTo>
                    <a:pt x="197534" y="566865"/>
                    <a:pt x="198236" y="566414"/>
                    <a:pt x="198837" y="566013"/>
                  </a:cubicBezTo>
                  <a:cubicBezTo>
                    <a:pt x="200340" y="565011"/>
                    <a:pt x="201843" y="564259"/>
                    <a:pt x="203648" y="564259"/>
                  </a:cubicBezTo>
                  <a:cubicBezTo>
                    <a:pt x="217378" y="564259"/>
                    <a:pt x="224443" y="557344"/>
                    <a:pt x="226698" y="541960"/>
                  </a:cubicBezTo>
                  <a:cubicBezTo>
                    <a:pt x="226848" y="540908"/>
                    <a:pt x="227099" y="539855"/>
                    <a:pt x="227350" y="538803"/>
                  </a:cubicBezTo>
                  <a:cubicBezTo>
                    <a:pt x="227500" y="538252"/>
                    <a:pt x="227600" y="537701"/>
                    <a:pt x="227750" y="537150"/>
                  </a:cubicBezTo>
                  <a:cubicBezTo>
                    <a:pt x="231208" y="520613"/>
                    <a:pt x="239827" y="505329"/>
                    <a:pt x="254058" y="490447"/>
                  </a:cubicBezTo>
                  <a:lnTo>
                    <a:pt x="254660" y="489846"/>
                  </a:lnTo>
                  <a:lnTo>
                    <a:pt x="255511" y="489695"/>
                  </a:lnTo>
                  <a:cubicBezTo>
                    <a:pt x="267738" y="487340"/>
                    <a:pt x="277460" y="488894"/>
                    <a:pt x="288083" y="494906"/>
                  </a:cubicBezTo>
                  <a:cubicBezTo>
                    <a:pt x="293094" y="497763"/>
                    <a:pt x="298957" y="498314"/>
                    <a:pt x="304519" y="496460"/>
                  </a:cubicBezTo>
                  <a:cubicBezTo>
                    <a:pt x="311033" y="494305"/>
                    <a:pt x="316495" y="489244"/>
                    <a:pt x="319402" y="482580"/>
                  </a:cubicBezTo>
                  <a:cubicBezTo>
                    <a:pt x="320705" y="479623"/>
                    <a:pt x="321707" y="476516"/>
                    <a:pt x="322759" y="473259"/>
                  </a:cubicBezTo>
                  <a:cubicBezTo>
                    <a:pt x="323160" y="471956"/>
                    <a:pt x="323561" y="470704"/>
                    <a:pt x="324012" y="469451"/>
                  </a:cubicBezTo>
                  <a:cubicBezTo>
                    <a:pt x="336740" y="432018"/>
                    <a:pt x="337191" y="431517"/>
                    <a:pt x="373270" y="415783"/>
                  </a:cubicBezTo>
                  <a:cubicBezTo>
                    <a:pt x="374423" y="415282"/>
                    <a:pt x="375525" y="415081"/>
                    <a:pt x="377129" y="414730"/>
                  </a:cubicBezTo>
                  <a:cubicBezTo>
                    <a:pt x="378031" y="414530"/>
                    <a:pt x="379083" y="414330"/>
                    <a:pt x="380486" y="414029"/>
                  </a:cubicBezTo>
                  <a:lnTo>
                    <a:pt x="381889" y="413728"/>
                  </a:lnTo>
                  <a:lnTo>
                    <a:pt x="388053" y="419391"/>
                  </a:lnTo>
                  <a:cubicBezTo>
                    <a:pt x="391811" y="422898"/>
                    <a:pt x="395419" y="426206"/>
                    <a:pt x="399077" y="429413"/>
                  </a:cubicBezTo>
                  <a:cubicBezTo>
                    <a:pt x="405441" y="435025"/>
                    <a:pt x="413158" y="440737"/>
                    <a:pt x="422378" y="440838"/>
                  </a:cubicBezTo>
                  <a:cubicBezTo>
                    <a:pt x="438263" y="440988"/>
                    <a:pt x="447884" y="447603"/>
                    <a:pt x="453547" y="462185"/>
                  </a:cubicBezTo>
                  <a:cubicBezTo>
                    <a:pt x="454849" y="465542"/>
                    <a:pt x="456854" y="467697"/>
                    <a:pt x="459610" y="468699"/>
                  </a:cubicBezTo>
                  <a:cubicBezTo>
                    <a:pt x="462867" y="469902"/>
                    <a:pt x="467026" y="469200"/>
                    <a:pt x="471185" y="466845"/>
                  </a:cubicBezTo>
                  <a:cubicBezTo>
                    <a:pt x="473691" y="465392"/>
                    <a:pt x="476096" y="463788"/>
                    <a:pt x="478602" y="462034"/>
                  </a:cubicBezTo>
                  <a:cubicBezTo>
                    <a:pt x="481308" y="460180"/>
                    <a:pt x="484114" y="458276"/>
                    <a:pt x="487070" y="456623"/>
                  </a:cubicBezTo>
                  <a:cubicBezTo>
                    <a:pt x="492482" y="453616"/>
                    <a:pt x="495789" y="449657"/>
                    <a:pt x="497593" y="444145"/>
                  </a:cubicBezTo>
                  <a:cubicBezTo>
                    <a:pt x="499648" y="437831"/>
                    <a:pt x="501853" y="431768"/>
                    <a:pt x="504258" y="425354"/>
                  </a:cubicBezTo>
                  <a:cubicBezTo>
                    <a:pt x="505010" y="423299"/>
                    <a:pt x="505761" y="421245"/>
                    <a:pt x="506513" y="419140"/>
                  </a:cubicBezTo>
                  <a:cubicBezTo>
                    <a:pt x="495739" y="409820"/>
                    <a:pt x="491430" y="397793"/>
                    <a:pt x="493033" y="381508"/>
                  </a:cubicBezTo>
                  <a:cubicBezTo>
                    <a:pt x="493835" y="373039"/>
                    <a:pt x="496992" y="367627"/>
                    <a:pt x="503256" y="363869"/>
                  </a:cubicBezTo>
                  <a:lnTo>
                    <a:pt x="507515" y="361313"/>
                  </a:lnTo>
                  <a:cubicBezTo>
                    <a:pt x="516084" y="356202"/>
                    <a:pt x="524953" y="350890"/>
                    <a:pt x="533472" y="345478"/>
                  </a:cubicBezTo>
                  <a:cubicBezTo>
                    <a:pt x="545849" y="337611"/>
                    <a:pt x="555020" y="326436"/>
                    <a:pt x="562085" y="310451"/>
                  </a:cubicBezTo>
                  <a:cubicBezTo>
                    <a:pt x="561183" y="309850"/>
                    <a:pt x="560281" y="309198"/>
                    <a:pt x="559429" y="308647"/>
                  </a:cubicBezTo>
                  <a:cubicBezTo>
                    <a:pt x="556673" y="306743"/>
                    <a:pt x="554318" y="305090"/>
                    <a:pt x="551762" y="304037"/>
                  </a:cubicBezTo>
                  <a:cubicBezTo>
                    <a:pt x="539987" y="299126"/>
                    <a:pt x="530215" y="291059"/>
                    <a:pt x="520193" y="277930"/>
                  </a:cubicBezTo>
                  <a:cubicBezTo>
                    <a:pt x="513578" y="269211"/>
                    <a:pt x="506413" y="260842"/>
                    <a:pt x="499497" y="252725"/>
                  </a:cubicBezTo>
                  <a:cubicBezTo>
                    <a:pt x="496741" y="249467"/>
                    <a:pt x="494035" y="246310"/>
                    <a:pt x="491380" y="243154"/>
                  </a:cubicBezTo>
                  <a:cubicBezTo>
                    <a:pt x="480406" y="240347"/>
                    <a:pt x="469882" y="240798"/>
                    <a:pt x="460111" y="244607"/>
                  </a:cubicBezTo>
                  <a:cubicBezTo>
                    <a:pt x="438363" y="252975"/>
                    <a:pt x="419171" y="246811"/>
                    <a:pt x="403236" y="239596"/>
                  </a:cubicBezTo>
                  <a:cubicBezTo>
                    <a:pt x="400981" y="238543"/>
                    <a:pt x="398726" y="237441"/>
                    <a:pt x="396471" y="236338"/>
                  </a:cubicBezTo>
                  <a:cubicBezTo>
                    <a:pt x="393114" y="234685"/>
                    <a:pt x="389706" y="232981"/>
                    <a:pt x="386249" y="231628"/>
                  </a:cubicBezTo>
                  <a:cubicBezTo>
                    <a:pt x="383493" y="230576"/>
                    <a:pt x="379484" y="229223"/>
                    <a:pt x="376477" y="229774"/>
                  </a:cubicBezTo>
                  <a:lnTo>
                    <a:pt x="372569" y="230425"/>
                  </a:lnTo>
                  <a:cubicBezTo>
                    <a:pt x="360492" y="232430"/>
                    <a:pt x="349117" y="234334"/>
                    <a:pt x="340147" y="244757"/>
                  </a:cubicBezTo>
                  <a:cubicBezTo>
                    <a:pt x="330827" y="255531"/>
                    <a:pt x="318299" y="263498"/>
                    <a:pt x="302815" y="268459"/>
                  </a:cubicBezTo>
                  <a:lnTo>
                    <a:pt x="300059" y="269361"/>
                  </a:lnTo>
                  <a:lnTo>
                    <a:pt x="299408" y="266505"/>
                  </a:lnTo>
                  <a:cubicBezTo>
                    <a:pt x="296953" y="256082"/>
                    <a:pt x="295299" y="246711"/>
                    <a:pt x="300059" y="237942"/>
                  </a:cubicBezTo>
                  <a:cubicBezTo>
                    <a:pt x="303617" y="231378"/>
                    <a:pt x="303016" y="225615"/>
                    <a:pt x="300610" y="217247"/>
                  </a:cubicBezTo>
                  <a:cubicBezTo>
                    <a:pt x="298706" y="210582"/>
                    <a:pt x="297654" y="204118"/>
                    <a:pt x="297403" y="198104"/>
                  </a:cubicBezTo>
                  <a:cubicBezTo>
                    <a:pt x="296953" y="187180"/>
                    <a:pt x="292693" y="177359"/>
                    <a:pt x="284325" y="167988"/>
                  </a:cubicBezTo>
                  <a:cubicBezTo>
                    <a:pt x="281218" y="164531"/>
                    <a:pt x="278111" y="161023"/>
                    <a:pt x="274904" y="157315"/>
                  </a:cubicBezTo>
                  <a:lnTo>
                    <a:pt x="268690" y="150249"/>
                  </a:lnTo>
                  <a:lnTo>
                    <a:pt x="273150" y="142382"/>
                  </a:lnTo>
                  <a:cubicBezTo>
                    <a:pt x="275255" y="138724"/>
                    <a:pt x="277209" y="135266"/>
                    <a:pt x="279113" y="131759"/>
                  </a:cubicBezTo>
                  <a:cubicBezTo>
                    <a:pt x="285778" y="119331"/>
                    <a:pt x="295299" y="112216"/>
                    <a:pt x="308227" y="109961"/>
                  </a:cubicBezTo>
                  <a:cubicBezTo>
                    <a:pt x="312086" y="109309"/>
                    <a:pt x="315994" y="107756"/>
                    <a:pt x="319703" y="106253"/>
                  </a:cubicBezTo>
                  <a:cubicBezTo>
                    <a:pt x="320955" y="105752"/>
                    <a:pt x="322158" y="105250"/>
                    <a:pt x="323411" y="104799"/>
                  </a:cubicBezTo>
                  <a:cubicBezTo>
                    <a:pt x="323862" y="102043"/>
                    <a:pt x="324212" y="99337"/>
                    <a:pt x="324563" y="96732"/>
                  </a:cubicBezTo>
                  <a:cubicBezTo>
                    <a:pt x="325515" y="89766"/>
                    <a:pt x="326367" y="83152"/>
                    <a:pt x="328772" y="76988"/>
                  </a:cubicBezTo>
                  <a:cubicBezTo>
                    <a:pt x="331278" y="70474"/>
                    <a:pt x="335036" y="64511"/>
                    <a:pt x="338694" y="58698"/>
                  </a:cubicBezTo>
                  <a:cubicBezTo>
                    <a:pt x="340548" y="55792"/>
                    <a:pt x="342352" y="52935"/>
                    <a:pt x="344006" y="49929"/>
                  </a:cubicBezTo>
                  <a:cubicBezTo>
                    <a:pt x="345509" y="47273"/>
                    <a:pt x="346812" y="44417"/>
                    <a:pt x="348065" y="41661"/>
                  </a:cubicBezTo>
                  <a:cubicBezTo>
                    <a:pt x="348466" y="40809"/>
                    <a:pt x="348816" y="40007"/>
                    <a:pt x="349217" y="39205"/>
                  </a:cubicBezTo>
                  <a:cubicBezTo>
                    <a:pt x="347564" y="36750"/>
                    <a:pt x="346010" y="34345"/>
                    <a:pt x="344407" y="31939"/>
                  </a:cubicBezTo>
                  <a:cubicBezTo>
                    <a:pt x="339546" y="24523"/>
                    <a:pt x="334886" y="17558"/>
                    <a:pt x="329875" y="10843"/>
                  </a:cubicBezTo>
                  <a:cubicBezTo>
                    <a:pt x="328271" y="8688"/>
                    <a:pt x="325064" y="6634"/>
                    <a:pt x="321707" y="558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59469F1B-F296-4265-86BE-34F3E99C4F68}"/>
                </a:ext>
              </a:extLst>
            </p:cNvPr>
            <p:cNvSpPr/>
            <p:nvPr/>
          </p:nvSpPr>
          <p:spPr>
            <a:xfrm>
              <a:off x="883188" y="3903621"/>
              <a:ext cx="529506" cy="578944"/>
            </a:xfrm>
            <a:custGeom>
              <a:avLst/>
              <a:gdLst>
                <a:gd name="connsiteX0" fmla="*/ 318149 w 424582"/>
                <a:gd name="connsiteY0" fmla="*/ 196181 h 464224"/>
                <a:gd name="connsiteX1" fmla="*/ 349217 w 424582"/>
                <a:gd name="connsiteY1" fmla="*/ 190769 h 464224"/>
                <a:gd name="connsiteX2" fmla="*/ 377980 w 424582"/>
                <a:gd name="connsiteY2" fmla="*/ 187161 h 464224"/>
                <a:gd name="connsiteX3" fmla="*/ 384595 w 424582"/>
                <a:gd name="connsiteY3" fmla="*/ 182601 h 464224"/>
                <a:gd name="connsiteX4" fmla="*/ 388454 w 424582"/>
                <a:gd name="connsiteY4" fmla="*/ 179946 h 464224"/>
                <a:gd name="connsiteX5" fmla="*/ 375325 w 424582"/>
                <a:gd name="connsiteY5" fmla="*/ 130387 h 464224"/>
                <a:gd name="connsiteX6" fmla="*/ 373771 w 424582"/>
                <a:gd name="connsiteY6" fmla="*/ 128783 h 464224"/>
                <a:gd name="connsiteX7" fmla="*/ 375024 w 424582"/>
                <a:gd name="connsiteY7" fmla="*/ 126979 h 464224"/>
                <a:gd name="connsiteX8" fmla="*/ 417016 w 424582"/>
                <a:gd name="connsiteY8" fmla="*/ 83985 h 464224"/>
                <a:gd name="connsiteX9" fmla="*/ 424583 w 424582"/>
                <a:gd name="connsiteY9" fmla="*/ 77370 h 464224"/>
                <a:gd name="connsiteX10" fmla="*/ 423080 w 424582"/>
                <a:gd name="connsiteY10" fmla="*/ 68651 h 464224"/>
                <a:gd name="connsiteX11" fmla="*/ 418820 w 424582"/>
                <a:gd name="connsiteY11" fmla="*/ 46352 h 464224"/>
                <a:gd name="connsiteX12" fmla="*/ 417417 w 424582"/>
                <a:gd name="connsiteY12" fmla="*/ 33073 h 464224"/>
                <a:gd name="connsiteX13" fmla="*/ 413859 w 424582"/>
                <a:gd name="connsiteY13" fmla="*/ 13981 h 464224"/>
                <a:gd name="connsiteX14" fmla="*/ 394316 w 424582"/>
                <a:gd name="connsiteY14" fmla="*/ 18040 h 464224"/>
                <a:gd name="connsiteX15" fmla="*/ 358488 w 424582"/>
                <a:gd name="connsiteY15" fmla="*/ 21648 h 464224"/>
                <a:gd name="connsiteX16" fmla="*/ 307876 w 424582"/>
                <a:gd name="connsiteY16" fmla="*/ 0 h 464224"/>
                <a:gd name="connsiteX17" fmla="*/ 303116 w 424582"/>
                <a:gd name="connsiteY17" fmla="*/ 4009 h 464224"/>
                <a:gd name="connsiteX18" fmla="*/ 291090 w 424582"/>
                <a:gd name="connsiteY18" fmla="*/ 14632 h 464224"/>
                <a:gd name="connsiteX19" fmla="*/ 267037 w 424582"/>
                <a:gd name="connsiteY19" fmla="*/ 21197 h 464224"/>
                <a:gd name="connsiteX20" fmla="*/ 261124 w 424582"/>
                <a:gd name="connsiteY20" fmla="*/ 19643 h 464224"/>
                <a:gd name="connsiteX21" fmla="*/ 243535 w 424582"/>
                <a:gd name="connsiteY21" fmla="*/ 17940 h 464224"/>
                <a:gd name="connsiteX22" fmla="*/ 243736 w 424582"/>
                <a:gd name="connsiteY22" fmla="*/ 28563 h 464224"/>
                <a:gd name="connsiteX23" fmla="*/ 245590 w 424582"/>
                <a:gd name="connsiteY23" fmla="*/ 30818 h 464224"/>
                <a:gd name="connsiteX24" fmla="*/ 249348 w 424582"/>
                <a:gd name="connsiteY24" fmla="*/ 47755 h 464224"/>
                <a:gd name="connsiteX25" fmla="*/ 248947 w 424582"/>
                <a:gd name="connsiteY25" fmla="*/ 48557 h 464224"/>
                <a:gd name="connsiteX26" fmla="*/ 248145 w 424582"/>
                <a:gd name="connsiteY26" fmla="*/ 48958 h 464224"/>
                <a:gd name="connsiteX27" fmla="*/ 229805 w 424582"/>
                <a:gd name="connsiteY27" fmla="*/ 51363 h 464224"/>
                <a:gd name="connsiteX28" fmla="*/ 212918 w 424582"/>
                <a:gd name="connsiteY28" fmla="*/ 53768 h 464224"/>
                <a:gd name="connsiteX29" fmla="*/ 212767 w 424582"/>
                <a:gd name="connsiteY29" fmla="*/ 55021 h 464224"/>
                <a:gd name="connsiteX30" fmla="*/ 212116 w 424582"/>
                <a:gd name="connsiteY30" fmla="*/ 60132 h 464224"/>
                <a:gd name="connsiteX31" fmla="*/ 161054 w 424582"/>
                <a:gd name="connsiteY31" fmla="*/ 123121 h 464224"/>
                <a:gd name="connsiteX32" fmla="*/ 138705 w 424582"/>
                <a:gd name="connsiteY32" fmla="*/ 120766 h 464224"/>
                <a:gd name="connsiteX33" fmla="*/ 97264 w 424582"/>
                <a:gd name="connsiteY33" fmla="*/ 88444 h 464224"/>
                <a:gd name="connsiteX34" fmla="*/ 76117 w 424582"/>
                <a:gd name="connsiteY34" fmla="*/ 79375 h 464224"/>
                <a:gd name="connsiteX35" fmla="*/ 47955 w 424582"/>
                <a:gd name="connsiteY35" fmla="*/ 76869 h 464224"/>
                <a:gd name="connsiteX36" fmla="*/ 35328 w 424582"/>
                <a:gd name="connsiteY36" fmla="*/ 75466 h 464224"/>
                <a:gd name="connsiteX37" fmla="*/ 24604 w 424582"/>
                <a:gd name="connsiteY37" fmla="*/ 83584 h 464224"/>
                <a:gd name="connsiteX38" fmla="*/ 6865 w 424582"/>
                <a:gd name="connsiteY38" fmla="*/ 99419 h 464224"/>
                <a:gd name="connsiteX39" fmla="*/ 31469 w 424582"/>
                <a:gd name="connsiteY39" fmla="*/ 117258 h 464224"/>
                <a:gd name="connsiteX40" fmla="*/ 37182 w 424582"/>
                <a:gd name="connsiteY40" fmla="*/ 119362 h 464224"/>
                <a:gd name="connsiteX41" fmla="*/ 65744 w 424582"/>
                <a:gd name="connsiteY41" fmla="*/ 133744 h 464224"/>
                <a:gd name="connsiteX42" fmla="*/ 66797 w 424582"/>
                <a:gd name="connsiteY42" fmla="*/ 134596 h 464224"/>
                <a:gd name="connsiteX43" fmla="*/ 66697 w 424582"/>
                <a:gd name="connsiteY43" fmla="*/ 135949 h 464224"/>
                <a:gd name="connsiteX44" fmla="*/ 47454 w 424582"/>
                <a:gd name="connsiteY44" fmla="*/ 170976 h 464224"/>
                <a:gd name="connsiteX45" fmla="*/ 45951 w 424582"/>
                <a:gd name="connsiteY45" fmla="*/ 172529 h 464224"/>
                <a:gd name="connsiteX46" fmla="*/ 44097 w 424582"/>
                <a:gd name="connsiteY46" fmla="*/ 171377 h 464224"/>
                <a:gd name="connsiteX47" fmla="*/ 9621 w 424582"/>
                <a:gd name="connsiteY47" fmla="*/ 156093 h 464224"/>
                <a:gd name="connsiteX48" fmla="*/ 0 w 424582"/>
                <a:gd name="connsiteY48" fmla="*/ 180396 h 464224"/>
                <a:gd name="connsiteX49" fmla="*/ 10573 w 424582"/>
                <a:gd name="connsiteY49" fmla="*/ 184906 h 464224"/>
                <a:gd name="connsiteX50" fmla="*/ 45600 w 424582"/>
                <a:gd name="connsiteY50" fmla="*/ 200140 h 464224"/>
                <a:gd name="connsiteX51" fmla="*/ 64592 w 424582"/>
                <a:gd name="connsiteY51" fmla="*/ 210763 h 464224"/>
                <a:gd name="connsiteX52" fmla="*/ 70906 w 424582"/>
                <a:gd name="connsiteY52" fmla="*/ 251453 h 464224"/>
                <a:gd name="connsiteX53" fmla="*/ 67298 w 424582"/>
                <a:gd name="connsiteY53" fmla="*/ 265032 h 464224"/>
                <a:gd name="connsiteX54" fmla="*/ 65544 w 424582"/>
                <a:gd name="connsiteY54" fmla="*/ 278011 h 464224"/>
                <a:gd name="connsiteX55" fmla="*/ 68651 w 424582"/>
                <a:gd name="connsiteY55" fmla="*/ 299659 h 464224"/>
                <a:gd name="connsiteX56" fmla="*/ 71758 w 424582"/>
                <a:gd name="connsiteY56" fmla="*/ 304970 h 464224"/>
                <a:gd name="connsiteX57" fmla="*/ 83985 w 424582"/>
                <a:gd name="connsiteY57" fmla="*/ 316946 h 464224"/>
                <a:gd name="connsiteX58" fmla="*/ 91651 w 424582"/>
                <a:gd name="connsiteY58" fmla="*/ 319853 h 464224"/>
                <a:gd name="connsiteX59" fmla="*/ 94959 w 424582"/>
                <a:gd name="connsiteY59" fmla="*/ 321356 h 464224"/>
                <a:gd name="connsiteX60" fmla="*/ 96963 w 424582"/>
                <a:gd name="connsiteY60" fmla="*/ 322208 h 464224"/>
                <a:gd name="connsiteX61" fmla="*/ 96562 w 424582"/>
                <a:gd name="connsiteY61" fmla="*/ 324363 h 464224"/>
                <a:gd name="connsiteX62" fmla="*/ 92102 w 424582"/>
                <a:gd name="connsiteY62" fmla="*/ 337291 h 464224"/>
                <a:gd name="connsiteX63" fmla="*/ 88845 w 424582"/>
                <a:gd name="connsiteY63" fmla="*/ 358037 h 464224"/>
                <a:gd name="connsiteX64" fmla="*/ 115103 w 424582"/>
                <a:gd name="connsiteY64" fmla="*/ 380787 h 464224"/>
                <a:gd name="connsiteX65" fmla="*/ 118059 w 424582"/>
                <a:gd name="connsiteY65" fmla="*/ 380186 h 464224"/>
                <a:gd name="connsiteX66" fmla="*/ 125426 w 424582"/>
                <a:gd name="connsiteY66" fmla="*/ 378482 h 464224"/>
                <a:gd name="connsiteX67" fmla="*/ 159150 w 424582"/>
                <a:gd name="connsiteY67" fmla="*/ 367808 h 464224"/>
                <a:gd name="connsiteX68" fmla="*/ 167468 w 424582"/>
                <a:gd name="connsiteY68" fmla="*/ 366405 h 464224"/>
                <a:gd name="connsiteX69" fmla="*/ 181599 w 424582"/>
                <a:gd name="connsiteY69" fmla="*/ 370715 h 464224"/>
                <a:gd name="connsiteX70" fmla="*/ 229955 w 424582"/>
                <a:gd name="connsiteY70" fmla="*/ 425535 h 464224"/>
                <a:gd name="connsiteX71" fmla="*/ 237171 w 424582"/>
                <a:gd name="connsiteY71" fmla="*/ 442623 h 464224"/>
                <a:gd name="connsiteX72" fmla="*/ 240228 w 424582"/>
                <a:gd name="connsiteY72" fmla="*/ 448886 h 464224"/>
                <a:gd name="connsiteX73" fmla="*/ 240579 w 424582"/>
                <a:gd name="connsiteY73" fmla="*/ 449638 h 464224"/>
                <a:gd name="connsiteX74" fmla="*/ 245640 w 424582"/>
                <a:gd name="connsiteY74" fmla="*/ 458507 h 464224"/>
                <a:gd name="connsiteX75" fmla="*/ 258568 w 424582"/>
                <a:gd name="connsiteY75" fmla="*/ 463018 h 464224"/>
                <a:gd name="connsiteX76" fmla="*/ 275405 w 424582"/>
                <a:gd name="connsiteY76" fmla="*/ 460462 h 464224"/>
                <a:gd name="connsiteX77" fmla="*/ 280817 w 424582"/>
                <a:gd name="connsiteY77" fmla="*/ 460913 h 464224"/>
                <a:gd name="connsiteX78" fmla="*/ 293495 w 424582"/>
                <a:gd name="connsiteY78" fmla="*/ 439816 h 464224"/>
                <a:gd name="connsiteX79" fmla="*/ 301763 w 424582"/>
                <a:gd name="connsiteY79" fmla="*/ 439416 h 464224"/>
                <a:gd name="connsiteX80" fmla="*/ 316145 w 424582"/>
                <a:gd name="connsiteY80" fmla="*/ 438814 h 464224"/>
                <a:gd name="connsiteX81" fmla="*/ 330576 w 424582"/>
                <a:gd name="connsiteY81" fmla="*/ 438814 h 464224"/>
                <a:gd name="connsiteX82" fmla="*/ 334385 w 424582"/>
                <a:gd name="connsiteY82" fmla="*/ 438814 h 464224"/>
                <a:gd name="connsiteX83" fmla="*/ 370965 w 424582"/>
                <a:gd name="connsiteY83" fmla="*/ 390007 h 464224"/>
                <a:gd name="connsiteX84" fmla="*/ 366405 w 424582"/>
                <a:gd name="connsiteY84" fmla="*/ 388905 h 464224"/>
                <a:gd name="connsiteX85" fmla="*/ 350520 w 424582"/>
                <a:gd name="connsiteY85" fmla="*/ 384294 h 464224"/>
                <a:gd name="connsiteX86" fmla="*/ 337592 w 424582"/>
                <a:gd name="connsiteY86" fmla="*/ 365654 h 464224"/>
                <a:gd name="connsiteX87" fmla="*/ 324713 w 424582"/>
                <a:gd name="connsiteY87" fmla="*/ 351222 h 464224"/>
                <a:gd name="connsiteX88" fmla="*/ 318299 w 424582"/>
                <a:gd name="connsiteY88" fmla="*/ 348416 h 464224"/>
                <a:gd name="connsiteX89" fmla="*/ 316395 w 424582"/>
                <a:gd name="connsiteY89" fmla="*/ 347313 h 464224"/>
                <a:gd name="connsiteX90" fmla="*/ 314792 w 424582"/>
                <a:gd name="connsiteY90" fmla="*/ 346512 h 464224"/>
                <a:gd name="connsiteX91" fmla="*/ 314942 w 424582"/>
                <a:gd name="connsiteY91" fmla="*/ 344708 h 464224"/>
                <a:gd name="connsiteX92" fmla="*/ 315744 w 424582"/>
                <a:gd name="connsiteY92" fmla="*/ 335487 h 464224"/>
                <a:gd name="connsiteX93" fmla="*/ 304920 w 424582"/>
                <a:gd name="connsiteY93" fmla="*/ 327620 h 464224"/>
                <a:gd name="connsiteX94" fmla="*/ 304820 w 424582"/>
                <a:gd name="connsiteY94" fmla="*/ 326417 h 464224"/>
                <a:gd name="connsiteX95" fmla="*/ 304519 w 424582"/>
                <a:gd name="connsiteY95" fmla="*/ 323912 h 464224"/>
                <a:gd name="connsiteX96" fmla="*/ 304269 w 424582"/>
                <a:gd name="connsiteY96" fmla="*/ 318400 h 464224"/>
                <a:gd name="connsiteX97" fmla="*/ 305070 w 424582"/>
                <a:gd name="connsiteY97" fmla="*/ 312637 h 464224"/>
                <a:gd name="connsiteX98" fmla="*/ 309630 w 424582"/>
                <a:gd name="connsiteY98" fmla="*/ 283222 h 464224"/>
                <a:gd name="connsiteX99" fmla="*/ 305772 w 424582"/>
                <a:gd name="connsiteY99" fmla="*/ 257717 h 464224"/>
                <a:gd name="connsiteX100" fmla="*/ 292192 w 424582"/>
                <a:gd name="connsiteY100" fmla="*/ 229855 h 464224"/>
                <a:gd name="connsiteX101" fmla="*/ 300410 w 424582"/>
                <a:gd name="connsiteY101" fmla="*/ 206704 h 464224"/>
                <a:gd name="connsiteX102" fmla="*/ 306022 w 424582"/>
                <a:gd name="connsiteY102" fmla="*/ 203748 h 464224"/>
                <a:gd name="connsiteX103" fmla="*/ 318149 w 424582"/>
                <a:gd name="connsiteY103" fmla="*/ 196382 h 464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424582" h="464224">
                  <a:moveTo>
                    <a:pt x="318149" y="196181"/>
                  </a:moveTo>
                  <a:cubicBezTo>
                    <a:pt x="328221" y="187763"/>
                    <a:pt x="338093" y="186059"/>
                    <a:pt x="349217" y="190769"/>
                  </a:cubicBezTo>
                  <a:cubicBezTo>
                    <a:pt x="358939" y="194878"/>
                    <a:pt x="368610" y="193676"/>
                    <a:pt x="377980" y="187161"/>
                  </a:cubicBezTo>
                  <a:cubicBezTo>
                    <a:pt x="380185" y="185658"/>
                    <a:pt x="382390" y="184105"/>
                    <a:pt x="384595" y="182601"/>
                  </a:cubicBezTo>
                  <a:lnTo>
                    <a:pt x="388454" y="179946"/>
                  </a:lnTo>
                  <a:cubicBezTo>
                    <a:pt x="391410" y="158198"/>
                    <a:pt x="387351" y="142914"/>
                    <a:pt x="375325" y="130387"/>
                  </a:cubicBezTo>
                  <a:lnTo>
                    <a:pt x="373771" y="128783"/>
                  </a:lnTo>
                  <a:lnTo>
                    <a:pt x="375024" y="126979"/>
                  </a:lnTo>
                  <a:cubicBezTo>
                    <a:pt x="386650" y="110443"/>
                    <a:pt x="401432" y="97565"/>
                    <a:pt x="417016" y="83985"/>
                  </a:cubicBezTo>
                  <a:cubicBezTo>
                    <a:pt x="419522" y="81780"/>
                    <a:pt x="422077" y="79575"/>
                    <a:pt x="424583" y="77370"/>
                  </a:cubicBezTo>
                  <a:cubicBezTo>
                    <a:pt x="424082" y="74464"/>
                    <a:pt x="423581" y="71557"/>
                    <a:pt x="423080" y="68651"/>
                  </a:cubicBezTo>
                  <a:cubicBezTo>
                    <a:pt x="421777" y="60934"/>
                    <a:pt x="420524" y="53618"/>
                    <a:pt x="418820" y="46352"/>
                  </a:cubicBezTo>
                  <a:cubicBezTo>
                    <a:pt x="417818" y="41942"/>
                    <a:pt x="417618" y="37432"/>
                    <a:pt x="417417" y="33073"/>
                  </a:cubicBezTo>
                  <a:cubicBezTo>
                    <a:pt x="417116" y="26358"/>
                    <a:pt x="416866" y="19994"/>
                    <a:pt x="413859" y="13981"/>
                  </a:cubicBezTo>
                  <a:cubicBezTo>
                    <a:pt x="407245" y="14732"/>
                    <a:pt x="400680" y="16436"/>
                    <a:pt x="394316" y="18040"/>
                  </a:cubicBezTo>
                  <a:cubicBezTo>
                    <a:pt x="382841" y="20996"/>
                    <a:pt x="371015" y="24053"/>
                    <a:pt x="358488" y="21648"/>
                  </a:cubicBezTo>
                  <a:cubicBezTo>
                    <a:pt x="342402" y="18641"/>
                    <a:pt x="323962" y="13680"/>
                    <a:pt x="307876" y="0"/>
                  </a:cubicBezTo>
                  <a:cubicBezTo>
                    <a:pt x="306223" y="1403"/>
                    <a:pt x="304669" y="2706"/>
                    <a:pt x="303116" y="4009"/>
                  </a:cubicBezTo>
                  <a:cubicBezTo>
                    <a:pt x="298806" y="7617"/>
                    <a:pt x="294697" y="10974"/>
                    <a:pt x="291090" y="14632"/>
                  </a:cubicBezTo>
                  <a:cubicBezTo>
                    <a:pt x="284425" y="21297"/>
                    <a:pt x="276758" y="23351"/>
                    <a:pt x="267037" y="21197"/>
                  </a:cubicBezTo>
                  <a:cubicBezTo>
                    <a:pt x="265082" y="20746"/>
                    <a:pt x="263078" y="20195"/>
                    <a:pt x="261124" y="19643"/>
                  </a:cubicBezTo>
                  <a:cubicBezTo>
                    <a:pt x="255161" y="17940"/>
                    <a:pt x="249498" y="16386"/>
                    <a:pt x="243535" y="17940"/>
                  </a:cubicBezTo>
                  <a:cubicBezTo>
                    <a:pt x="240528" y="21347"/>
                    <a:pt x="240579" y="24404"/>
                    <a:pt x="243736" y="28563"/>
                  </a:cubicBezTo>
                  <a:cubicBezTo>
                    <a:pt x="244287" y="29315"/>
                    <a:pt x="244938" y="30066"/>
                    <a:pt x="245590" y="30818"/>
                  </a:cubicBezTo>
                  <a:cubicBezTo>
                    <a:pt x="248897" y="34776"/>
                    <a:pt x="253457" y="40138"/>
                    <a:pt x="249348" y="47755"/>
                  </a:cubicBezTo>
                  <a:lnTo>
                    <a:pt x="248947" y="48557"/>
                  </a:lnTo>
                  <a:lnTo>
                    <a:pt x="248145" y="48958"/>
                  </a:lnTo>
                  <a:cubicBezTo>
                    <a:pt x="242132" y="51764"/>
                    <a:pt x="235868" y="51563"/>
                    <a:pt x="229805" y="51363"/>
                  </a:cubicBezTo>
                  <a:cubicBezTo>
                    <a:pt x="223742" y="51163"/>
                    <a:pt x="217979" y="50962"/>
                    <a:pt x="212918" y="53768"/>
                  </a:cubicBezTo>
                  <a:lnTo>
                    <a:pt x="212767" y="55021"/>
                  </a:lnTo>
                  <a:cubicBezTo>
                    <a:pt x="212567" y="56875"/>
                    <a:pt x="212417" y="58529"/>
                    <a:pt x="212116" y="60132"/>
                  </a:cubicBezTo>
                  <a:cubicBezTo>
                    <a:pt x="206404" y="91200"/>
                    <a:pt x="189266" y="112397"/>
                    <a:pt x="161054" y="123121"/>
                  </a:cubicBezTo>
                  <a:cubicBezTo>
                    <a:pt x="153387" y="126027"/>
                    <a:pt x="146522" y="125325"/>
                    <a:pt x="138705" y="120766"/>
                  </a:cubicBezTo>
                  <a:cubicBezTo>
                    <a:pt x="122319" y="111194"/>
                    <a:pt x="108739" y="100621"/>
                    <a:pt x="97264" y="88444"/>
                  </a:cubicBezTo>
                  <a:cubicBezTo>
                    <a:pt x="91651" y="82481"/>
                    <a:pt x="85137" y="79675"/>
                    <a:pt x="76117" y="79375"/>
                  </a:cubicBezTo>
                  <a:cubicBezTo>
                    <a:pt x="66947" y="79074"/>
                    <a:pt x="57727" y="78021"/>
                    <a:pt x="47955" y="76869"/>
                  </a:cubicBezTo>
                  <a:cubicBezTo>
                    <a:pt x="43896" y="76418"/>
                    <a:pt x="39687" y="75917"/>
                    <a:pt x="35328" y="75466"/>
                  </a:cubicBezTo>
                  <a:cubicBezTo>
                    <a:pt x="32171" y="78372"/>
                    <a:pt x="28513" y="80928"/>
                    <a:pt x="24604" y="83584"/>
                  </a:cubicBezTo>
                  <a:cubicBezTo>
                    <a:pt x="18140" y="88043"/>
                    <a:pt x="11475" y="92604"/>
                    <a:pt x="6865" y="99419"/>
                  </a:cubicBezTo>
                  <a:cubicBezTo>
                    <a:pt x="18390" y="112247"/>
                    <a:pt x="18841" y="112447"/>
                    <a:pt x="31469" y="117258"/>
                  </a:cubicBezTo>
                  <a:cubicBezTo>
                    <a:pt x="33474" y="118010"/>
                    <a:pt x="35328" y="118711"/>
                    <a:pt x="37182" y="119362"/>
                  </a:cubicBezTo>
                  <a:cubicBezTo>
                    <a:pt x="47103" y="122970"/>
                    <a:pt x="57376" y="126729"/>
                    <a:pt x="65744" y="133744"/>
                  </a:cubicBezTo>
                  <a:lnTo>
                    <a:pt x="66797" y="134596"/>
                  </a:lnTo>
                  <a:lnTo>
                    <a:pt x="66697" y="135949"/>
                  </a:lnTo>
                  <a:cubicBezTo>
                    <a:pt x="65744" y="150832"/>
                    <a:pt x="64492" y="153137"/>
                    <a:pt x="47454" y="170976"/>
                  </a:cubicBezTo>
                  <a:lnTo>
                    <a:pt x="45951" y="172529"/>
                  </a:lnTo>
                  <a:lnTo>
                    <a:pt x="44097" y="171377"/>
                  </a:lnTo>
                  <a:cubicBezTo>
                    <a:pt x="33975" y="165113"/>
                    <a:pt x="22600" y="158047"/>
                    <a:pt x="9621" y="156093"/>
                  </a:cubicBezTo>
                  <a:lnTo>
                    <a:pt x="0" y="180396"/>
                  </a:lnTo>
                  <a:lnTo>
                    <a:pt x="10573" y="184906"/>
                  </a:lnTo>
                  <a:cubicBezTo>
                    <a:pt x="22650" y="190068"/>
                    <a:pt x="34075" y="194928"/>
                    <a:pt x="45600" y="200140"/>
                  </a:cubicBezTo>
                  <a:cubicBezTo>
                    <a:pt x="51664" y="202846"/>
                    <a:pt x="58629" y="206153"/>
                    <a:pt x="64592" y="210763"/>
                  </a:cubicBezTo>
                  <a:cubicBezTo>
                    <a:pt x="78322" y="221337"/>
                    <a:pt x="80627" y="236169"/>
                    <a:pt x="70906" y="251453"/>
                  </a:cubicBezTo>
                  <a:cubicBezTo>
                    <a:pt x="67799" y="256313"/>
                    <a:pt x="66797" y="260222"/>
                    <a:pt x="67298" y="265032"/>
                  </a:cubicBezTo>
                  <a:cubicBezTo>
                    <a:pt x="67849" y="269943"/>
                    <a:pt x="67198" y="274654"/>
                    <a:pt x="65544" y="278011"/>
                  </a:cubicBezTo>
                  <a:cubicBezTo>
                    <a:pt x="62136" y="284876"/>
                    <a:pt x="63038" y="291140"/>
                    <a:pt x="68651" y="299659"/>
                  </a:cubicBezTo>
                  <a:cubicBezTo>
                    <a:pt x="69753" y="301362"/>
                    <a:pt x="70755" y="303166"/>
                    <a:pt x="71758" y="304970"/>
                  </a:cubicBezTo>
                  <a:cubicBezTo>
                    <a:pt x="74814" y="310583"/>
                    <a:pt x="77470" y="315443"/>
                    <a:pt x="83985" y="316946"/>
                  </a:cubicBezTo>
                  <a:cubicBezTo>
                    <a:pt x="86690" y="317548"/>
                    <a:pt x="89196" y="318751"/>
                    <a:pt x="91651" y="319853"/>
                  </a:cubicBezTo>
                  <a:cubicBezTo>
                    <a:pt x="92704" y="320354"/>
                    <a:pt x="93806" y="320855"/>
                    <a:pt x="94959" y="321356"/>
                  </a:cubicBezTo>
                  <a:lnTo>
                    <a:pt x="96963" y="322208"/>
                  </a:lnTo>
                  <a:lnTo>
                    <a:pt x="96562" y="324363"/>
                  </a:lnTo>
                  <a:cubicBezTo>
                    <a:pt x="95660" y="329023"/>
                    <a:pt x="93856" y="333232"/>
                    <a:pt x="92102" y="337291"/>
                  </a:cubicBezTo>
                  <a:cubicBezTo>
                    <a:pt x="89046" y="344407"/>
                    <a:pt x="86390" y="350570"/>
                    <a:pt x="88845" y="358037"/>
                  </a:cubicBezTo>
                  <a:lnTo>
                    <a:pt x="115103" y="380787"/>
                  </a:lnTo>
                  <a:cubicBezTo>
                    <a:pt x="116105" y="380586"/>
                    <a:pt x="117107" y="380386"/>
                    <a:pt x="118059" y="380186"/>
                  </a:cubicBezTo>
                  <a:cubicBezTo>
                    <a:pt x="120665" y="379684"/>
                    <a:pt x="123121" y="379183"/>
                    <a:pt x="125426" y="378482"/>
                  </a:cubicBezTo>
                  <a:cubicBezTo>
                    <a:pt x="135397" y="375475"/>
                    <a:pt x="147173" y="371817"/>
                    <a:pt x="159150" y="367808"/>
                  </a:cubicBezTo>
                  <a:cubicBezTo>
                    <a:pt x="162006" y="366856"/>
                    <a:pt x="164712" y="366405"/>
                    <a:pt x="167468" y="366405"/>
                  </a:cubicBezTo>
                  <a:cubicBezTo>
                    <a:pt x="172178" y="366405"/>
                    <a:pt x="176788" y="367808"/>
                    <a:pt x="181599" y="370715"/>
                  </a:cubicBezTo>
                  <a:cubicBezTo>
                    <a:pt x="202345" y="383192"/>
                    <a:pt x="222589" y="398476"/>
                    <a:pt x="229955" y="425535"/>
                  </a:cubicBezTo>
                  <a:cubicBezTo>
                    <a:pt x="231559" y="431348"/>
                    <a:pt x="234415" y="437111"/>
                    <a:pt x="237171" y="442623"/>
                  </a:cubicBezTo>
                  <a:cubicBezTo>
                    <a:pt x="238223" y="444677"/>
                    <a:pt x="239226" y="446782"/>
                    <a:pt x="240228" y="448886"/>
                  </a:cubicBezTo>
                  <a:lnTo>
                    <a:pt x="240579" y="449638"/>
                  </a:lnTo>
                  <a:cubicBezTo>
                    <a:pt x="242032" y="452795"/>
                    <a:pt x="243585" y="456052"/>
                    <a:pt x="245640" y="458507"/>
                  </a:cubicBezTo>
                  <a:cubicBezTo>
                    <a:pt x="250400" y="464070"/>
                    <a:pt x="254760" y="465573"/>
                    <a:pt x="258568" y="463018"/>
                  </a:cubicBezTo>
                  <a:cubicBezTo>
                    <a:pt x="264381" y="459109"/>
                    <a:pt x="270244" y="459861"/>
                    <a:pt x="275405" y="460462"/>
                  </a:cubicBezTo>
                  <a:cubicBezTo>
                    <a:pt x="277309" y="460712"/>
                    <a:pt x="279063" y="460913"/>
                    <a:pt x="280817" y="460913"/>
                  </a:cubicBezTo>
                  <a:lnTo>
                    <a:pt x="293495" y="439816"/>
                  </a:lnTo>
                  <a:lnTo>
                    <a:pt x="301763" y="439416"/>
                  </a:lnTo>
                  <a:cubicBezTo>
                    <a:pt x="306574" y="439165"/>
                    <a:pt x="311384" y="438965"/>
                    <a:pt x="316145" y="438814"/>
                  </a:cubicBezTo>
                  <a:cubicBezTo>
                    <a:pt x="321156" y="438714"/>
                    <a:pt x="326217" y="438764"/>
                    <a:pt x="330576" y="438814"/>
                  </a:cubicBezTo>
                  <a:lnTo>
                    <a:pt x="334385" y="438814"/>
                  </a:lnTo>
                  <a:cubicBezTo>
                    <a:pt x="367808" y="406042"/>
                    <a:pt x="369462" y="404338"/>
                    <a:pt x="370965" y="390007"/>
                  </a:cubicBezTo>
                  <a:cubicBezTo>
                    <a:pt x="369462" y="389606"/>
                    <a:pt x="367908" y="389256"/>
                    <a:pt x="366405" y="388905"/>
                  </a:cubicBezTo>
                  <a:cubicBezTo>
                    <a:pt x="361143" y="387652"/>
                    <a:pt x="355681" y="386349"/>
                    <a:pt x="350520" y="384294"/>
                  </a:cubicBezTo>
                  <a:cubicBezTo>
                    <a:pt x="344407" y="381839"/>
                    <a:pt x="336489" y="377279"/>
                    <a:pt x="337592" y="365654"/>
                  </a:cubicBezTo>
                  <a:cubicBezTo>
                    <a:pt x="338394" y="357335"/>
                    <a:pt x="334284" y="352725"/>
                    <a:pt x="324713" y="351222"/>
                  </a:cubicBezTo>
                  <a:cubicBezTo>
                    <a:pt x="322258" y="350821"/>
                    <a:pt x="320153" y="349568"/>
                    <a:pt x="318299" y="348416"/>
                  </a:cubicBezTo>
                  <a:cubicBezTo>
                    <a:pt x="317648" y="348015"/>
                    <a:pt x="316996" y="347614"/>
                    <a:pt x="316395" y="347313"/>
                  </a:cubicBezTo>
                  <a:lnTo>
                    <a:pt x="314792" y="346512"/>
                  </a:lnTo>
                  <a:lnTo>
                    <a:pt x="314942" y="344708"/>
                  </a:lnTo>
                  <a:cubicBezTo>
                    <a:pt x="315243" y="341050"/>
                    <a:pt x="315493" y="338243"/>
                    <a:pt x="315744" y="335487"/>
                  </a:cubicBezTo>
                  <a:lnTo>
                    <a:pt x="304920" y="327620"/>
                  </a:lnTo>
                  <a:lnTo>
                    <a:pt x="304820" y="326417"/>
                  </a:lnTo>
                  <a:cubicBezTo>
                    <a:pt x="304770" y="325515"/>
                    <a:pt x="304619" y="324714"/>
                    <a:pt x="304519" y="323912"/>
                  </a:cubicBezTo>
                  <a:cubicBezTo>
                    <a:pt x="304269" y="322108"/>
                    <a:pt x="304018" y="320254"/>
                    <a:pt x="304269" y="318400"/>
                  </a:cubicBezTo>
                  <a:lnTo>
                    <a:pt x="305070" y="312637"/>
                  </a:lnTo>
                  <a:cubicBezTo>
                    <a:pt x="306373" y="302966"/>
                    <a:pt x="307726" y="292994"/>
                    <a:pt x="309630" y="283222"/>
                  </a:cubicBezTo>
                  <a:cubicBezTo>
                    <a:pt x="311434" y="273952"/>
                    <a:pt x="310182" y="265834"/>
                    <a:pt x="305772" y="257717"/>
                  </a:cubicBezTo>
                  <a:cubicBezTo>
                    <a:pt x="300661" y="248296"/>
                    <a:pt x="296101" y="238925"/>
                    <a:pt x="292192" y="229855"/>
                  </a:cubicBezTo>
                  <a:cubicBezTo>
                    <a:pt x="288083" y="220234"/>
                    <a:pt x="290989" y="211966"/>
                    <a:pt x="300410" y="206704"/>
                  </a:cubicBezTo>
                  <a:cubicBezTo>
                    <a:pt x="302264" y="205652"/>
                    <a:pt x="304118" y="204700"/>
                    <a:pt x="306022" y="203748"/>
                  </a:cubicBezTo>
                  <a:cubicBezTo>
                    <a:pt x="310432" y="201443"/>
                    <a:pt x="314641" y="199288"/>
                    <a:pt x="318149" y="19638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FAFBC635-4987-4EFA-A919-7D0F499D1486}"/>
                </a:ext>
              </a:extLst>
            </p:cNvPr>
            <p:cNvSpPr/>
            <p:nvPr/>
          </p:nvSpPr>
          <p:spPr>
            <a:xfrm>
              <a:off x="5042500" y="5512637"/>
              <a:ext cx="516382" cy="502158"/>
            </a:xfrm>
            <a:custGeom>
              <a:avLst/>
              <a:gdLst>
                <a:gd name="connsiteX0" fmla="*/ 381188 w 414059"/>
                <a:gd name="connsiteY0" fmla="*/ 324515 h 402653"/>
                <a:gd name="connsiteX1" fmla="*/ 377279 w 414059"/>
                <a:gd name="connsiteY1" fmla="*/ 322460 h 402653"/>
                <a:gd name="connsiteX2" fmla="*/ 369261 w 414059"/>
                <a:gd name="connsiteY2" fmla="*/ 310584 h 402653"/>
                <a:gd name="connsiteX3" fmla="*/ 375525 w 414059"/>
                <a:gd name="connsiteY3" fmla="*/ 299009 h 402653"/>
                <a:gd name="connsiteX4" fmla="*/ 380436 w 414059"/>
                <a:gd name="connsiteY4" fmla="*/ 295401 h 402653"/>
                <a:gd name="connsiteX5" fmla="*/ 409049 w 414059"/>
                <a:gd name="connsiteY5" fmla="*/ 279967 h 402653"/>
                <a:gd name="connsiteX6" fmla="*/ 413058 w 414059"/>
                <a:gd name="connsiteY6" fmla="*/ 277512 h 402653"/>
                <a:gd name="connsiteX7" fmla="*/ 414060 w 414059"/>
                <a:gd name="connsiteY7" fmla="*/ 276760 h 402653"/>
                <a:gd name="connsiteX8" fmla="*/ 397624 w 414059"/>
                <a:gd name="connsiteY8" fmla="*/ 261577 h 402653"/>
                <a:gd name="connsiteX9" fmla="*/ 395619 w 414059"/>
                <a:gd name="connsiteY9" fmla="*/ 234367 h 402653"/>
                <a:gd name="connsiteX10" fmla="*/ 394717 w 414059"/>
                <a:gd name="connsiteY10" fmla="*/ 232663 h 402653"/>
                <a:gd name="connsiteX11" fmla="*/ 394316 w 414059"/>
                <a:gd name="connsiteY11" fmla="*/ 231911 h 402653"/>
                <a:gd name="connsiteX12" fmla="*/ 377530 w 414059"/>
                <a:gd name="connsiteY12" fmla="*/ 195181 h 402653"/>
                <a:gd name="connsiteX13" fmla="*/ 375275 w 414059"/>
                <a:gd name="connsiteY13" fmla="*/ 175036 h 402653"/>
                <a:gd name="connsiteX14" fmla="*/ 371567 w 414059"/>
                <a:gd name="connsiteY14" fmla="*/ 167921 h 402653"/>
                <a:gd name="connsiteX15" fmla="*/ 370264 w 414059"/>
                <a:gd name="connsiteY15" fmla="*/ 165866 h 402653"/>
                <a:gd name="connsiteX16" fmla="*/ 351322 w 414059"/>
                <a:gd name="connsiteY16" fmla="*/ 172932 h 402653"/>
                <a:gd name="connsiteX17" fmla="*/ 350771 w 414059"/>
                <a:gd name="connsiteY17" fmla="*/ 172932 h 402653"/>
                <a:gd name="connsiteX18" fmla="*/ 295399 w 414059"/>
                <a:gd name="connsiteY18" fmla="*/ 127482 h 402653"/>
                <a:gd name="connsiteX19" fmla="*/ 294748 w 414059"/>
                <a:gd name="connsiteY19" fmla="*/ 125528 h 402653"/>
                <a:gd name="connsiteX20" fmla="*/ 296502 w 414059"/>
                <a:gd name="connsiteY20" fmla="*/ 124425 h 402653"/>
                <a:gd name="connsiteX21" fmla="*/ 315042 w 414059"/>
                <a:gd name="connsiteY21" fmla="*/ 81882 h 402653"/>
                <a:gd name="connsiteX22" fmla="*/ 315243 w 414059"/>
                <a:gd name="connsiteY22" fmla="*/ 79126 h 402653"/>
                <a:gd name="connsiteX23" fmla="*/ 316245 w 414059"/>
                <a:gd name="connsiteY23" fmla="*/ 78424 h 402653"/>
                <a:gd name="connsiteX24" fmla="*/ 325315 w 414059"/>
                <a:gd name="connsiteY24" fmla="*/ 71910 h 402653"/>
                <a:gd name="connsiteX25" fmla="*/ 342252 w 414059"/>
                <a:gd name="connsiteY25" fmla="*/ 59182 h 402653"/>
                <a:gd name="connsiteX26" fmla="*/ 348967 w 414059"/>
                <a:gd name="connsiteY26" fmla="*/ 37584 h 402653"/>
                <a:gd name="connsiteX27" fmla="*/ 339596 w 414059"/>
                <a:gd name="connsiteY27" fmla="*/ 32373 h 402653"/>
                <a:gd name="connsiteX28" fmla="*/ 320354 w 414059"/>
                <a:gd name="connsiteY28" fmla="*/ 21599 h 402653"/>
                <a:gd name="connsiteX29" fmla="*/ 286079 w 414059"/>
                <a:gd name="connsiteY29" fmla="*/ 12078 h 402653"/>
                <a:gd name="connsiteX30" fmla="*/ 283623 w 414059"/>
                <a:gd name="connsiteY30" fmla="*/ 9723 h 402653"/>
                <a:gd name="connsiteX31" fmla="*/ 281018 w 414059"/>
                <a:gd name="connsiteY31" fmla="*/ 7218 h 402653"/>
                <a:gd name="connsiteX32" fmla="*/ 254660 w 414059"/>
                <a:gd name="connsiteY32" fmla="*/ 4261 h 402653"/>
                <a:gd name="connsiteX33" fmla="*/ 247544 w 414059"/>
                <a:gd name="connsiteY33" fmla="*/ 21399 h 402653"/>
                <a:gd name="connsiteX34" fmla="*/ 250751 w 414059"/>
                <a:gd name="connsiteY34" fmla="*/ 31571 h 402653"/>
                <a:gd name="connsiteX35" fmla="*/ 252405 w 414059"/>
                <a:gd name="connsiteY35" fmla="*/ 36532 h 402653"/>
                <a:gd name="connsiteX36" fmla="*/ 252856 w 414059"/>
                <a:gd name="connsiteY36" fmla="*/ 37985 h 402653"/>
                <a:gd name="connsiteX37" fmla="*/ 249097 w 414059"/>
                <a:gd name="connsiteY37" fmla="*/ 42445 h 402653"/>
                <a:gd name="connsiteX38" fmla="*/ 228652 w 414059"/>
                <a:gd name="connsiteY38" fmla="*/ 60435 h 402653"/>
                <a:gd name="connsiteX39" fmla="*/ 227600 w 414059"/>
                <a:gd name="connsiteY39" fmla="*/ 60886 h 402653"/>
                <a:gd name="connsiteX40" fmla="*/ 226548 w 414059"/>
                <a:gd name="connsiteY40" fmla="*/ 60435 h 402653"/>
                <a:gd name="connsiteX41" fmla="*/ 220134 w 414059"/>
                <a:gd name="connsiteY41" fmla="*/ 57278 h 402653"/>
                <a:gd name="connsiteX42" fmla="*/ 209560 w 414059"/>
                <a:gd name="connsiteY42" fmla="*/ 53419 h 402653"/>
                <a:gd name="connsiteX43" fmla="*/ 208759 w 414059"/>
                <a:gd name="connsiteY43" fmla="*/ 53419 h 402653"/>
                <a:gd name="connsiteX44" fmla="*/ 172980 w 414059"/>
                <a:gd name="connsiteY44" fmla="*/ 42195 h 402653"/>
                <a:gd name="connsiteX45" fmla="*/ 155141 w 414059"/>
                <a:gd name="connsiteY45" fmla="*/ 71409 h 402653"/>
                <a:gd name="connsiteX46" fmla="*/ 153387 w 414059"/>
                <a:gd name="connsiteY46" fmla="*/ 71158 h 402653"/>
                <a:gd name="connsiteX47" fmla="*/ 126578 w 414059"/>
                <a:gd name="connsiteY47" fmla="*/ 81431 h 402653"/>
                <a:gd name="connsiteX48" fmla="*/ 103227 w 414059"/>
                <a:gd name="connsiteY48" fmla="*/ 90250 h 402653"/>
                <a:gd name="connsiteX49" fmla="*/ 85939 w 414059"/>
                <a:gd name="connsiteY49" fmla="*/ 90250 h 402653"/>
                <a:gd name="connsiteX50" fmla="*/ 63039 w 414059"/>
                <a:gd name="connsiteY50" fmla="*/ 90150 h 402653"/>
                <a:gd name="connsiteX51" fmla="*/ 33925 w 414059"/>
                <a:gd name="connsiteY51" fmla="*/ 99871 h 402653"/>
                <a:gd name="connsiteX52" fmla="*/ 26608 w 414059"/>
                <a:gd name="connsiteY52" fmla="*/ 105634 h 402653"/>
                <a:gd name="connsiteX53" fmla="*/ 22349 w 414059"/>
                <a:gd name="connsiteY53" fmla="*/ 109092 h 402653"/>
                <a:gd name="connsiteX54" fmla="*/ 20946 w 414059"/>
                <a:gd name="connsiteY54" fmla="*/ 108590 h 402653"/>
                <a:gd name="connsiteX55" fmla="*/ 15033 w 414059"/>
                <a:gd name="connsiteY55" fmla="*/ 106386 h 402653"/>
                <a:gd name="connsiteX56" fmla="*/ 4660 w 414059"/>
                <a:gd name="connsiteY56" fmla="*/ 102778 h 402653"/>
                <a:gd name="connsiteX57" fmla="*/ 1403 w 414059"/>
                <a:gd name="connsiteY57" fmla="*/ 102878 h 402653"/>
                <a:gd name="connsiteX58" fmla="*/ 0 w 414059"/>
                <a:gd name="connsiteY58" fmla="*/ 105784 h 402653"/>
                <a:gd name="connsiteX59" fmla="*/ 3658 w 414059"/>
                <a:gd name="connsiteY59" fmla="*/ 109843 h 402653"/>
                <a:gd name="connsiteX60" fmla="*/ 14632 w 414059"/>
                <a:gd name="connsiteY60" fmla="*/ 121068 h 402653"/>
                <a:gd name="connsiteX61" fmla="*/ 29214 w 414059"/>
                <a:gd name="connsiteY61" fmla="*/ 156746 h 402653"/>
                <a:gd name="connsiteX62" fmla="*/ 28813 w 414059"/>
                <a:gd name="connsiteY62" fmla="*/ 164213 h 402653"/>
                <a:gd name="connsiteX63" fmla="*/ 28262 w 414059"/>
                <a:gd name="connsiteY63" fmla="*/ 173233 h 402653"/>
                <a:gd name="connsiteX64" fmla="*/ 26007 w 414059"/>
                <a:gd name="connsiteY64" fmla="*/ 178694 h 402653"/>
                <a:gd name="connsiteX65" fmla="*/ 24905 w 414059"/>
                <a:gd name="connsiteY65" fmla="*/ 180649 h 402653"/>
                <a:gd name="connsiteX66" fmla="*/ 24353 w 414059"/>
                <a:gd name="connsiteY66" fmla="*/ 181801 h 402653"/>
                <a:gd name="connsiteX67" fmla="*/ 6063 w 414059"/>
                <a:gd name="connsiteY67" fmla="*/ 185810 h 402653"/>
                <a:gd name="connsiteX68" fmla="*/ 6564 w 414059"/>
                <a:gd name="connsiteY68" fmla="*/ 187514 h 402653"/>
                <a:gd name="connsiteX69" fmla="*/ 24955 w 414059"/>
                <a:gd name="connsiteY69" fmla="*/ 227702 h 402653"/>
                <a:gd name="connsiteX70" fmla="*/ 59531 w 414059"/>
                <a:gd name="connsiteY70" fmla="*/ 295451 h 402653"/>
                <a:gd name="connsiteX71" fmla="*/ 59531 w 414059"/>
                <a:gd name="connsiteY71" fmla="*/ 295451 h 402653"/>
                <a:gd name="connsiteX72" fmla="*/ 61936 w 414059"/>
                <a:gd name="connsiteY72" fmla="*/ 302416 h 402653"/>
                <a:gd name="connsiteX73" fmla="*/ 63389 w 414059"/>
                <a:gd name="connsiteY73" fmla="*/ 306375 h 402653"/>
                <a:gd name="connsiteX74" fmla="*/ 76418 w 414059"/>
                <a:gd name="connsiteY74" fmla="*/ 318652 h 402653"/>
                <a:gd name="connsiteX75" fmla="*/ 102225 w 414059"/>
                <a:gd name="connsiteY75" fmla="*/ 331380 h 402653"/>
                <a:gd name="connsiteX76" fmla="*/ 117859 w 414059"/>
                <a:gd name="connsiteY76" fmla="*/ 333735 h 402653"/>
                <a:gd name="connsiteX77" fmla="*/ 156544 w 414059"/>
                <a:gd name="connsiteY77" fmla="*/ 322861 h 402653"/>
                <a:gd name="connsiteX78" fmla="*/ 167518 w 414059"/>
                <a:gd name="connsiteY78" fmla="*/ 320707 h 402653"/>
                <a:gd name="connsiteX79" fmla="*/ 171427 w 414059"/>
                <a:gd name="connsiteY79" fmla="*/ 320055 h 402653"/>
                <a:gd name="connsiteX80" fmla="*/ 173080 w 414059"/>
                <a:gd name="connsiteY80" fmla="*/ 319754 h 402653"/>
                <a:gd name="connsiteX81" fmla="*/ 174082 w 414059"/>
                <a:gd name="connsiteY81" fmla="*/ 321158 h 402653"/>
                <a:gd name="connsiteX82" fmla="*/ 175385 w 414059"/>
                <a:gd name="connsiteY82" fmla="*/ 341302 h 402653"/>
                <a:gd name="connsiteX83" fmla="*/ 173481 w 414059"/>
                <a:gd name="connsiteY83" fmla="*/ 348217 h 402653"/>
                <a:gd name="connsiteX84" fmla="*/ 182250 w 414059"/>
                <a:gd name="connsiteY84" fmla="*/ 360244 h 402653"/>
                <a:gd name="connsiteX85" fmla="*/ 203096 w 414059"/>
                <a:gd name="connsiteY85" fmla="*/ 390159 h 402653"/>
                <a:gd name="connsiteX86" fmla="*/ 228202 w 414059"/>
                <a:gd name="connsiteY86" fmla="*/ 402436 h 402653"/>
                <a:gd name="connsiteX87" fmla="*/ 233814 w 414059"/>
                <a:gd name="connsiteY87" fmla="*/ 402286 h 402653"/>
                <a:gd name="connsiteX88" fmla="*/ 237772 w 414059"/>
                <a:gd name="connsiteY88" fmla="*/ 402286 h 402653"/>
                <a:gd name="connsiteX89" fmla="*/ 262727 w 414059"/>
                <a:gd name="connsiteY89" fmla="*/ 387704 h 402653"/>
                <a:gd name="connsiteX90" fmla="*/ 268590 w 414059"/>
                <a:gd name="connsiteY90" fmla="*/ 379536 h 402653"/>
                <a:gd name="connsiteX91" fmla="*/ 271597 w 414059"/>
                <a:gd name="connsiteY91" fmla="*/ 375727 h 402653"/>
                <a:gd name="connsiteX92" fmla="*/ 272599 w 414059"/>
                <a:gd name="connsiteY92" fmla="*/ 374375 h 402653"/>
                <a:gd name="connsiteX93" fmla="*/ 274253 w 414059"/>
                <a:gd name="connsiteY93" fmla="*/ 374725 h 402653"/>
                <a:gd name="connsiteX94" fmla="*/ 285327 w 414059"/>
                <a:gd name="connsiteY94" fmla="*/ 376980 h 402653"/>
                <a:gd name="connsiteX95" fmla="*/ 311685 w 414059"/>
                <a:gd name="connsiteY95" fmla="*/ 382041 h 402653"/>
                <a:gd name="connsiteX96" fmla="*/ 314742 w 414059"/>
                <a:gd name="connsiteY96" fmla="*/ 382543 h 402653"/>
                <a:gd name="connsiteX97" fmla="*/ 346812 w 414059"/>
                <a:gd name="connsiteY97" fmla="*/ 380889 h 402653"/>
                <a:gd name="connsiteX98" fmla="*/ 376678 w 414059"/>
                <a:gd name="connsiteY98" fmla="*/ 377281 h 402653"/>
                <a:gd name="connsiteX99" fmla="*/ 380286 w 414059"/>
                <a:gd name="connsiteY99" fmla="*/ 371719 h 402653"/>
                <a:gd name="connsiteX100" fmla="*/ 390308 w 414059"/>
                <a:gd name="connsiteY100" fmla="*/ 356535 h 402653"/>
                <a:gd name="connsiteX101" fmla="*/ 388002 w 414059"/>
                <a:gd name="connsiteY101" fmla="*/ 329175 h 402653"/>
                <a:gd name="connsiteX102" fmla="*/ 381188 w 414059"/>
                <a:gd name="connsiteY102" fmla="*/ 324665 h 40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414059" h="402653">
                  <a:moveTo>
                    <a:pt x="381188" y="324515"/>
                  </a:moveTo>
                  <a:cubicBezTo>
                    <a:pt x="379835" y="323864"/>
                    <a:pt x="378532" y="323212"/>
                    <a:pt x="377279" y="322460"/>
                  </a:cubicBezTo>
                  <a:cubicBezTo>
                    <a:pt x="372368" y="319554"/>
                    <a:pt x="369462" y="315244"/>
                    <a:pt x="369261" y="310584"/>
                  </a:cubicBezTo>
                  <a:cubicBezTo>
                    <a:pt x="369061" y="306175"/>
                    <a:pt x="371316" y="302065"/>
                    <a:pt x="375525" y="299009"/>
                  </a:cubicBezTo>
                  <a:cubicBezTo>
                    <a:pt x="377179" y="297806"/>
                    <a:pt x="378833" y="296604"/>
                    <a:pt x="380436" y="295401"/>
                  </a:cubicBezTo>
                  <a:cubicBezTo>
                    <a:pt x="388955" y="289087"/>
                    <a:pt x="397824" y="282523"/>
                    <a:pt x="409049" y="279967"/>
                  </a:cubicBezTo>
                  <a:cubicBezTo>
                    <a:pt x="410101" y="279717"/>
                    <a:pt x="411404" y="278714"/>
                    <a:pt x="413058" y="277512"/>
                  </a:cubicBezTo>
                  <a:cubicBezTo>
                    <a:pt x="413358" y="277261"/>
                    <a:pt x="413709" y="277010"/>
                    <a:pt x="414060" y="276760"/>
                  </a:cubicBezTo>
                  <a:lnTo>
                    <a:pt x="397624" y="261577"/>
                  </a:lnTo>
                  <a:lnTo>
                    <a:pt x="395619" y="234367"/>
                  </a:lnTo>
                  <a:cubicBezTo>
                    <a:pt x="395218" y="233665"/>
                    <a:pt x="394968" y="233114"/>
                    <a:pt x="394717" y="232663"/>
                  </a:cubicBezTo>
                  <a:cubicBezTo>
                    <a:pt x="394567" y="232312"/>
                    <a:pt x="394417" y="232062"/>
                    <a:pt x="394316" y="231911"/>
                  </a:cubicBezTo>
                  <a:cubicBezTo>
                    <a:pt x="381789" y="222741"/>
                    <a:pt x="376177" y="210665"/>
                    <a:pt x="377530" y="195181"/>
                  </a:cubicBezTo>
                  <a:cubicBezTo>
                    <a:pt x="378131" y="188516"/>
                    <a:pt x="376728" y="181250"/>
                    <a:pt x="375275" y="175036"/>
                  </a:cubicBezTo>
                  <a:cubicBezTo>
                    <a:pt x="374723" y="172731"/>
                    <a:pt x="373220" y="170376"/>
                    <a:pt x="371567" y="167921"/>
                  </a:cubicBezTo>
                  <a:cubicBezTo>
                    <a:pt x="371115" y="167269"/>
                    <a:pt x="370665" y="166568"/>
                    <a:pt x="370264" y="165866"/>
                  </a:cubicBezTo>
                  <a:lnTo>
                    <a:pt x="351322" y="172932"/>
                  </a:lnTo>
                  <a:lnTo>
                    <a:pt x="350771" y="172932"/>
                  </a:lnTo>
                  <a:cubicBezTo>
                    <a:pt x="322258" y="171228"/>
                    <a:pt x="305221" y="157197"/>
                    <a:pt x="295399" y="127482"/>
                  </a:cubicBezTo>
                  <a:lnTo>
                    <a:pt x="294748" y="125528"/>
                  </a:lnTo>
                  <a:lnTo>
                    <a:pt x="296502" y="124425"/>
                  </a:lnTo>
                  <a:cubicBezTo>
                    <a:pt x="312437" y="114153"/>
                    <a:pt x="313789" y="97717"/>
                    <a:pt x="315042" y="81882"/>
                  </a:cubicBezTo>
                  <a:lnTo>
                    <a:pt x="315243" y="79126"/>
                  </a:lnTo>
                  <a:lnTo>
                    <a:pt x="316245" y="78424"/>
                  </a:lnTo>
                  <a:cubicBezTo>
                    <a:pt x="319402" y="76119"/>
                    <a:pt x="322409" y="73964"/>
                    <a:pt x="325315" y="71910"/>
                  </a:cubicBezTo>
                  <a:cubicBezTo>
                    <a:pt x="331328" y="67600"/>
                    <a:pt x="337041" y="63541"/>
                    <a:pt x="342252" y="59182"/>
                  </a:cubicBezTo>
                  <a:cubicBezTo>
                    <a:pt x="346812" y="55323"/>
                    <a:pt x="353577" y="47456"/>
                    <a:pt x="348967" y="37584"/>
                  </a:cubicBezTo>
                  <a:lnTo>
                    <a:pt x="339596" y="32373"/>
                  </a:lnTo>
                  <a:cubicBezTo>
                    <a:pt x="332932" y="28665"/>
                    <a:pt x="326718" y="25157"/>
                    <a:pt x="320354" y="21599"/>
                  </a:cubicBezTo>
                  <a:cubicBezTo>
                    <a:pt x="301011" y="25458"/>
                    <a:pt x="299859" y="25007"/>
                    <a:pt x="286079" y="12078"/>
                  </a:cubicBezTo>
                  <a:cubicBezTo>
                    <a:pt x="285277" y="11327"/>
                    <a:pt x="284475" y="10525"/>
                    <a:pt x="283623" y="9723"/>
                  </a:cubicBezTo>
                  <a:cubicBezTo>
                    <a:pt x="282771" y="8871"/>
                    <a:pt x="281919" y="8019"/>
                    <a:pt x="281018" y="7218"/>
                  </a:cubicBezTo>
                  <a:cubicBezTo>
                    <a:pt x="271496" y="-1451"/>
                    <a:pt x="265333" y="-2153"/>
                    <a:pt x="254660" y="4261"/>
                  </a:cubicBezTo>
                  <a:cubicBezTo>
                    <a:pt x="248295" y="8070"/>
                    <a:pt x="245790" y="14183"/>
                    <a:pt x="247544" y="21399"/>
                  </a:cubicBezTo>
                  <a:cubicBezTo>
                    <a:pt x="248396" y="24806"/>
                    <a:pt x="249548" y="28063"/>
                    <a:pt x="250751" y="31571"/>
                  </a:cubicBezTo>
                  <a:cubicBezTo>
                    <a:pt x="251302" y="33225"/>
                    <a:pt x="251904" y="34879"/>
                    <a:pt x="252405" y="36532"/>
                  </a:cubicBezTo>
                  <a:lnTo>
                    <a:pt x="252856" y="37985"/>
                  </a:lnTo>
                  <a:lnTo>
                    <a:pt x="249097" y="42445"/>
                  </a:lnTo>
                  <a:cubicBezTo>
                    <a:pt x="242934" y="49761"/>
                    <a:pt x="237121" y="56727"/>
                    <a:pt x="228652" y="60435"/>
                  </a:cubicBezTo>
                  <a:lnTo>
                    <a:pt x="227600" y="60886"/>
                  </a:lnTo>
                  <a:lnTo>
                    <a:pt x="226548" y="60435"/>
                  </a:lnTo>
                  <a:cubicBezTo>
                    <a:pt x="224293" y="59483"/>
                    <a:pt x="222188" y="58380"/>
                    <a:pt x="220134" y="57278"/>
                  </a:cubicBezTo>
                  <a:cubicBezTo>
                    <a:pt x="216175" y="55173"/>
                    <a:pt x="212868" y="53369"/>
                    <a:pt x="209560" y="53419"/>
                  </a:cubicBezTo>
                  <a:lnTo>
                    <a:pt x="208759" y="53419"/>
                  </a:lnTo>
                  <a:cubicBezTo>
                    <a:pt x="194477" y="53419"/>
                    <a:pt x="183052" y="49811"/>
                    <a:pt x="172980" y="42195"/>
                  </a:cubicBezTo>
                  <a:lnTo>
                    <a:pt x="155141" y="71409"/>
                  </a:lnTo>
                  <a:lnTo>
                    <a:pt x="153387" y="71158"/>
                  </a:lnTo>
                  <a:cubicBezTo>
                    <a:pt x="142613" y="69605"/>
                    <a:pt x="133594" y="73113"/>
                    <a:pt x="126578" y="81431"/>
                  </a:cubicBezTo>
                  <a:cubicBezTo>
                    <a:pt x="119813" y="89498"/>
                    <a:pt x="110443" y="90300"/>
                    <a:pt x="103227" y="90250"/>
                  </a:cubicBezTo>
                  <a:cubicBezTo>
                    <a:pt x="97464" y="90150"/>
                    <a:pt x="91701" y="90250"/>
                    <a:pt x="85939" y="90250"/>
                  </a:cubicBezTo>
                  <a:cubicBezTo>
                    <a:pt x="78422" y="90300"/>
                    <a:pt x="70705" y="90400"/>
                    <a:pt x="63039" y="90150"/>
                  </a:cubicBezTo>
                  <a:cubicBezTo>
                    <a:pt x="52766" y="89950"/>
                    <a:pt x="43546" y="92906"/>
                    <a:pt x="33925" y="99871"/>
                  </a:cubicBezTo>
                  <a:cubicBezTo>
                    <a:pt x="31369" y="101725"/>
                    <a:pt x="28964" y="103730"/>
                    <a:pt x="26608" y="105634"/>
                  </a:cubicBezTo>
                  <a:lnTo>
                    <a:pt x="22349" y="109092"/>
                  </a:lnTo>
                  <a:lnTo>
                    <a:pt x="20946" y="108590"/>
                  </a:lnTo>
                  <a:cubicBezTo>
                    <a:pt x="18841" y="107839"/>
                    <a:pt x="16887" y="107087"/>
                    <a:pt x="15033" y="106386"/>
                  </a:cubicBezTo>
                  <a:cubicBezTo>
                    <a:pt x="11425" y="105033"/>
                    <a:pt x="8018" y="103730"/>
                    <a:pt x="4660" y="102778"/>
                  </a:cubicBezTo>
                  <a:cubicBezTo>
                    <a:pt x="3658" y="102477"/>
                    <a:pt x="2255" y="102276"/>
                    <a:pt x="1403" y="102878"/>
                  </a:cubicBezTo>
                  <a:cubicBezTo>
                    <a:pt x="752" y="103329"/>
                    <a:pt x="250" y="104331"/>
                    <a:pt x="0" y="105784"/>
                  </a:cubicBezTo>
                  <a:cubicBezTo>
                    <a:pt x="1203" y="107087"/>
                    <a:pt x="2405" y="108440"/>
                    <a:pt x="3658" y="109843"/>
                  </a:cubicBezTo>
                  <a:cubicBezTo>
                    <a:pt x="7116" y="113702"/>
                    <a:pt x="10623" y="117710"/>
                    <a:pt x="14632" y="121068"/>
                  </a:cubicBezTo>
                  <a:cubicBezTo>
                    <a:pt x="25807" y="130489"/>
                    <a:pt x="30617" y="142164"/>
                    <a:pt x="29214" y="156746"/>
                  </a:cubicBezTo>
                  <a:cubicBezTo>
                    <a:pt x="28964" y="159252"/>
                    <a:pt x="28863" y="161757"/>
                    <a:pt x="28813" y="164213"/>
                  </a:cubicBezTo>
                  <a:cubicBezTo>
                    <a:pt x="28713" y="167169"/>
                    <a:pt x="28613" y="170226"/>
                    <a:pt x="28262" y="173233"/>
                  </a:cubicBezTo>
                  <a:cubicBezTo>
                    <a:pt x="28012" y="175287"/>
                    <a:pt x="27009" y="176991"/>
                    <a:pt x="26007" y="178694"/>
                  </a:cubicBezTo>
                  <a:cubicBezTo>
                    <a:pt x="25656" y="179296"/>
                    <a:pt x="25256" y="179947"/>
                    <a:pt x="24905" y="180649"/>
                  </a:cubicBezTo>
                  <a:lnTo>
                    <a:pt x="24353" y="181801"/>
                  </a:lnTo>
                  <a:lnTo>
                    <a:pt x="6063" y="185810"/>
                  </a:lnTo>
                  <a:lnTo>
                    <a:pt x="6564" y="187514"/>
                  </a:lnTo>
                  <a:cubicBezTo>
                    <a:pt x="11074" y="202447"/>
                    <a:pt x="15334" y="216578"/>
                    <a:pt x="24955" y="227702"/>
                  </a:cubicBezTo>
                  <a:cubicBezTo>
                    <a:pt x="41040" y="246293"/>
                    <a:pt x="52315" y="268442"/>
                    <a:pt x="59531" y="295451"/>
                  </a:cubicBezTo>
                  <a:lnTo>
                    <a:pt x="59531" y="295451"/>
                  </a:lnTo>
                  <a:cubicBezTo>
                    <a:pt x="60132" y="297806"/>
                    <a:pt x="60984" y="300061"/>
                    <a:pt x="61936" y="302416"/>
                  </a:cubicBezTo>
                  <a:cubicBezTo>
                    <a:pt x="62437" y="303719"/>
                    <a:pt x="62938" y="305022"/>
                    <a:pt x="63389" y="306375"/>
                  </a:cubicBezTo>
                  <a:cubicBezTo>
                    <a:pt x="65494" y="312488"/>
                    <a:pt x="69403" y="316197"/>
                    <a:pt x="76418" y="318652"/>
                  </a:cubicBezTo>
                  <a:cubicBezTo>
                    <a:pt x="85187" y="321759"/>
                    <a:pt x="93856" y="326068"/>
                    <a:pt x="102225" y="331380"/>
                  </a:cubicBezTo>
                  <a:cubicBezTo>
                    <a:pt x="107436" y="334687"/>
                    <a:pt x="112096" y="335389"/>
                    <a:pt x="117859" y="333735"/>
                  </a:cubicBezTo>
                  <a:cubicBezTo>
                    <a:pt x="131539" y="329777"/>
                    <a:pt x="143916" y="326219"/>
                    <a:pt x="156544" y="322861"/>
                  </a:cubicBezTo>
                  <a:cubicBezTo>
                    <a:pt x="160252" y="321859"/>
                    <a:pt x="164111" y="321258"/>
                    <a:pt x="167518" y="320707"/>
                  </a:cubicBezTo>
                  <a:cubicBezTo>
                    <a:pt x="168871" y="320506"/>
                    <a:pt x="170174" y="320306"/>
                    <a:pt x="171427" y="320055"/>
                  </a:cubicBezTo>
                  <a:lnTo>
                    <a:pt x="173080" y="319754"/>
                  </a:lnTo>
                  <a:lnTo>
                    <a:pt x="174082" y="321158"/>
                  </a:lnTo>
                  <a:cubicBezTo>
                    <a:pt x="179444" y="328724"/>
                    <a:pt x="177390" y="335138"/>
                    <a:pt x="175385" y="341302"/>
                  </a:cubicBezTo>
                  <a:cubicBezTo>
                    <a:pt x="174684" y="343507"/>
                    <a:pt x="173932" y="345812"/>
                    <a:pt x="173481" y="348217"/>
                  </a:cubicBezTo>
                  <a:cubicBezTo>
                    <a:pt x="176388" y="352276"/>
                    <a:pt x="179294" y="356285"/>
                    <a:pt x="182250" y="360244"/>
                  </a:cubicBezTo>
                  <a:cubicBezTo>
                    <a:pt x="189316" y="369915"/>
                    <a:pt x="196632" y="379887"/>
                    <a:pt x="203096" y="390159"/>
                  </a:cubicBezTo>
                  <a:cubicBezTo>
                    <a:pt x="209210" y="399880"/>
                    <a:pt x="216927" y="403639"/>
                    <a:pt x="228202" y="402436"/>
                  </a:cubicBezTo>
                  <a:cubicBezTo>
                    <a:pt x="230106" y="402236"/>
                    <a:pt x="231960" y="402236"/>
                    <a:pt x="233814" y="402286"/>
                  </a:cubicBezTo>
                  <a:cubicBezTo>
                    <a:pt x="235117" y="402286"/>
                    <a:pt x="236470" y="402286"/>
                    <a:pt x="237772" y="402286"/>
                  </a:cubicBezTo>
                  <a:cubicBezTo>
                    <a:pt x="249649" y="401534"/>
                    <a:pt x="257616" y="396924"/>
                    <a:pt x="262727" y="387704"/>
                  </a:cubicBezTo>
                  <a:cubicBezTo>
                    <a:pt x="264381" y="384797"/>
                    <a:pt x="266436" y="382242"/>
                    <a:pt x="268590" y="379536"/>
                  </a:cubicBezTo>
                  <a:cubicBezTo>
                    <a:pt x="269592" y="378333"/>
                    <a:pt x="270595" y="377080"/>
                    <a:pt x="271597" y="375727"/>
                  </a:cubicBezTo>
                  <a:lnTo>
                    <a:pt x="272599" y="374375"/>
                  </a:lnTo>
                  <a:lnTo>
                    <a:pt x="274253" y="374725"/>
                  </a:lnTo>
                  <a:cubicBezTo>
                    <a:pt x="278011" y="375477"/>
                    <a:pt x="281669" y="376229"/>
                    <a:pt x="285327" y="376980"/>
                  </a:cubicBezTo>
                  <a:cubicBezTo>
                    <a:pt x="294397" y="378834"/>
                    <a:pt x="302916" y="380588"/>
                    <a:pt x="311685" y="382041"/>
                  </a:cubicBezTo>
                  <a:lnTo>
                    <a:pt x="314742" y="382543"/>
                  </a:lnTo>
                  <a:cubicBezTo>
                    <a:pt x="326016" y="384497"/>
                    <a:pt x="337642" y="386451"/>
                    <a:pt x="346812" y="380889"/>
                  </a:cubicBezTo>
                  <a:cubicBezTo>
                    <a:pt x="356032" y="375327"/>
                    <a:pt x="365052" y="374224"/>
                    <a:pt x="376678" y="377281"/>
                  </a:cubicBezTo>
                  <a:lnTo>
                    <a:pt x="380286" y="371719"/>
                  </a:lnTo>
                  <a:cubicBezTo>
                    <a:pt x="383693" y="366457"/>
                    <a:pt x="386950" y="361446"/>
                    <a:pt x="390308" y="356535"/>
                  </a:cubicBezTo>
                  <a:cubicBezTo>
                    <a:pt x="396170" y="348067"/>
                    <a:pt x="395419" y="339398"/>
                    <a:pt x="388002" y="329175"/>
                  </a:cubicBezTo>
                  <a:cubicBezTo>
                    <a:pt x="386650" y="327321"/>
                    <a:pt x="383994" y="326018"/>
                    <a:pt x="381188" y="32466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70474D14-C0DC-4255-9BA1-E020832C3944}"/>
                </a:ext>
              </a:extLst>
            </p:cNvPr>
            <p:cNvSpPr/>
            <p:nvPr/>
          </p:nvSpPr>
          <p:spPr>
            <a:xfrm>
              <a:off x="1378948" y="2515080"/>
              <a:ext cx="656559" cy="423205"/>
            </a:xfrm>
            <a:custGeom>
              <a:avLst/>
              <a:gdLst>
                <a:gd name="connsiteX0" fmla="*/ 63039 w 526459"/>
                <a:gd name="connsiteY0" fmla="*/ 14582 h 339345"/>
                <a:gd name="connsiteX1" fmla="*/ 57276 w 526459"/>
                <a:gd name="connsiteY1" fmla="*/ 26558 h 339345"/>
                <a:gd name="connsiteX2" fmla="*/ 47605 w 526459"/>
                <a:gd name="connsiteY2" fmla="*/ 52866 h 339345"/>
                <a:gd name="connsiteX3" fmla="*/ 20495 w 526459"/>
                <a:gd name="connsiteY3" fmla="*/ 102325 h 339345"/>
                <a:gd name="connsiteX4" fmla="*/ 19042 w 526459"/>
                <a:gd name="connsiteY4" fmla="*/ 103527 h 339345"/>
                <a:gd name="connsiteX5" fmla="*/ 12878 w 526459"/>
                <a:gd name="connsiteY5" fmla="*/ 108138 h 339345"/>
                <a:gd name="connsiteX6" fmla="*/ 0 w 526459"/>
                <a:gd name="connsiteY6" fmla="*/ 119913 h 339345"/>
                <a:gd name="connsiteX7" fmla="*/ 301 w 526459"/>
                <a:gd name="connsiteY7" fmla="*/ 121517 h 339345"/>
                <a:gd name="connsiteX8" fmla="*/ 752 w 526459"/>
                <a:gd name="connsiteY8" fmla="*/ 123421 h 339345"/>
                <a:gd name="connsiteX9" fmla="*/ 37081 w 526459"/>
                <a:gd name="connsiteY9" fmla="*/ 168771 h 339345"/>
                <a:gd name="connsiteX10" fmla="*/ 62838 w 526459"/>
                <a:gd name="connsiteY10" fmla="*/ 200891 h 339345"/>
                <a:gd name="connsiteX11" fmla="*/ 62838 w 526459"/>
                <a:gd name="connsiteY11" fmla="*/ 200891 h 339345"/>
                <a:gd name="connsiteX12" fmla="*/ 77520 w 526459"/>
                <a:gd name="connsiteY12" fmla="*/ 208608 h 339345"/>
                <a:gd name="connsiteX13" fmla="*/ 112247 w 526459"/>
                <a:gd name="connsiteY13" fmla="*/ 216225 h 339345"/>
                <a:gd name="connsiteX14" fmla="*/ 139857 w 526459"/>
                <a:gd name="connsiteY14" fmla="*/ 222339 h 339345"/>
                <a:gd name="connsiteX15" fmla="*/ 156845 w 526459"/>
                <a:gd name="connsiteY15" fmla="*/ 240579 h 339345"/>
                <a:gd name="connsiteX16" fmla="*/ 171878 w 526459"/>
                <a:gd name="connsiteY16" fmla="*/ 270294 h 339345"/>
                <a:gd name="connsiteX17" fmla="*/ 193776 w 526459"/>
                <a:gd name="connsiteY17" fmla="*/ 276307 h 339345"/>
                <a:gd name="connsiteX18" fmla="*/ 231258 w 526459"/>
                <a:gd name="connsiteY18" fmla="*/ 260973 h 339345"/>
                <a:gd name="connsiteX19" fmla="*/ 247444 w 526459"/>
                <a:gd name="connsiteY19" fmla="*/ 254459 h 339345"/>
                <a:gd name="connsiteX20" fmla="*/ 249699 w 526459"/>
                <a:gd name="connsiteY20" fmla="*/ 253557 h 339345"/>
                <a:gd name="connsiteX21" fmla="*/ 250851 w 526459"/>
                <a:gd name="connsiteY21" fmla="*/ 255712 h 339345"/>
                <a:gd name="connsiteX22" fmla="*/ 255010 w 526459"/>
                <a:gd name="connsiteY22" fmla="*/ 263429 h 339345"/>
                <a:gd name="connsiteX23" fmla="*/ 263880 w 526459"/>
                <a:gd name="connsiteY23" fmla="*/ 280717 h 339345"/>
                <a:gd name="connsiteX24" fmla="*/ 281218 w 526459"/>
                <a:gd name="connsiteY24" fmla="*/ 295599 h 339345"/>
                <a:gd name="connsiteX25" fmla="*/ 311935 w 526459"/>
                <a:gd name="connsiteY25" fmla="*/ 306624 h 339345"/>
                <a:gd name="connsiteX26" fmla="*/ 327870 w 526459"/>
                <a:gd name="connsiteY26" fmla="*/ 312487 h 339345"/>
                <a:gd name="connsiteX27" fmla="*/ 330877 w 526459"/>
                <a:gd name="connsiteY27" fmla="*/ 312687 h 339345"/>
                <a:gd name="connsiteX28" fmla="*/ 349017 w 526459"/>
                <a:gd name="connsiteY28" fmla="*/ 300510 h 339345"/>
                <a:gd name="connsiteX29" fmla="*/ 399728 w 526459"/>
                <a:gd name="connsiteY29" fmla="*/ 322158 h 339345"/>
                <a:gd name="connsiteX30" fmla="*/ 412156 w 526459"/>
                <a:gd name="connsiteY30" fmla="*/ 339346 h 339345"/>
                <a:gd name="connsiteX31" fmla="*/ 448836 w 526459"/>
                <a:gd name="connsiteY31" fmla="*/ 310282 h 339345"/>
                <a:gd name="connsiteX32" fmla="*/ 453697 w 526459"/>
                <a:gd name="connsiteY32" fmla="*/ 237472 h 339345"/>
                <a:gd name="connsiteX33" fmla="*/ 485316 w 526459"/>
                <a:gd name="connsiteY33" fmla="*/ 205652 h 339345"/>
                <a:gd name="connsiteX34" fmla="*/ 486419 w 526459"/>
                <a:gd name="connsiteY34" fmla="*/ 204499 h 339345"/>
                <a:gd name="connsiteX35" fmla="*/ 486870 w 526459"/>
                <a:gd name="connsiteY35" fmla="*/ 203998 h 339345"/>
                <a:gd name="connsiteX36" fmla="*/ 486870 w 526459"/>
                <a:gd name="connsiteY36" fmla="*/ 203848 h 339345"/>
                <a:gd name="connsiteX37" fmla="*/ 485817 w 526459"/>
                <a:gd name="connsiteY37" fmla="*/ 198987 h 339345"/>
                <a:gd name="connsiteX38" fmla="*/ 485417 w 526459"/>
                <a:gd name="connsiteY38" fmla="*/ 194327 h 339345"/>
                <a:gd name="connsiteX39" fmla="*/ 485216 w 526459"/>
                <a:gd name="connsiteY39" fmla="*/ 191771 h 339345"/>
                <a:gd name="connsiteX40" fmla="*/ 485918 w 526459"/>
                <a:gd name="connsiteY40" fmla="*/ 190920 h 339345"/>
                <a:gd name="connsiteX41" fmla="*/ 508567 w 526459"/>
                <a:gd name="connsiteY41" fmla="*/ 179194 h 339345"/>
                <a:gd name="connsiteX42" fmla="*/ 520894 w 526459"/>
                <a:gd name="connsiteY42" fmla="*/ 175185 h 339345"/>
                <a:gd name="connsiteX43" fmla="*/ 522147 w 526459"/>
                <a:gd name="connsiteY43" fmla="*/ 167819 h 339345"/>
                <a:gd name="connsiteX44" fmla="*/ 526407 w 526459"/>
                <a:gd name="connsiteY44" fmla="*/ 141762 h 339345"/>
                <a:gd name="connsiteX45" fmla="*/ 525805 w 526459"/>
                <a:gd name="connsiteY45" fmla="*/ 136550 h 339345"/>
                <a:gd name="connsiteX46" fmla="*/ 525354 w 526459"/>
                <a:gd name="connsiteY46" fmla="*/ 134345 h 339345"/>
                <a:gd name="connsiteX47" fmla="*/ 493434 w 526459"/>
                <a:gd name="connsiteY47" fmla="*/ 126578 h 339345"/>
                <a:gd name="connsiteX48" fmla="*/ 451091 w 526459"/>
                <a:gd name="connsiteY48" fmla="*/ 117859 h 339345"/>
                <a:gd name="connsiteX49" fmla="*/ 443023 w 526459"/>
                <a:gd name="connsiteY49" fmla="*/ 115103 h 339345"/>
                <a:gd name="connsiteX50" fmla="*/ 439716 w 526459"/>
                <a:gd name="connsiteY50" fmla="*/ 114251 h 339345"/>
                <a:gd name="connsiteX51" fmla="*/ 438764 w 526459"/>
                <a:gd name="connsiteY51" fmla="*/ 113950 h 339345"/>
                <a:gd name="connsiteX52" fmla="*/ 438213 w 526459"/>
                <a:gd name="connsiteY52" fmla="*/ 113099 h 339345"/>
                <a:gd name="connsiteX53" fmla="*/ 394417 w 526459"/>
                <a:gd name="connsiteY53" fmla="*/ 96662 h 339345"/>
                <a:gd name="connsiteX54" fmla="*/ 393114 w 526459"/>
                <a:gd name="connsiteY54" fmla="*/ 97364 h 339345"/>
                <a:gd name="connsiteX55" fmla="*/ 391811 w 526459"/>
                <a:gd name="connsiteY55" fmla="*/ 96662 h 339345"/>
                <a:gd name="connsiteX56" fmla="*/ 381087 w 526459"/>
                <a:gd name="connsiteY56" fmla="*/ 91000 h 339345"/>
                <a:gd name="connsiteX57" fmla="*/ 338343 w 526459"/>
                <a:gd name="connsiteY57" fmla="*/ 55672 h 339345"/>
                <a:gd name="connsiteX58" fmla="*/ 312737 w 526459"/>
                <a:gd name="connsiteY58" fmla="*/ 36781 h 339345"/>
                <a:gd name="connsiteX59" fmla="*/ 305271 w 526459"/>
                <a:gd name="connsiteY59" fmla="*/ 41992 h 339345"/>
                <a:gd name="connsiteX60" fmla="*/ 288183 w 526459"/>
                <a:gd name="connsiteY60" fmla="*/ 52465 h 339345"/>
                <a:gd name="connsiteX61" fmla="*/ 257015 w 526459"/>
                <a:gd name="connsiteY61" fmla="*/ 63389 h 339345"/>
                <a:gd name="connsiteX62" fmla="*/ 243284 w 526459"/>
                <a:gd name="connsiteY62" fmla="*/ 67849 h 339345"/>
                <a:gd name="connsiteX63" fmla="*/ 216676 w 526459"/>
                <a:gd name="connsiteY63" fmla="*/ 61535 h 339345"/>
                <a:gd name="connsiteX64" fmla="*/ 185257 w 526459"/>
                <a:gd name="connsiteY64" fmla="*/ 46903 h 339345"/>
                <a:gd name="connsiteX65" fmla="*/ 117859 w 526459"/>
                <a:gd name="connsiteY65" fmla="*/ 27861 h 339345"/>
                <a:gd name="connsiteX66" fmla="*/ 109942 w 526459"/>
                <a:gd name="connsiteY66" fmla="*/ 24955 h 339345"/>
                <a:gd name="connsiteX67" fmla="*/ 85588 w 526459"/>
                <a:gd name="connsiteY67" fmla="*/ 8569 h 339345"/>
                <a:gd name="connsiteX68" fmla="*/ 79374 w 526459"/>
                <a:gd name="connsiteY68" fmla="*/ 2055 h 339345"/>
                <a:gd name="connsiteX69" fmla="*/ 77320 w 526459"/>
                <a:gd name="connsiteY69" fmla="*/ 0 h 339345"/>
                <a:gd name="connsiteX70" fmla="*/ 62988 w 526459"/>
                <a:gd name="connsiteY70" fmla="*/ 14532 h 339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26459" h="339345">
                  <a:moveTo>
                    <a:pt x="63039" y="14582"/>
                  </a:moveTo>
                  <a:cubicBezTo>
                    <a:pt x="62688" y="18741"/>
                    <a:pt x="60383" y="23401"/>
                    <a:pt x="57276" y="26558"/>
                  </a:cubicBezTo>
                  <a:cubicBezTo>
                    <a:pt x="50361" y="33524"/>
                    <a:pt x="48907" y="41842"/>
                    <a:pt x="47605" y="52866"/>
                  </a:cubicBezTo>
                  <a:cubicBezTo>
                    <a:pt x="44197" y="82481"/>
                    <a:pt x="43445" y="83834"/>
                    <a:pt x="20495" y="102325"/>
                  </a:cubicBezTo>
                  <a:lnTo>
                    <a:pt x="19042" y="103527"/>
                  </a:lnTo>
                  <a:cubicBezTo>
                    <a:pt x="17037" y="105131"/>
                    <a:pt x="14933" y="106634"/>
                    <a:pt x="12878" y="108138"/>
                  </a:cubicBezTo>
                  <a:cubicBezTo>
                    <a:pt x="7817" y="111796"/>
                    <a:pt x="3007" y="115203"/>
                    <a:pt x="0" y="119913"/>
                  </a:cubicBezTo>
                  <a:cubicBezTo>
                    <a:pt x="100" y="120465"/>
                    <a:pt x="200" y="121016"/>
                    <a:pt x="301" y="121517"/>
                  </a:cubicBezTo>
                  <a:cubicBezTo>
                    <a:pt x="451" y="122219"/>
                    <a:pt x="601" y="123171"/>
                    <a:pt x="752" y="123421"/>
                  </a:cubicBezTo>
                  <a:cubicBezTo>
                    <a:pt x="12828" y="138554"/>
                    <a:pt x="24955" y="153638"/>
                    <a:pt x="37081" y="168771"/>
                  </a:cubicBezTo>
                  <a:cubicBezTo>
                    <a:pt x="45700" y="179494"/>
                    <a:pt x="54269" y="190168"/>
                    <a:pt x="62838" y="200891"/>
                  </a:cubicBezTo>
                  <a:lnTo>
                    <a:pt x="62838" y="200891"/>
                  </a:lnTo>
                  <a:cubicBezTo>
                    <a:pt x="66496" y="205502"/>
                    <a:pt x="71357" y="207305"/>
                    <a:pt x="77520" y="208608"/>
                  </a:cubicBezTo>
                  <a:cubicBezTo>
                    <a:pt x="89096" y="211064"/>
                    <a:pt x="100671" y="213619"/>
                    <a:pt x="112247" y="216225"/>
                  </a:cubicBezTo>
                  <a:cubicBezTo>
                    <a:pt x="121467" y="218280"/>
                    <a:pt x="130637" y="220384"/>
                    <a:pt x="139857" y="222339"/>
                  </a:cubicBezTo>
                  <a:cubicBezTo>
                    <a:pt x="150180" y="224594"/>
                    <a:pt x="155893" y="230707"/>
                    <a:pt x="156845" y="240579"/>
                  </a:cubicBezTo>
                  <a:cubicBezTo>
                    <a:pt x="157897" y="251553"/>
                    <a:pt x="163359" y="260071"/>
                    <a:pt x="171878" y="270294"/>
                  </a:cubicBezTo>
                  <a:cubicBezTo>
                    <a:pt x="178442" y="278111"/>
                    <a:pt x="185157" y="279965"/>
                    <a:pt x="193776" y="276307"/>
                  </a:cubicBezTo>
                  <a:cubicBezTo>
                    <a:pt x="206003" y="271046"/>
                    <a:pt x="218280" y="266185"/>
                    <a:pt x="231258" y="260973"/>
                  </a:cubicBezTo>
                  <a:cubicBezTo>
                    <a:pt x="236570" y="258869"/>
                    <a:pt x="241932" y="256714"/>
                    <a:pt x="247444" y="254459"/>
                  </a:cubicBezTo>
                  <a:lnTo>
                    <a:pt x="249699" y="253557"/>
                  </a:lnTo>
                  <a:lnTo>
                    <a:pt x="250851" y="255712"/>
                  </a:lnTo>
                  <a:cubicBezTo>
                    <a:pt x="252204" y="258318"/>
                    <a:pt x="253607" y="260873"/>
                    <a:pt x="255010" y="263429"/>
                  </a:cubicBezTo>
                  <a:cubicBezTo>
                    <a:pt x="258067" y="268991"/>
                    <a:pt x="261174" y="274754"/>
                    <a:pt x="263880" y="280717"/>
                  </a:cubicBezTo>
                  <a:cubicBezTo>
                    <a:pt x="267187" y="288083"/>
                    <a:pt x="272549" y="292693"/>
                    <a:pt x="281218" y="295599"/>
                  </a:cubicBezTo>
                  <a:cubicBezTo>
                    <a:pt x="291541" y="299057"/>
                    <a:pt x="301913" y="302916"/>
                    <a:pt x="311935" y="306624"/>
                  </a:cubicBezTo>
                  <a:cubicBezTo>
                    <a:pt x="317247" y="308578"/>
                    <a:pt x="322559" y="310582"/>
                    <a:pt x="327870" y="312487"/>
                  </a:cubicBezTo>
                  <a:cubicBezTo>
                    <a:pt x="328522" y="312737"/>
                    <a:pt x="329724" y="312687"/>
                    <a:pt x="330877" y="312687"/>
                  </a:cubicBezTo>
                  <a:lnTo>
                    <a:pt x="349017" y="300510"/>
                  </a:lnTo>
                  <a:lnTo>
                    <a:pt x="399728" y="322158"/>
                  </a:lnTo>
                  <a:lnTo>
                    <a:pt x="412156" y="339346"/>
                  </a:lnTo>
                  <a:cubicBezTo>
                    <a:pt x="422178" y="326568"/>
                    <a:pt x="434204" y="316997"/>
                    <a:pt x="448836" y="310282"/>
                  </a:cubicBezTo>
                  <a:cubicBezTo>
                    <a:pt x="443174" y="280767"/>
                    <a:pt x="444627" y="258869"/>
                    <a:pt x="453697" y="237472"/>
                  </a:cubicBezTo>
                  <a:cubicBezTo>
                    <a:pt x="459460" y="223942"/>
                    <a:pt x="467227" y="210663"/>
                    <a:pt x="485316" y="205652"/>
                  </a:cubicBezTo>
                  <a:cubicBezTo>
                    <a:pt x="485467" y="205552"/>
                    <a:pt x="486018" y="204950"/>
                    <a:pt x="486419" y="204499"/>
                  </a:cubicBezTo>
                  <a:cubicBezTo>
                    <a:pt x="486569" y="204349"/>
                    <a:pt x="486719" y="204149"/>
                    <a:pt x="486870" y="203998"/>
                  </a:cubicBezTo>
                  <a:lnTo>
                    <a:pt x="486870" y="203848"/>
                  </a:lnTo>
                  <a:cubicBezTo>
                    <a:pt x="486469" y="202294"/>
                    <a:pt x="486068" y="200641"/>
                    <a:pt x="485817" y="198987"/>
                  </a:cubicBezTo>
                  <a:cubicBezTo>
                    <a:pt x="485567" y="197384"/>
                    <a:pt x="485467" y="195780"/>
                    <a:pt x="485417" y="194327"/>
                  </a:cubicBezTo>
                  <a:lnTo>
                    <a:pt x="485216" y="191771"/>
                  </a:lnTo>
                  <a:lnTo>
                    <a:pt x="485918" y="190920"/>
                  </a:lnTo>
                  <a:cubicBezTo>
                    <a:pt x="492231" y="183303"/>
                    <a:pt x="500550" y="181248"/>
                    <a:pt x="508567" y="179194"/>
                  </a:cubicBezTo>
                  <a:cubicBezTo>
                    <a:pt x="512927" y="178091"/>
                    <a:pt x="517086" y="177039"/>
                    <a:pt x="520894" y="175185"/>
                  </a:cubicBezTo>
                  <a:lnTo>
                    <a:pt x="522147" y="167819"/>
                  </a:lnTo>
                  <a:cubicBezTo>
                    <a:pt x="523651" y="159300"/>
                    <a:pt x="525154" y="150481"/>
                    <a:pt x="526407" y="141762"/>
                  </a:cubicBezTo>
                  <a:cubicBezTo>
                    <a:pt x="526607" y="140308"/>
                    <a:pt x="526206" y="138554"/>
                    <a:pt x="525805" y="136550"/>
                  </a:cubicBezTo>
                  <a:cubicBezTo>
                    <a:pt x="525655" y="135849"/>
                    <a:pt x="525505" y="135097"/>
                    <a:pt x="525354" y="134345"/>
                  </a:cubicBezTo>
                  <a:cubicBezTo>
                    <a:pt x="513027" y="128933"/>
                    <a:pt x="503055" y="126378"/>
                    <a:pt x="493434" y="126578"/>
                  </a:cubicBezTo>
                  <a:cubicBezTo>
                    <a:pt x="479554" y="126578"/>
                    <a:pt x="464871" y="126027"/>
                    <a:pt x="451091" y="117859"/>
                  </a:cubicBezTo>
                  <a:cubicBezTo>
                    <a:pt x="448686" y="116456"/>
                    <a:pt x="445679" y="115754"/>
                    <a:pt x="443023" y="115103"/>
                  </a:cubicBezTo>
                  <a:cubicBezTo>
                    <a:pt x="441821" y="114802"/>
                    <a:pt x="440718" y="114552"/>
                    <a:pt x="439716" y="114251"/>
                  </a:cubicBezTo>
                  <a:lnTo>
                    <a:pt x="438764" y="113950"/>
                  </a:lnTo>
                  <a:lnTo>
                    <a:pt x="438213" y="113099"/>
                  </a:lnTo>
                  <a:cubicBezTo>
                    <a:pt x="423080" y="89296"/>
                    <a:pt x="416365" y="84836"/>
                    <a:pt x="394417" y="96662"/>
                  </a:cubicBezTo>
                  <a:lnTo>
                    <a:pt x="393114" y="97364"/>
                  </a:lnTo>
                  <a:lnTo>
                    <a:pt x="391811" y="96662"/>
                  </a:lnTo>
                  <a:cubicBezTo>
                    <a:pt x="388303" y="94708"/>
                    <a:pt x="384695" y="92854"/>
                    <a:pt x="381087" y="91000"/>
                  </a:cubicBezTo>
                  <a:cubicBezTo>
                    <a:pt x="365052" y="82732"/>
                    <a:pt x="348416" y="74163"/>
                    <a:pt x="338343" y="55672"/>
                  </a:cubicBezTo>
                  <a:cubicBezTo>
                    <a:pt x="333483" y="46753"/>
                    <a:pt x="324413" y="40088"/>
                    <a:pt x="312737" y="36781"/>
                  </a:cubicBezTo>
                  <a:cubicBezTo>
                    <a:pt x="310131" y="38535"/>
                    <a:pt x="307676" y="40289"/>
                    <a:pt x="305271" y="41992"/>
                  </a:cubicBezTo>
                  <a:cubicBezTo>
                    <a:pt x="299558" y="46101"/>
                    <a:pt x="294196" y="49960"/>
                    <a:pt x="288183" y="52465"/>
                  </a:cubicBezTo>
                  <a:cubicBezTo>
                    <a:pt x="278011" y="56725"/>
                    <a:pt x="267337" y="60082"/>
                    <a:pt x="257015" y="63389"/>
                  </a:cubicBezTo>
                  <a:cubicBezTo>
                    <a:pt x="252405" y="64842"/>
                    <a:pt x="247845" y="66296"/>
                    <a:pt x="243284" y="67849"/>
                  </a:cubicBezTo>
                  <a:cubicBezTo>
                    <a:pt x="232160" y="71607"/>
                    <a:pt x="222940" y="69453"/>
                    <a:pt x="216676" y="61535"/>
                  </a:cubicBezTo>
                  <a:cubicBezTo>
                    <a:pt x="208258" y="50912"/>
                    <a:pt x="196582" y="48256"/>
                    <a:pt x="185257" y="46903"/>
                  </a:cubicBezTo>
                  <a:cubicBezTo>
                    <a:pt x="161655" y="44097"/>
                    <a:pt x="139406" y="35879"/>
                    <a:pt x="117859" y="27861"/>
                  </a:cubicBezTo>
                  <a:lnTo>
                    <a:pt x="109942" y="24955"/>
                  </a:lnTo>
                  <a:cubicBezTo>
                    <a:pt x="100020" y="21297"/>
                    <a:pt x="92052" y="15935"/>
                    <a:pt x="85588" y="8569"/>
                  </a:cubicBezTo>
                  <a:cubicBezTo>
                    <a:pt x="83584" y="6314"/>
                    <a:pt x="81479" y="4209"/>
                    <a:pt x="79374" y="2055"/>
                  </a:cubicBezTo>
                  <a:cubicBezTo>
                    <a:pt x="78673" y="1353"/>
                    <a:pt x="78021" y="702"/>
                    <a:pt x="77320" y="0"/>
                  </a:cubicBezTo>
                  <a:cubicBezTo>
                    <a:pt x="68601" y="2756"/>
                    <a:pt x="63740" y="6113"/>
                    <a:pt x="62988" y="1453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359C13F6-6524-43B5-9789-365ADA6B4593}"/>
                </a:ext>
              </a:extLst>
            </p:cNvPr>
            <p:cNvSpPr/>
            <p:nvPr/>
          </p:nvSpPr>
          <p:spPr>
            <a:xfrm>
              <a:off x="2961552" y="4109842"/>
              <a:ext cx="500321" cy="595316"/>
            </a:xfrm>
            <a:custGeom>
              <a:avLst/>
              <a:gdLst>
                <a:gd name="connsiteX0" fmla="*/ 367040 w 401180"/>
                <a:gd name="connsiteY0" fmla="*/ 323466 h 477352"/>
                <a:gd name="connsiteX1" fmla="*/ 367741 w 401180"/>
                <a:gd name="connsiteY1" fmla="*/ 322664 h 477352"/>
                <a:gd name="connsiteX2" fmla="*/ 370397 w 401180"/>
                <a:gd name="connsiteY2" fmla="*/ 320810 h 477352"/>
                <a:gd name="connsiteX3" fmla="*/ 378966 w 401180"/>
                <a:gd name="connsiteY3" fmla="*/ 314296 h 477352"/>
                <a:gd name="connsiteX4" fmla="*/ 378966 w 401180"/>
                <a:gd name="connsiteY4" fmla="*/ 314296 h 477352"/>
                <a:gd name="connsiteX5" fmla="*/ 381120 w 401180"/>
                <a:gd name="connsiteY5" fmla="*/ 308784 h 477352"/>
                <a:gd name="connsiteX6" fmla="*/ 379066 w 401180"/>
                <a:gd name="connsiteY6" fmla="*/ 303222 h 477352"/>
                <a:gd name="connsiteX7" fmla="*/ 370998 w 401180"/>
                <a:gd name="connsiteY7" fmla="*/ 296908 h 477352"/>
                <a:gd name="connsiteX8" fmla="*/ 368092 w 401180"/>
                <a:gd name="connsiteY8" fmla="*/ 294853 h 477352"/>
                <a:gd name="connsiteX9" fmla="*/ 354612 w 401180"/>
                <a:gd name="connsiteY9" fmla="*/ 285032 h 477352"/>
                <a:gd name="connsiteX10" fmla="*/ 328004 w 401180"/>
                <a:gd name="connsiteY10" fmla="*/ 265539 h 477352"/>
                <a:gd name="connsiteX11" fmla="*/ 320888 w 401180"/>
                <a:gd name="connsiteY11" fmla="*/ 258624 h 477352"/>
                <a:gd name="connsiteX12" fmla="*/ 317230 w 401180"/>
                <a:gd name="connsiteY12" fmla="*/ 254715 h 477352"/>
                <a:gd name="connsiteX13" fmla="*/ 315476 w 401180"/>
                <a:gd name="connsiteY13" fmla="*/ 252961 h 477352"/>
                <a:gd name="connsiteX14" fmla="*/ 317130 w 401180"/>
                <a:gd name="connsiteY14" fmla="*/ 251107 h 477352"/>
                <a:gd name="connsiteX15" fmla="*/ 321840 w 401180"/>
                <a:gd name="connsiteY15" fmla="*/ 245545 h 477352"/>
                <a:gd name="connsiteX16" fmla="*/ 331912 w 401180"/>
                <a:gd name="connsiteY16" fmla="*/ 234471 h 477352"/>
                <a:gd name="connsiteX17" fmla="*/ 355865 w 401180"/>
                <a:gd name="connsiteY17" fmla="*/ 193932 h 477352"/>
                <a:gd name="connsiteX18" fmla="*/ 356116 w 401180"/>
                <a:gd name="connsiteY18" fmla="*/ 192529 h 477352"/>
                <a:gd name="connsiteX19" fmla="*/ 393297 w 401180"/>
                <a:gd name="connsiteY19" fmla="*/ 175792 h 477352"/>
                <a:gd name="connsiteX20" fmla="*/ 391543 w 401180"/>
                <a:gd name="connsiteY20" fmla="*/ 82236 h 477352"/>
                <a:gd name="connsiteX21" fmla="*/ 374055 w 401180"/>
                <a:gd name="connsiteY21" fmla="*/ 66802 h 477352"/>
                <a:gd name="connsiteX22" fmla="*/ 357168 w 401180"/>
                <a:gd name="connsiteY22" fmla="*/ 70160 h 477352"/>
                <a:gd name="connsiteX23" fmla="*/ 353209 w 401180"/>
                <a:gd name="connsiteY23" fmla="*/ 71663 h 477352"/>
                <a:gd name="connsiteX24" fmla="*/ 350954 w 401180"/>
                <a:gd name="connsiteY24" fmla="*/ 72264 h 477352"/>
                <a:gd name="connsiteX25" fmla="*/ 349852 w 401180"/>
                <a:gd name="connsiteY25" fmla="*/ 72615 h 477352"/>
                <a:gd name="connsiteX26" fmla="*/ 347547 w 401180"/>
                <a:gd name="connsiteY26" fmla="*/ 71312 h 477352"/>
                <a:gd name="connsiteX27" fmla="*/ 281802 w 401180"/>
                <a:gd name="connsiteY27" fmla="*/ 28618 h 477352"/>
                <a:gd name="connsiteX28" fmla="*/ 251536 w 401180"/>
                <a:gd name="connsiteY28" fmla="*/ 2361 h 477352"/>
                <a:gd name="connsiteX29" fmla="*/ 243769 w 401180"/>
                <a:gd name="connsiteY29" fmla="*/ 256 h 477352"/>
                <a:gd name="connsiteX30" fmla="*/ 239058 w 401180"/>
                <a:gd name="connsiteY30" fmla="*/ 5217 h 477352"/>
                <a:gd name="connsiteX31" fmla="*/ 238808 w 401180"/>
                <a:gd name="connsiteY31" fmla="*/ 6019 h 477352"/>
                <a:gd name="connsiteX32" fmla="*/ 238207 w 401180"/>
                <a:gd name="connsiteY32" fmla="*/ 8775 h 477352"/>
                <a:gd name="connsiteX33" fmla="*/ 224827 w 401180"/>
                <a:gd name="connsiteY33" fmla="*/ 57282 h 477352"/>
                <a:gd name="connsiteX34" fmla="*/ 223374 w 401180"/>
                <a:gd name="connsiteY34" fmla="*/ 62593 h 477352"/>
                <a:gd name="connsiteX35" fmla="*/ 222973 w 401180"/>
                <a:gd name="connsiteY35" fmla="*/ 64798 h 477352"/>
                <a:gd name="connsiteX36" fmla="*/ 225529 w 401180"/>
                <a:gd name="connsiteY36" fmla="*/ 67905 h 477352"/>
                <a:gd name="connsiteX37" fmla="*/ 232694 w 401180"/>
                <a:gd name="connsiteY37" fmla="*/ 76473 h 477352"/>
                <a:gd name="connsiteX38" fmla="*/ 233246 w 401180"/>
                <a:gd name="connsiteY38" fmla="*/ 77125 h 477352"/>
                <a:gd name="connsiteX39" fmla="*/ 234899 w 401180"/>
                <a:gd name="connsiteY39" fmla="*/ 90554 h 477352"/>
                <a:gd name="connsiteX40" fmla="*/ 234148 w 401180"/>
                <a:gd name="connsiteY40" fmla="*/ 91607 h 477352"/>
                <a:gd name="connsiteX41" fmla="*/ 229487 w 401180"/>
                <a:gd name="connsiteY41" fmla="*/ 91958 h 477352"/>
                <a:gd name="connsiteX42" fmla="*/ 221620 w 401180"/>
                <a:gd name="connsiteY42" fmla="*/ 92459 h 477352"/>
                <a:gd name="connsiteX43" fmla="*/ 215306 w 401180"/>
                <a:gd name="connsiteY43" fmla="*/ 92459 h 477352"/>
                <a:gd name="connsiteX44" fmla="*/ 186944 w 401180"/>
                <a:gd name="connsiteY44" fmla="*/ 99073 h 477352"/>
                <a:gd name="connsiteX45" fmla="*/ 173665 w 401180"/>
                <a:gd name="connsiteY45" fmla="*/ 100326 h 477352"/>
                <a:gd name="connsiteX46" fmla="*/ 171410 w 401180"/>
                <a:gd name="connsiteY46" fmla="*/ 100025 h 477352"/>
                <a:gd name="connsiteX47" fmla="*/ 161738 w 401180"/>
                <a:gd name="connsiteY47" fmla="*/ 97871 h 477352"/>
                <a:gd name="connsiteX48" fmla="*/ 159333 w 401180"/>
                <a:gd name="connsiteY48" fmla="*/ 97219 h 477352"/>
                <a:gd name="connsiteX49" fmla="*/ 156978 w 401180"/>
                <a:gd name="connsiteY49" fmla="*/ 100527 h 477352"/>
                <a:gd name="connsiteX50" fmla="*/ 149913 w 401180"/>
                <a:gd name="connsiteY50" fmla="*/ 109847 h 477352"/>
                <a:gd name="connsiteX51" fmla="*/ 140392 w 401180"/>
                <a:gd name="connsiteY51" fmla="*/ 118015 h 477352"/>
                <a:gd name="connsiteX52" fmla="*/ 128465 w 401180"/>
                <a:gd name="connsiteY52" fmla="*/ 119418 h 477352"/>
                <a:gd name="connsiteX53" fmla="*/ 120247 w 401180"/>
                <a:gd name="connsiteY53" fmla="*/ 109296 h 477352"/>
                <a:gd name="connsiteX54" fmla="*/ 116890 w 401180"/>
                <a:gd name="connsiteY54" fmla="*/ 96017 h 477352"/>
                <a:gd name="connsiteX55" fmla="*/ 96946 w 401180"/>
                <a:gd name="connsiteY55" fmla="*/ 101028 h 477352"/>
                <a:gd name="connsiteX56" fmla="*/ 95894 w 401180"/>
                <a:gd name="connsiteY56" fmla="*/ 99424 h 477352"/>
                <a:gd name="connsiteX57" fmla="*/ 93288 w 401180"/>
                <a:gd name="connsiteY57" fmla="*/ 73768 h 477352"/>
                <a:gd name="connsiteX58" fmla="*/ 94691 w 401180"/>
                <a:gd name="connsiteY58" fmla="*/ 63395 h 477352"/>
                <a:gd name="connsiteX59" fmla="*/ 92687 w 401180"/>
                <a:gd name="connsiteY59" fmla="*/ 60990 h 477352"/>
                <a:gd name="connsiteX60" fmla="*/ 87475 w 401180"/>
                <a:gd name="connsiteY60" fmla="*/ 55227 h 477352"/>
                <a:gd name="connsiteX61" fmla="*/ 80260 w 401180"/>
                <a:gd name="connsiteY61" fmla="*/ 49414 h 477352"/>
                <a:gd name="connsiteX62" fmla="*/ 78756 w 401180"/>
                <a:gd name="connsiteY62" fmla="*/ 48261 h 477352"/>
                <a:gd name="connsiteX63" fmla="*/ 43429 w 401180"/>
                <a:gd name="connsiteY63" fmla="*/ 79931 h 477352"/>
                <a:gd name="connsiteX64" fmla="*/ 45734 w 401180"/>
                <a:gd name="connsiteY64" fmla="*/ 88250 h 477352"/>
                <a:gd name="connsiteX65" fmla="*/ 51947 w 401180"/>
                <a:gd name="connsiteY65" fmla="*/ 109797 h 477352"/>
                <a:gd name="connsiteX66" fmla="*/ 54603 w 401180"/>
                <a:gd name="connsiteY66" fmla="*/ 119819 h 477352"/>
                <a:gd name="connsiteX67" fmla="*/ 62821 w 401180"/>
                <a:gd name="connsiteY67" fmla="*/ 141416 h 477352"/>
                <a:gd name="connsiteX68" fmla="*/ 91384 w 401180"/>
                <a:gd name="connsiteY68" fmla="*/ 144523 h 477352"/>
                <a:gd name="connsiteX69" fmla="*/ 102258 w 401180"/>
                <a:gd name="connsiteY69" fmla="*/ 158854 h 477352"/>
                <a:gd name="connsiteX70" fmla="*/ 131071 w 401180"/>
                <a:gd name="connsiteY70" fmla="*/ 156750 h 477352"/>
                <a:gd name="connsiteX71" fmla="*/ 133777 w 401180"/>
                <a:gd name="connsiteY71" fmla="*/ 156149 h 477352"/>
                <a:gd name="connsiteX72" fmla="*/ 206737 w 401180"/>
                <a:gd name="connsiteY72" fmla="*/ 164116 h 477352"/>
                <a:gd name="connsiteX73" fmla="*/ 210345 w 401180"/>
                <a:gd name="connsiteY73" fmla="*/ 165118 h 477352"/>
                <a:gd name="connsiteX74" fmla="*/ 209293 w 401180"/>
                <a:gd name="connsiteY74" fmla="*/ 167874 h 477352"/>
                <a:gd name="connsiteX75" fmla="*/ 182284 w 401180"/>
                <a:gd name="connsiteY75" fmla="*/ 208914 h 477352"/>
                <a:gd name="connsiteX76" fmla="*/ 152017 w 401180"/>
                <a:gd name="connsiteY76" fmla="*/ 246798 h 477352"/>
                <a:gd name="connsiteX77" fmla="*/ 147507 w 401180"/>
                <a:gd name="connsiteY77" fmla="*/ 249303 h 477352"/>
                <a:gd name="connsiteX78" fmla="*/ 145753 w 401180"/>
                <a:gd name="connsiteY78" fmla="*/ 249704 h 477352"/>
                <a:gd name="connsiteX79" fmla="*/ 144451 w 401180"/>
                <a:gd name="connsiteY79" fmla="*/ 250105 h 477352"/>
                <a:gd name="connsiteX80" fmla="*/ 129618 w 401180"/>
                <a:gd name="connsiteY80" fmla="*/ 238830 h 477352"/>
                <a:gd name="connsiteX81" fmla="*/ 122352 w 401180"/>
                <a:gd name="connsiteY81" fmla="*/ 239482 h 477352"/>
                <a:gd name="connsiteX82" fmla="*/ 84819 w 401180"/>
                <a:gd name="connsiteY82" fmla="*/ 242939 h 477352"/>
                <a:gd name="connsiteX83" fmla="*/ 74296 w 401180"/>
                <a:gd name="connsiteY83" fmla="*/ 260227 h 477352"/>
                <a:gd name="connsiteX84" fmla="*/ 53551 w 401180"/>
                <a:gd name="connsiteY84" fmla="*/ 294503 h 477352"/>
                <a:gd name="connsiteX85" fmla="*/ 49342 w 401180"/>
                <a:gd name="connsiteY85" fmla="*/ 301618 h 477352"/>
                <a:gd name="connsiteX86" fmla="*/ 11358 w 401180"/>
                <a:gd name="connsiteY86" fmla="*/ 352129 h 477352"/>
                <a:gd name="connsiteX87" fmla="*/ 4693 w 401180"/>
                <a:gd name="connsiteY87" fmla="*/ 366711 h 477352"/>
                <a:gd name="connsiteX88" fmla="*/ 4693 w 401180"/>
                <a:gd name="connsiteY88" fmla="*/ 367664 h 477352"/>
                <a:gd name="connsiteX89" fmla="*/ 2438 w 401180"/>
                <a:gd name="connsiteY89" fmla="*/ 377535 h 477352"/>
                <a:gd name="connsiteX90" fmla="*/ 2188 w 401180"/>
                <a:gd name="connsiteY90" fmla="*/ 389211 h 477352"/>
                <a:gd name="connsiteX91" fmla="*/ 5846 w 401180"/>
                <a:gd name="connsiteY91" fmla="*/ 398030 h 477352"/>
                <a:gd name="connsiteX92" fmla="*/ 6147 w 401180"/>
                <a:gd name="connsiteY92" fmla="*/ 398882 h 477352"/>
                <a:gd name="connsiteX93" fmla="*/ 70588 w 401180"/>
                <a:gd name="connsiteY93" fmla="*/ 429750 h 477352"/>
                <a:gd name="connsiteX94" fmla="*/ 77453 w 401180"/>
                <a:gd name="connsiteY94" fmla="*/ 436966 h 477352"/>
                <a:gd name="connsiteX95" fmla="*/ 78606 w 401180"/>
                <a:gd name="connsiteY95" fmla="*/ 438168 h 477352"/>
                <a:gd name="connsiteX96" fmla="*/ 78055 w 401180"/>
                <a:gd name="connsiteY96" fmla="*/ 439772 h 477352"/>
                <a:gd name="connsiteX97" fmla="*/ 65477 w 401180"/>
                <a:gd name="connsiteY97" fmla="*/ 456559 h 477352"/>
                <a:gd name="connsiteX98" fmla="*/ 54553 w 401180"/>
                <a:gd name="connsiteY98" fmla="*/ 470940 h 477352"/>
                <a:gd name="connsiteX99" fmla="*/ 112530 w 401180"/>
                <a:gd name="connsiteY99" fmla="*/ 469086 h 477352"/>
                <a:gd name="connsiteX100" fmla="*/ 114184 w 401180"/>
                <a:gd name="connsiteY100" fmla="*/ 465027 h 477352"/>
                <a:gd name="connsiteX101" fmla="*/ 117992 w 401180"/>
                <a:gd name="connsiteY101" fmla="*/ 454404 h 477352"/>
                <a:gd name="connsiteX102" fmla="*/ 119947 w 401180"/>
                <a:gd name="connsiteY102" fmla="*/ 438619 h 477352"/>
                <a:gd name="connsiteX103" fmla="*/ 136734 w 401180"/>
                <a:gd name="connsiteY103" fmla="*/ 414516 h 477352"/>
                <a:gd name="connsiteX104" fmla="*/ 137385 w 401180"/>
                <a:gd name="connsiteY104" fmla="*/ 414216 h 477352"/>
                <a:gd name="connsiteX105" fmla="*/ 186994 w 401180"/>
                <a:gd name="connsiteY105" fmla="*/ 414366 h 477352"/>
                <a:gd name="connsiteX106" fmla="*/ 192556 w 401180"/>
                <a:gd name="connsiteY106" fmla="*/ 417222 h 477352"/>
                <a:gd name="connsiteX107" fmla="*/ 203831 w 401180"/>
                <a:gd name="connsiteY107" fmla="*/ 422834 h 477352"/>
                <a:gd name="connsiteX108" fmla="*/ 205134 w 401180"/>
                <a:gd name="connsiteY108" fmla="*/ 423486 h 477352"/>
                <a:gd name="connsiteX109" fmla="*/ 208892 w 401180"/>
                <a:gd name="connsiteY109" fmla="*/ 424137 h 477352"/>
                <a:gd name="connsiteX110" fmla="*/ 198319 w 401180"/>
                <a:gd name="connsiteY110" fmla="*/ 404895 h 477352"/>
                <a:gd name="connsiteX111" fmla="*/ 186844 w 401180"/>
                <a:gd name="connsiteY111" fmla="*/ 383599 h 477352"/>
                <a:gd name="connsiteX112" fmla="*/ 186543 w 401180"/>
                <a:gd name="connsiteY112" fmla="*/ 382346 h 477352"/>
                <a:gd name="connsiteX113" fmla="*/ 203981 w 401180"/>
                <a:gd name="connsiteY113" fmla="*/ 360047 h 477352"/>
                <a:gd name="connsiteX114" fmla="*/ 180680 w 401180"/>
                <a:gd name="connsiteY114" fmla="*/ 332336 h 477352"/>
                <a:gd name="connsiteX115" fmla="*/ 185340 w 401180"/>
                <a:gd name="connsiteY115" fmla="*/ 331534 h 477352"/>
                <a:gd name="connsiteX116" fmla="*/ 208892 w 401180"/>
                <a:gd name="connsiteY116" fmla="*/ 317152 h 477352"/>
                <a:gd name="connsiteX117" fmla="*/ 207990 w 401180"/>
                <a:gd name="connsiteY117" fmla="*/ 315699 h 477352"/>
                <a:gd name="connsiteX118" fmla="*/ 208992 w 401180"/>
                <a:gd name="connsiteY118" fmla="*/ 302019 h 477352"/>
                <a:gd name="connsiteX119" fmla="*/ 209744 w 401180"/>
                <a:gd name="connsiteY119" fmla="*/ 301317 h 477352"/>
                <a:gd name="connsiteX120" fmla="*/ 216058 w 401180"/>
                <a:gd name="connsiteY120" fmla="*/ 301317 h 477352"/>
                <a:gd name="connsiteX121" fmla="*/ 230890 w 401180"/>
                <a:gd name="connsiteY121" fmla="*/ 301368 h 477352"/>
                <a:gd name="connsiteX122" fmla="*/ 245573 w 401180"/>
                <a:gd name="connsiteY122" fmla="*/ 302170 h 477352"/>
                <a:gd name="connsiteX123" fmla="*/ 254292 w 401180"/>
                <a:gd name="connsiteY123" fmla="*/ 302721 h 477352"/>
                <a:gd name="connsiteX124" fmla="*/ 254693 w 401180"/>
                <a:gd name="connsiteY124" fmla="*/ 304775 h 477352"/>
                <a:gd name="connsiteX125" fmla="*/ 275238 w 401180"/>
                <a:gd name="connsiteY125" fmla="*/ 325220 h 477352"/>
                <a:gd name="connsiteX126" fmla="*/ 288968 w 401180"/>
                <a:gd name="connsiteY126" fmla="*/ 330031 h 477352"/>
                <a:gd name="connsiteX127" fmla="*/ 315526 w 401180"/>
                <a:gd name="connsiteY127" fmla="*/ 351277 h 477352"/>
                <a:gd name="connsiteX128" fmla="*/ 357970 w 401180"/>
                <a:gd name="connsiteY128" fmla="*/ 350075 h 477352"/>
                <a:gd name="connsiteX129" fmla="*/ 370397 w 401180"/>
                <a:gd name="connsiteY129" fmla="*/ 351528 h 477352"/>
                <a:gd name="connsiteX130" fmla="*/ 367741 w 401180"/>
                <a:gd name="connsiteY130" fmla="*/ 343260 h 477352"/>
                <a:gd name="connsiteX131" fmla="*/ 367340 w 401180"/>
                <a:gd name="connsiteY131" fmla="*/ 323065 h 477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401180" h="477352">
                  <a:moveTo>
                    <a:pt x="367040" y="323466"/>
                  </a:moveTo>
                  <a:lnTo>
                    <a:pt x="367741" y="322664"/>
                  </a:lnTo>
                  <a:cubicBezTo>
                    <a:pt x="368493" y="322113"/>
                    <a:pt x="369395" y="321512"/>
                    <a:pt x="370397" y="320810"/>
                  </a:cubicBezTo>
                  <a:cubicBezTo>
                    <a:pt x="372953" y="319057"/>
                    <a:pt x="376109" y="316852"/>
                    <a:pt x="378966" y="314296"/>
                  </a:cubicBezTo>
                  <a:lnTo>
                    <a:pt x="378966" y="314296"/>
                  </a:lnTo>
                  <a:cubicBezTo>
                    <a:pt x="380319" y="313094"/>
                    <a:pt x="381120" y="311039"/>
                    <a:pt x="381120" y="308784"/>
                  </a:cubicBezTo>
                  <a:cubicBezTo>
                    <a:pt x="381120" y="306529"/>
                    <a:pt x="380369" y="304424"/>
                    <a:pt x="379066" y="303222"/>
                  </a:cubicBezTo>
                  <a:cubicBezTo>
                    <a:pt x="376661" y="300917"/>
                    <a:pt x="373905" y="298962"/>
                    <a:pt x="370998" y="296908"/>
                  </a:cubicBezTo>
                  <a:cubicBezTo>
                    <a:pt x="370046" y="296206"/>
                    <a:pt x="369044" y="295555"/>
                    <a:pt x="368092" y="294853"/>
                  </a:cubicBezTo>
                  <a:cubicBezTo>
                    <a:pt x="363582" y="291546"/>
                    <a:pt x="359072" y="288289"/>
                    <a:pt x="354612" y="285032"/>
                  </a:cubicBezTo>
                  <a:cubicBezTo>
                    <a:pt x="345693" y="278568"/>
                    <a:pt x="336823" y="272154"/>
                    <a:pt x="328004" y="265539"/>
                  </a:cubicBezTo>
                  <a:cubicBezTo>
                    <a:pt x="325398" y="263585"/>
                    <a:pt x="323193" y="261180"/>
                    <a:pt x="320888" y="258624"/>
                  </a:cubicBezTo>
                  <a:cubicBezTo>
                    <a:pt x="319736" y="257371"/>
                    <a:pt x="318533" y="256068"/>
                    <a:pt x="317230" y="254715"/>
                  </a:cubicBezTo>
                  <a:lnTo>
                    <a:pt x="315476" y="252961"/>
                  </a:lnTo>
                  <a:lnTo>
                    <a:pt x="317130" y="251107"/>
                  </a:lnTo>
                  <a:cubicBezTo>
                    <a:pt x="318784" y="249203"/>
                    <a:pt x="320337" y="247349"/>
                    <a:pt x="321840" y="245545"/>
                  </a:cubicBezTo>
                  <a:cubicBezTo>
                    <a:pt x="325148" y="241536"/>
                    <a:pt x="328254" y="237778"/>
                    <a:pt x="331912" y="234471"/>
                  </a:cubicBezTo>
                  <a:cubicBezTo>
                    <a:pt x="345693" y="222093"/>
                    <a:pt x="353309" y="209165"/>
                    <a:pt x="355865" y="193932"/>
                  </a:cubicBezTo>
                  <a:lnTo>
                    <a:pt x="356116" y="192529"/>
                  </a:lnTo>
                  <a:lnTo>
                    <a:pt x="393297" y="175792"/>
                  </a:lnTo>
                  <a:cubicBezTo>
                    <a:pt x="404372" y="142168"/>
                    <a:pt x="403770" y="111551"/>
                    <a:pt x="391543" y="82236"/>
                  </a:cubicBezTo>
                  <a:cubicBezTo>
                    <a:pt x="388236" y="74369"/>
                    <a:pt x="382223" y="70911"/>
                    <a:pt x="374055" y="66802"/>
                  </a:cubicBezTo>
                  <a:cubicBezTo>
                    <a:pt x="368242" y="63846"/>
                    <a:pt x="363782" y="65650"/>
                    <a:pt x="357168" y="70160"/>
                  </a:cubicBezTo>
                  <a:cubicBezTo>
                    <a:pt x="355965" y="70961"/>
                    <a:pt x="354662" y="71312"/>
                    <a:pt x="353209" y="71663"/>
                  </a:cubicBezTo>
                  <a:cubicBezTo>
                    <a:pt x="352558" y="71813"/>
                    <a:pt x="351806" y="72014"/>
                    <a:pt x="350954" y="72264"/>
                  </a:cubicBezTo>
                  <a:lnTo>
                    <a:pt x="349852" y="72615"/>
                  </a:lnTo>
                  <a:lnTo>
                    <a:pt x="347547" y="71312"/>
                  </a:lnTo>
                  <a:cubicBezTo>
                    <a:pt x="325148" y="58885"/>
                    <a:pt x="302047" y="46057"/>
                    <a:pt x="281802" y="28618"/>
                  </a:cubicBezTo>
                  <a:cubicBezTo>
                    <a:pt x="271680" y="19899"/>
                    <a:pt x="261558" y="11180"/>
                    <a:pt x="251536" y="2361"/>
                  </a:cubicBezTo>
                  <a:cubicBezTo>
                    <a:pt x="249181" y="306"/>
                    <a:pt x="246324" y="-445"/>
                    <a:pt x="243769" y="256"/>
                  </a:cubicBezTo>
                  <a:cubicBezTo>
                    <a:pt x="241514" y="908"/>
                    <a:pt x="239810" y="2661"/>
                    <a:pt x="239058" y="5217"/>
                  </a:cubicBezTo>
                  <a:lnTo>
                    <a:pt x="238808" y="6019"/>
                  </a:lnTo>
                  <a:cubicBezTo>
                    <a:pt x="238507" y="7021"/>
                    <a:pt x="238156" y="8073"/>
                    <a:pt x="238207" y="8775"/>
                  </a:cubicBezTo>
                  <a:cubicBezTo>
                    <a:pt x="239860" y="26814"/>
                    <a:pt x="232795" y="42048"/>
                    <a:pt x="224827" y="57282"/>
                  </a:cubicBezTo>
                  <a:cubicBezTo>
                    <a:pt x="224075" y="58684"/>
                    <a:pt x="223775" y="60488"/>
                    <a:pt x="223374" y="62593"/>
                  </a:cubicBezTo>
                  <a:cubicBezTo>
                    <a:pt x="223224" y="63294"/>
                    <a:pt x="223123" y="64046"/>
                    <a:pt x="222973" y="64798"/>
                  </a:cubicBezTo>
                  <a:lnTo>
                    <a:pt x="225529" y="67905"/>
                  </a:lnTo>
                  <a:cubicBezTo>
                    <a:pt x="227934" y="70811"/>
                    <a:pt x="230339" y="73667"/>
                    <a:pt x="232694" y="76473"/>
                  </a:cubicBezTo>
                  <a:lnTo>
                    <a:pt x="233246" y="77125"/>
                  </a:lnTo>
                  <a:cubicBezTo>
                    <a:pt x="235651" y="79931"/>
                    <a:pt x="239309" y="84191"/>
                    <a:pt x="234899" y="90554"/>
                  </a:cubicBezTo>
                  <a:lnTo>
                    <a:pt x="234148" y="91607"/>
                  </a:lnTo>
                  <a:lnTo>
                    <a:pt x="229487" y="91958"/>
                  </a:lnTo>
                  <a:cubicBezTo>
                    <a:pt x="226982" y="92158"/>
                    <a:pt x="224326" y="92359"/>
                    <a:pt x="221620" y="92459"/>
                  </a:cubicBezTo>
                  <a:cubicBezTo>
                    <a:pt x="219515" y="92459"/>
                    <a:pt x="217411" y="92459"/>
                    <a:pt x="215306" y="92459"/>
                  </a:cubicBezTo>
                  <a:cubicBezTo>
                    <a:pt x="205134" y="92459"/>
                    <a:pt x="195513" y="92408"/>
                    <a:pt x="186944" y="99073"/>
                  </a:cubicBezTo>
                  <a:cubicBezTo>
                    <a:pt x="183637" y="101679"/>
                    <a:pt x="178325" y="100927"/>
                    <a:pt x="173665" y="100326"/>
                  </a:cubicBezTo>
                  <a:lnTo>
                    <a:pt x="171410" y="100025"/>
                  </a:lnTo>
                  <a:cubicBezTo>
                    <a:pt x="168103" y="99624"/>
                    <a:pt x="164845" y="98722"/>
                    <a:pt x="161738" y="97871"/>
                  </a:cubicBezTo>
                  <a:cubicBezTo>
                    <a:pt x="160937" y="97670"/>
                    <a:pt x="160135" y="97419"/>
                    <a:pt x="159333" y="97219"/>
                  </a:cubicBezTo>
                  <a:cubicBezTo>
                    <a:pt x="158531" y="98372"/>
                    <a:pt x="157730" y="99474"/>
                    <a:pt x="156978" y="100527"/>
                  </a:cubicBezTo>
                  <a:cubicBezTo>
                    <a:pt x="154623" y="103834"/>
                    <a:pt x="152418" y="106940"/>
                    <a:pt x="149913" y="109847"/>
                  </a:cubicBezTo>
                  <a:cubicBezTo>
                    <a:pt x="147207" y="113004"/>
                    <a:pt x="143899" y="115810"/>
                    <a:pt x="140392" y="118015"/>
                  </a:cubicBezTo>
                  <a:cubicBezTo>
                    <a:pt x="136533" y="120420"/>
                    <a:pt x="132274" y="120971"/>
                    <a:pt x="128465" y="119418"/>
                  </a:cubicBezTo>
                  <a:cubicBezTo>
                    <a:pt x="124457" y="117814"/>
                    <a:pt x="121450" y="114156"/>
                    <a:pt x="120247" y="109296"/>
                  </a:cubicBezTo>
                  <a:cubicBezTo>
                    <a:pt x="119145" y="105036"/>
                    <a:pt x="118093" y="100777"/>
                    <a:pt x="116890" y="96017"/>
                  </a:cubicBezTo>
                  <a:lnTo>
                    <a:pt x="96946" y="101028"/>
                  </a:lnTo>
                  <a:lnTo>
                    <a:pt x="95894" y="99424"/>
                  </a:lnTo>
                  <a:cubicBezTo>
                    <a:pt x="89881" y="90204"/>
                    <a:pt x="91685" y="81484"/>
                    <a:pt x="93288" y="73768"/>
                  </a:cubicBezTo>
                  <a:cubicBezTo>
                    <a:pt x="94040" y="70160"/>
                    <a:pt x="94741" y="66702"/>
                    <a:pt x="94691" y="63395"/>
                  </a:cubicBezTo>
                  <a:cubicBezTo>
                    <a:pt x="93990" y="62593"/>
                    <a:pt x="93338" y="61791"/>
                    <a:pt x="92687" y="60990"/>
                  </a:cubicBezTo>
                  <a:cubicBezTo>
                    <a:pt x="90933" y="58885"/>
                    <a:pt x="89329" y="56931"/>
                    <a:pt x="87475" y="55227"/>
                  </a:cubicBezTo>
                  <a:cubicBezTo>
                    <a:pt x="85120" y="53022"/>
                    <a:pt x="82414" y="51018"/>
                    <a:pt x="80260" y="49414"/>
                  </a:cubicBezTo>
                  <a:cubicBezTo>
                    <a:pt x="79708" y="49013"/>
                    <a:pt x="79207" y="48612"/>
                    <a:pt x="78756" y="48261"/>
                  </a:cubicBezTo>
                  <a:cubicBezTo>
                    <a:pt x="57910" y="48863"/>
                    <a:pt x="49492" y="61340"/>
                    <a:pt x="43429" y="79931"/>
                  </a:cubicBezTo>
                  <a:cubicBezTo>
                    <a:pt x="44180" y="82637"/>
                    <a:pt x="44932" y="85393"/>
                    <a:pt x="45734" y="88250"/>
                  </a:cubicBezTo>
                  <a:cubicBezTo>
                    <a:pt x="47638" y="95315"/>
                    <a:pt x="49642" y="102581"/>
                    <a:pt x="51947" y="109797"/>
                  </a:cubicBezTo>
                  <a:cubicBezTo>
                    <a:pt x="53000" y="113104"/>
                    <a:pt x="53801" y="116511"/>
                    <a:pt x="54603" y="119819"/>
                  </a:cubicBezTo>
                  <a:cubicBezTo>
                    <a:pt x="56457" y="127586"/>
                    <a:pt x="58161" y="134902"/>
                    <a:pt x="62821" y="141416"/>
                  </a:cubicBezTo>
                  <a:lnTo>
                    <a:pt x="91384" y="144523"/>
                  </a:lnTo>
                  <a:lnTo>
                    <a:pt x="102258" y="158854"/>
                  </a:lnTo>
                  <a:cubicBezTo>
                    <a:pt x="112430" y="160859"/>
                    <a:pt x="121500" y="158854"/>
                    <a:pt x="131071" y="156750"/>
                  </a:cubicBezTo>
                  <a:lnTo>
                    <a:pt x="133777" y="156149"/>
                  </a:lnTo>
                  <a:cubicBezTo>
                    <a:pt x="158932" y="150687"/>
                    <a:pt x="182133" y="157201"/>
                    <a:pt x="206737" y="164116"/>
                  </a:cubicBezTo>
                  <a:lnTo>
                    <a:pt x="210345" y="165118"/>
                  </a:lnTo>
                  <a:lnTo>
                    <a:pt x="209293" y="167874"/>
                  </a:lnTo>
                  <a:cubicBezTo>
                    <a:pt x="203380" y="183358"/>
                    <a:pt x="194761" y="196437"/>
                    <a:pt x="182284" y="208914"/>
                  </a:cubicBezTo>
                  <a:cubicBezTo>
                    <a:pt x="171159" y="220039"/>
                    <a:pt x="159684" y="232115"/>
                    <a:pt x="152017" y="246798"/>
                  </a:cubicBezTo>
                  <a:cubicBezTo>
                    <a:pt x="151115" y="248552"/>
                    <a:pt x="149211" y="248953"/>
                    <a:pt x="147507" y="249303"/>
                  </a:cubicBezTo>
                  <a:cubicBezTo>
                    <a:pt x="146956" y="249403"/>
                    <a:pt x="146355" y="249554"/>
                    <a:pt x="145753" y="249704"/>
                  </a:cubicBezTo>
                  <a:lnTo>
                    <a:pt x="144451" y="250105"/>
                  </a:lnTo>
                  <a:lnTo>
                    <a:pt x="129618" y="238830"/>
                  </a:lnTo>
                  <a:lnTo>
                    <a:pt x="122352" y="239482"/>
                  </a:lnTo>
                  <a:cubicBezTo>
                    <a:pt x="109273" y="240684"/>
                    <a:pt x="97297" y="241787"/>
                    <a:pt x="84819" y="242939"/>
                  </a:cubicBezTo>
                  <a:cubicBezTo>
                    <a:pt x="81312" y="248752"/>
                    <a:pt x="77804" y="254515"/>
                    <a:pt x="74296" y="260227"/>
                  </a:cubicBezTo>
                  <a:cubicBezTo>
                    <a:pt x="67331" y="271703"/>
                    <a:pt x="60366" y="283078"/>
                    <a:pt x="53551" y="294503"/>
                  </a:cubicBezTo>
                  <a:lnTo>
                    <a:pt x="49342" y="301618"/>
                  </a:lnTo>
                  <a:cubicBezTo>
                    <a:pt x="38818" y="319507"/>
                    <a:pt x="27995" y="337948"/>
                    <a:pt x="11358" y="352129"/>
                  </a:cubicBezTo>
                  <a:cubicBezTo>
                    <a:pt x="6998" y="355837"/>
                    <a:pt x="4744" y="360748"/>
                    <a:pt x="4693" y="366711"/>
                  </a:cubicBezTo>
                  <a:lnTo>
                    <a:pt x="4693" y="367664"/>
                  </a:lnTo>
                  <a:cubicBezTo>
                    <a:pt x="4693" y="371121"/>
                    <a:pt x="4693" y="374979"/>
                    <a:pt x="2438" y="377535"/>
                  </a:cubicBezTo>
                  <a:cubicBezTo>
                    <a:pt x="-718" y="381243"/>
                    <a:pt x="-819" y="384099"/>
                    <a:pt x="2188" y="389211"/>
                  </a:cubicBezTo>
                  <a:cubicBezTo>
                    <a:pt x="3892" y="392117"/>
                    <a:pt x="4894" y="395274"/>
                    <a:pt x="5846" y="398030"/>
                  </a:cubicBezTo>
                  <a:cubicBezTo>
                    <a:pt x="5946" y="398331"/>
                    <a:pt x="6046" y="398632"/>
                    <a:pt x="6147" y="398882"/>
                  </a:cubicBezTo>
                  <a:cubicBezTo>
                    <a:pt x="37265" y="394071"/>
                    <a:pt x="54202" y="412211"/>
                    <a:pt x="70588" y="429750"/>
                  </a:cubicBezTo>
                  <a:cubicBezTo>
                    <a:pt x="72843" y="432205"/>
                    <a:pt x="75148" y="434611"/>
                    <a:pt x="77453" y="436966"/>
                  </a:cubicBezTo>
                  <a:lnTo>
                    <a:pt x="78606" y="438168"/>
                  </a:lnTo>
                  <a:lnTo>
                    <a:pt x="78055" y="439772"/>
                  </a:lnTo>
                  <a:cubicBezTo>
                    <a:pt x="75449" y="447038"/>
                    <a:pt x="70388" y="451848"/>
                    <a:pt x="65477" y="456559"/>
                  </a:cubicBezTo>
                  <a:cubicBezTo>
                    <a:pt x="60917" y="460918"/>
                    <a:pt x="56557" y="465078"/>
                    <a:pt x="54553" y="470940"/>
                  </a:cubicBezTo>
                  <a:cubicBezTo>
                    <a:pt x="73394" y="480060"/>
                    <a:pt x="91885" y="479459"/>
                    <a:pt x="112530" y="469086"/>
                  </a:cubicBezTo>
                  <a:cubicBezTo>
                    <a:pt x="113082" y="467683"/>
                    <a:pt x="113633" y="466330"/>
                    <a:pt x="114184" y="465027"/>
                  </a:cubicBezTo>
                  <a:cubicBezTo>
                    <a:pt x="115687" y="461369"/>
                    <a:pt x="117141" y="457912"/>
                    <a:pt x="117992" y="454404"/>
                  </a:cubicBezTo>
                  <a:cubicBezTo>
                    <a:pt x="119145" y="449744"/>
                    <a:pt x="119796" y="444582"/>
                    <a:pt x="119947" y="438619"/>
                  </a:cubicBezTo>
                  <a:cubicBezTo>
                    <a:pt x="120297" y="427695"/>
                    <a:pt x="125609" y="420028"/>
                    <a:pt x="136734" y="414516"/>
                  </a:cubicBezTo>
                  <a:lnTo>
                    <a:pt x="137385" y="414216"/>
                  </a:lnTo>
                  <a:cubicBezTo>
                    <a:pt x="161538" y="402239"/>
                    <a:pt x="162440" y="402239"/>
                    <a:pt x="186994" y="414366"/>
                  </a:cubicBezTo>
                  <a:lnTo>
                    <a:pt x="192556" y="417222"/>
                  </a:lnTo>
                  <a:cubicBezTo>
                    <a:pt x="196314" y="419126"/>
                    <a:pt x="200023" y="421031"/>
                    <a:pt x="203831" y="422834"/>
                  </a:cubicBezTo>
                  <a:cubicBezTo>
                    <a:pt x="204282" y="423035"/>
                    <a:pt x="204683" y="423286"/>
                    <a:pt x="205134" y="423486"/>
                  </a:cubicBezTo>
                  <a:cubicBezTo>
                    <a:pt x="206888" y="424438"/>
                    <a:pt x="207689" y="424889"/>
                    <a:pt x="208892" y="424137"/>
                  </a:cubicBezTo>
                  <a:cubicBezTo>
                    <a:pt x="207088" y="417172"/>
                    <a:pt x="202829" y="411159"/>
                    <a:pt x="198319" y="404895"/>
                  </a:cubicBezTo>
                  <a:cubicBezTo>
                    <a:pt x="193709" y="398381"/>
                    <a:pt x="188898" y="391666"/>
                    <a:pt x="186844" y="383599"/>
                  </a:cubicBezTo>
                  <a:lnTo>
                    <a:pt x="186543" y="382346"/>
                  </a:lnTo>
                  <a:lnTo>
                    <a:pt x="203981" y="360047"/>
                  </a:lnTo>
                  <a:lnTo>
                    <a:pt x="180680" y="332336"/>
                  </a:lnTo>
                  <a:lnTo>
                    <a:pt x="185340" y="331534"/>
                  </a:lnTo>
                  <a:cubicBezTo>
                    <a:pt x="196164" y="329730"/>
                    <a:pt x="204232" y="327625"/>
                    <a:pt x="208892" y="317152"/>
                  </a:cubicBezTo>
                  <a:cubicBezTo>
                    <a:pt x="208692" y="316751"/>
                    <a:pt x="208291" y="316150"/>
                    <a:pt x="207990" y="315699"/>
                  </a:cubicBezTo>
                  <a:cubicBezTo>
                    <a:pt x="206286" y="313144"/>
                    <a:pt x="202728" y="307782"/>
                    <a:pt x="208992" y="302019"/>
                  </a:cubicBezTo>
                  <a:lnTo>
                    <a:pt x="209744" y="301317"/>
                  </a:lnTo>
                  <a:lnTo>
                    <a:pt x="216058" y="301317"/>
                  </a:lnTo>
                  <a:cubicBezTo>
                    <a:pt x="220718" y="301268"/>
                    <a:pt x="225829" y="301217"/>
                    <a:pt x="230890" y="301368"/>
                  </a:cubicBezTo>
                  <a:cubicBezTo>
                    <a:pt x="235751" y="301518"/>
                    <a:pt x="240612" y="301819"/>
                    <a:pt x="245573" y="302170"/>
                  </a:cubicBezTo>
                  <a:lnTo>
                    <a:pt x="254292" y="302721"/>
                  </a:lnTo>
                  <a:lnTo>
                    <a:pt x="254693" y="304775"/>
                  </a:lnTo>
                  <a:cubicBezTo>
                    <a:pt x="256747" y="315850"/>
                    <a:pt x="263111" y="322163"/>
                    <a:pt x="275238" y="325220"/>
                  </a:cubicBezTo>
                  <a:cubicBezTo>
                    <a:pt x="279998" y="326423"/>
                    <a:pt x="284458" y="328177"/>
                    <a:pt x="288968" y="330031"/>
                  </a:cubicBezTo>
                  <a:cubicBezTo>
                    <a:pt x="299040" y="334190"/>
                    <a:pt x="310415" y="338850"/>
                    <a:pt x="315526" y="351277"/>
                  </a:cubicBezTo>
                  <a:cubicBezTo>
                    <a:pt x="330159" y="346367"/>
                    <a:pt x="344290" y="348271"/>
                    <a:pt x="357970" y="350075"/>
                  </a:cubicBezTo>
                  <a:cubicBezTo>
                    <a:pt x="362029" y="350626"/>
                    <a:pt x="366238" y="351177"/>
                    <a:pt x="370397" y="351528"/>
                  </a:cubicBezTo>
                  <a:cubicBezTo>
                    <a:pt x="370096" y="348722"/>
                    <a:pt x="368944" y="346066"/>
                    <a:pt x="367741" y="343260"/>
                  </a:cubicBezTo>
                  <a:cubicBezTo>
                    <a:pt x="365286" y="337597"/>
                    <a:pt x="362530" y="331183"/>
                    <a:pt x="367340" y="32306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D7AA1751-2D1D-4C57-800C-4449F1E8D691}"/>
                </a:ext>
              </a:extLst>
            </p:cNvPr>
            <p:cNvSpPr/>
            <p:nvPr/>
          </p:nvSpPr>
          <p:spPr>
            <a:xfrm>
              <a:off x="1050608" y="4329514"/>
              <a:ext cx="502696" cy="543678"/>
            </a:xfrm>
            <a:custGeom>
              <a:avLst/>
              <a:gdLst>
                <a:gd name="connsiteX0" fmla="*/ 307225 w 403085"/>
                <a:gd name="connsiteY0" fmla="*/ 384846 h 435946"/>
                <a:gd name="connsiteX1" fmla="*/ 305421 w 403085"/>
                <a:gd name="connsiteY1" fmla="*/ 384545 h 435946"/>
                <a:gd name="connsiteX2" fmla="*/ 302515 w 403085"/>
                <a:gd name="connsiteY2" fmla="*/ 383994 h 435946"/>
                <a:gd name="connsiteX3" fmla="*/ 287582 w 403085"/>
                <a:gd name="connsiteY3" fmla="*/ 356634 h 435946"/>
                <a:gd name="connsiteX4" fmla="*/ 315243 w 403085"/>
                <a:gd name="connsiteY4" fmla="*/ 326067 h 435946"/>
                <a:gd name="connsiteX5" fmla="*/ 316395 w 403085"/>
                <a:gd name="connsiteY5" fmla="*/ 324713 h 435946"/>
                <a:gd name="connsiteX6" fmla="*/ 316495 w 403085"/>
                <a:gd name="connsiteY6" fmla="*/ 324563 h 435946"/>
                <a:gd name="connsiteX7" fmla="*/ 314641 w 403085"/>
                <a:gd name="connsiteY7" fmla="*/ 320805 h 435946"/>
                <a:gd name="connsiteX8" fmla="*/ 310933 w 403085"/>
                <a:gd name="connsiteY8" fmla="*/ 307576 h 435946"/>
                <a:gd name="connsiteX9" fmla="*/ 306924 w 403085"/>
                <a:gd name="connsiteY9" fmla="*/ 282070 h 435946"/>
                <a:gd name="connsiteX10" fmla="*/ 306273 w 403085"/>
                <a:gd name="connsiteY10" fmla="*/ 274503 h 435946"/>
                <a:gd name="connsiteX11" fmla="*/ 306473 w 403085"/>
                <a:gd name="connsiteY11" fmla="*/ 270945 h 435946"/>
                <a:gd name="connsiteX12" fmla="*/ 306473 w 403085"/>
                <a:gd name="connsiteY12" fmla="*/ 268741 h 435946"/>
                <a:gd name="connsiteX13" fmla="*/ 308678 w 403085"/>
                <a:gd name="connsiteY13" fmla="*/ 268340 h 435946"/>
                <a:gd name="connsiteX14" fmla="*/ 330677 w 403085"/>
                <a:gd name="connsiteY14" fmla="*/ 266235 h 435946"/>
                <a:gd name="connsiteX15" fmla="*/ 371767 w 403085"/>
                <a:gd name="connsiteY15" fmla="*/ 256413 h 435946"/>
                <a:gd name="connsiteX16" fmla="*/ 372368 w 403085"/>
                <a:gd name="connsiteY16" fmla="*/ 253858 h 435946"/>
                <a:gd name="connsiteX17" fmla="*/ 374122 w 403085"/>
                <a:gd name="connsiteY17" fmla="*/ 244788 h 435946"/>
                <a:gd name="connsiteX18" fmla="*/ 375174 w 403085"/>
                <a:gd name="connsiteY18" fmla="*/ 235517 h 435946"/>
                <a:gd name="connsiteX19" fmla="*/ 378732 w 403085"/>
                <a:gd name="connsiteY19" fmla="*/ 197935 h 435946"/>
                <a:gd name="connsiteX20" fmla="*/ 399528 w 403085"/>
                <a:gd name="connsiteY20" fmla="*/ 166265 h 435946"/>
                <a:gd name="connsiteX21" fmla="*/ 402534 w 403085"/>
                <a:gd name="connsiteY21" fmla="*/ 163259 h 435946"/>
                <a:gd name="connsiteX22" fmla="*/ 403086 w 403085"/>
                <a:gd name="connsiteY22" fmla="*/ 162557 h 435946"/>
                <a:gd name="connsiteX23" fmla="*/ 390708 w 403085"/>
                <a:gd name="connsiteY23" fmla="*/ 158799 h 435946"/>
                <a:gd name="connsiteX24" fmla="*/ 374172 w 403085"/>
                <a:gd name="connsiteY24" fmla="*/ 153588 h 435946"/>
                <a:gd name="connsiteX25" fmla="*/ 373621 w 403085"/>
                <a:gd name="connsiteY25" fmla="*/ 152936 h 435946"/>
                <a:gd name="connsiteX26" fmla="*/ 377028 w 403085"/>
                <a:gd name="connsiteY26" fmla="*/ 74213 h 435946"/>
                <a:gd name="connsiteX27" fmla="*/ 359039 w 403085"/>
                <a:gd name="connsiteY27" fmla="*/ 39036 h 435946"/>
                <a:gd name="connsiteX28" fmla="*/ 358638 w 403085"/>
                <a:gd name="connsiteY28" fmla="*/ 37082 h 435946"/>
                <a:gd name="connsiteX29" fmla="*/ 337291 w 403085"/>
                <a:gd name="connsiteY29" fmla="*/ 18641 h 435946"/>
                <a:gd name="connsiteX30" fmla="*/ 328772 w 403085"/>
                <a:gd name="connsiteY30" fmla="*/ 17238 h 435946"/>
                <a:gd name="connsiteX31" fmla="*/ 326066 w 403085"/>
                <a:gd name="connsiteY31" fmla="*/ 16486 h 435946"/>
                <a:gd name="connsiteX32" fmla="*/ 324663 w 403085"/>
                <a:gd name="connsiteY32" fmla="*/ 16185 h 435946"/>
                <a:gd name="connsiteX33" fmla="*/ 317898 w 403085"/>
                <a:gd name="connsiteY33" fmla="*/ 0 h 435946"/>
                <a:gd name="connsiteX34" fmla="*/ 310382 w 403085"/>
                <a:gd name="connsiteY34" fmla="*/ 10473 h 435946"/>
                <a:gd name="connsiteX35" fmla="*/ 295950 w 403085"/>
                <a:gd name="connsiteY35" fmla="*/ 26158 h 435946"/>
                <a:gd name="connsiteX36" fmla="*/ 295249 w 403085"/>
                <a:gd name="connsiteY36" fmla="*/ 26508 h 435946"/>
                <a:gd name="connsiteX37" fmla="*/ 294447 w 403085"/>
                <a:gd name="connsiteY37" fmla="*/ 26408 h 435946"/>
                <a:gd name="connsiteX38" fmla="*/ 277760 w 403085"/>
                <a:gd name="connsiteY38" fmla="*/ 19944 h 435946"/>
                <a:gd name="connsiteX39" fmla="*/ 270494 w 403085"/>
                <a:gd name="connsiteY39" fmla="*/ 16185 h 435946"/>
                <a:gd name="connsiteX40" fmla="*/ 267788 w 403085"/>
                <a:gd name="connsiteY40" fmla="*/ 14933 h 435946"/>
                <a:gd name="connsiteX41" fmla="*/ 258969 w 403085"/>
                <a:gd name="connsiteY41" fmla="*/ 12327 h 435946"/>
                <a:gd name="connsiteX42" fmla="*/ 224143 w 403085"/>
                <a:gd name="connsiteY42" fmla="*/ 27460 h 435946"/>
                <a:gd name="connsiteX43" fmla="*/ 239727 w 403085"/>
                <a:gd name="connsiteY43" fmla="*/ 31369 h 435946"/>
                <a:gd name="connsiteX44" fmla="*/ 258217 w 403085"/>
                <a:gd name="connsiteY44" fmla="*/ 36180 h 435946"/>
                <a:gd name="connsiteX45" fmla="*/ 259370 w 403085"/>
                <a:gd name="connsiteY45" fmla="*/ 37132 h 435946"/>
                <a:gd name="connsiteX46" fmla="*/ 259169 w 403085"/>
                <a:gd name="connsiteY46" fmla="*/ 38635 h 435946"/>
                <a:gd name="connsiteX47" fmla="*/ 229655 w 403085"/>
                <a:gd name="connsiteY47" fmla="*/ 89647 h 435946"/>
                <a:gd name="connsiteX48" fmla="*/ 212918 w 403085"/>
                <a:gd name="connsiteY48" fmla="*/ 109841 h 435946"/>
                <a:gd name="connsiteX49" fmla="*/ 212166 w 403085"/>
                <a:gd name="connsiteY49" fmla="*/ 110894 h 435946"/>
                <a:gd name="connsiteX50" fmla="*/ 210863 w 403085"/>
                <a:gd name="connsiteY50" fmla="*/ 110994 h 435946"/>
                <a:gd name="connsiteX51" fmla="*/ 180547 w 403085"/>
                <a:gd name="connsiteY51" fmla="*/ 112748 h 435946"/>
                <a:gd name="connsiteX52" fmla="*/ 169623 w 403085"/>
                <a:gd name="connsiteY52" fmla="*/ 113349 h 435946"/>
                <a:gd name="connsiteX53" fmla="*/ 168069 w 403085"/>
                <a:gd name="connsiteY53" fmla="*/ 115103 h 435946"/>
                <a:gd name="connsiteX54" fmla="*/ 165814 w 403085"/>
                <a:gd name="connsiteY54" fmla="*/ 117658 h 435946"/>
                <a:gd name="connsiteX55" fmla="*/ 161405 w 403085"/>
                <a:gd name="connsiteY55" fmla="*/ 123522 h 435946"/>
                <a:gd name="connsiteX56" fmla="*/ 151182 w 403085"/>
                <a:gd name="connsiteY56" fmla="*/ 136199 h 435946"/>
                <a:gd name="connsiteX57" fmla="*/ 136450 w 403085"/>
                <a:gd name="connsiteY57" fmla="*/ 138454 h 435946"/>
                <a:gd name="connsiteX58" fmla="*/ 129635 w 403085"/>
                <a:gd name="connsiteY58" fmla="*/ 137552 h 435946"/>
                <a:gd name="connsiteX59" fmla="*/ 93505 w 403085"/>
                <a:gd name="connsiteY59" fmla="*/ 116606 h 435946"/>
                <a:gd name="connsiteX60" fmla="*/ 84686 w 403085"/>
                <a:gd name="connsiteY60" fmla="*/ 96712 h 435946"/>
                <a:gd name="connsiteX61" fmla="*/ 74363 w 403085"/>
                <a:gd name="connsiteY61" fmla="*/ 73361 h 435946"/>
                <a:gd name="connsiteX62" fmla="*/ 42794 w 403085"/>
                <a:gd name="connsiteY62" fmla="*/ 44949 h 435946"/>
                <a:gd name="connsiteX63" fmla="*/ 36781 w 403085"/>
                <a:gd name="connsiteY63" fmla="*/ 41541 h 435946"/>
                <a:gd name="connsiteX64" fmla="*/ 20846 w 403085"/>
                <a:gd name="connsiteY64" fmla="*/ 43646 h 435946"/>
                <a:gd name="connsiteX65" fmla="*/ 11826 w 403085"/>
                <a:gd name="connsiteY65" fmla="*/ 47104 h 435946"/>
                <a:gd name="connsiteX66" fmla="*/ 3007 w 403085"/>
                <a:gd name="connsiteY66" fmla="*/ 50060 h 435946"/>
                <a:gd name="connsiteX67" fmla="*/ 0 w 403085"/>
                <a:gd name="connsiteY67" fmla="*/ 51213 h 435946"/>
                <a:gd name="connsiteX68" fmla="*/ 902 w 403085"/>
                <a:gd name="connsiteY68" fmla="*/ 58879 h 435946"/>
                <a:gd name="connsiteX69" fmla="*/ 19693 w 403085"/>
                <a:gd name="connsiteY69" fmla="*/ 60884 h 435946"/>
                <a:gd name="connsiteX70" fmla="*/ 31369 w 403085"/>
                <a:gd name="connsiteY70" fmla="*/ 78723 h 435946"/>
                <a:gd name="connsiteX71" fmla="*/ 74063 w 403085"/>
                <a:gd name="connsiteY71" fmla="*/ 78723 h 435946"/>
                <a:gd name="connsiteX72" fmla="*/ 74714 w 403085"/>
                <a:gd name="connsiteY72" fmla="*/ 80427 h 435946"/>
                <a:gd name="connsiteX73" fmla="*/ 77470 w 403085"/>
                <a:gd name="connsiteY73" fmla="*/ 87242 h 435946"/>
                <a:gd name="connsiteX74" fmla="*/ 81579 w 403085"/>
                <a:gd name="connsiteY74" fmla="*/ 98216 h 435946"/>
                <a:gd name="connsiteX75" fmla="*/ 105031 w 403085"/>
                <a:gd name="connsiteY75" fmla="*/ 145570 h 435946"/>
                <a:gd name="connsiteX76" fmla="*/ 116857 w 403085"/>
                <a:gd name="connsiteY76" fmla="*/ 194177 h 435946"/>
                <a:gd name="connsiteX77" fmla="*/ 116205 w 403085"/>
                <a:gd name="connsiteY77" fmla="*/ 197985 h 435946"/>
                <a:gd name="connsiteX78" fmla="*/ 115153 w 403085"/>
                <a:gd name="connsiteY78" fmla="*/ 203597 h 435946"/>
                <a:gd name="connsiteX79" fmla="*/ 122469 w 403085"/>
                <a:gd name="connsiteY79" fmla="*/ 239627 h 435946"/>
                <a:gd name="connsiteX80" fmla="*/ 157446 w 403085"/>
                <a:gd name="connsiteY80" fmla="*/ 330276 h 435946"/>
                <a:gd name="connsiteX81" fmla="*/ 158448 w 403085"/>
                <a:gd name="connsiteY81" fmla="*/ 335387 h 435946"/>
                <a:gd name="connsiteX82" fmla="*/ 159350 w 403085"/>
                <a:gd name="connsiteY82" fmla="*/ 339245 h 435946"/>
                <a:gd name="connsiteX83" fmla="*/ 167518 w 403085"/>
                <a:gd name="connsiteY83" fmla="*/ 353076 h 435946"/>
                <a:gd name="connsiteX84" fmla="*/ 190469 w 403085"/>
                <a:gd name="connsiteY84" fmla="*/ 379183 h 435946"/>
                <a:gd name="connsiteX85" fmla="*/ 193726 w 403085"/>
                <a:gd name="connsiteY85" fmla="*/ 384545 h 435946"/>
                <a:gd name="connsiteX86" fmla="*/ 197634 w 403085"/>
                <a:gd name="connsiteY86" fmla="*/ 390859 h 435946"/>
                <a:gd name="connsiteX87" fmla="*/ 220585 w 403085"/>
                <a:gd name="connsiteY87" fmla="*/ 426086 h 435946"/>
                <a:gd name="connsiteX88" fmla="*/ 248446 w 403085"/>
                <a:gd name="connsiteY88" fmla="*/ 433653 h 435946"/>
                <a:gd name="connsiteX89" fmla="*/ 260422 w 403085"/>
                <a:gd name="connsiteY89" fmla="*/ 427289 h 435946"/>
                <a:gd name="connsiteX90" fmla="*/ 295349 w 403085"/>
                <a:gd name="connsiteY90" fmla="*/ 410903 h 435946"/>
                <a:gd name="connsiteX91" fmla="*/ 316696 w 403085"/>
                <a:gd name="connsiteY91" fmla="*/ 395118 h 435946"/>
                <a:gd name="connsiteX92" fmla="*/ 307175 w 403085"/>
                <a:gd name="connsiteY92" fmla="*/ 384896 h 435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403085" h="435946">
                  <a:moveTo>
                    <a:pt x="307225" y="384846"/>
                  </a:moveTo>
                  <a:cubicBezTo>
                    <a:pt x="306624" y="384695"/>
                    <a:pt x="306022" y="384595"/>
                    <a:pt x="305421" y="384545"/>
                  </a:cubicBezTo>
                  <a:cubicBezTo>
                    <a:pt x="304419" y="384445"/>
                    <a:pt x="303467" y="384294"/>
                    <a:pt x="302515" y="383994"/>
                  </a:cubicBezTo>
                  <a:cubicBezTo>
                    <a:pt x="286379" y="379133"/>
                    <a:pt x="283172" y="373220"/>
                    <a:pt x="287582" y="356634"/>
                  </a:cubicBezTo>
                  <a:cubicBezTo>
                    <a:pt x="293194" y="335487"/>
                    <a:pt x="293745" y="334886"/>
                    <a:pt x="315243" y="326067"/>
                  </a:cubicBezTo>
                  <a:cubicBezTo>
                    <a:pt x="315593" y="325866"/>
                    <a:pt x="316044" y="325165"/>
                    <a:pt x="316395" y="324713"/>
                  </a:cubicBezTo>
                  <a:cubicBezTo>
                    <a:pt x="316395" y="324713"/>
                    <a:pt x="316445" y="324613"/>
                    <a:pt x="316495" y="324563"/>
                  </a:cubicBezTo>
                  <a:cubicBezTo>
                    <a:pt x="315944" y="323311"/>
                    <a:pt x="315293" y="322058"/>
                    <a:pt x="314641" y="320805"/>
                  </a:cubicBezTo>
                  <a:cubicBezTo>
                    <a:pt x="312437" y="316496"/>
                    <a:pt x="310182" y="311986"/>
                    <a:pt x="310933" y="307576"/>
                  </a:cubicBezTo>
                  <a:cubicBezTo>
                    <a:pt x="312537" y="298957"/>
                    <a:pt x="311334" y="291290"/>
                    <a:pt x="306924" y="282070"/>
                  </a:cubicBezTo>
                  <a:cubicBezTo>
                    <a:pt x="305822" y="279765"/>
                    <a:pt x="306022" y="277209"/>
                    <a:pt x="306273" y="274503"/>
                  </a:cubicBezTo>
                  <a:cubicBezTo>
                    <a:pt x="306373" y="273401"/>
                    <a:pt x="306473" y="272198"/>
                    <a:pt x="306473" y="270945"/>
                  </a:cubicBezTo>
                  <a:lnTo>
                    <a:pt x="306473" y="268741"/>
                  </a:lnTo>
                  <a:lnTo>
                    <a:pt x="308678" y="268340"/>
                  </a:lnTo>
                  <a:cubicBezTo>
                    <a:pt x="315944" y="266937"/>
                    <a:pt x="323411" y="266586"/>
                    <a:pt x="330677" y="266235"/>
                  </a:cubicBezTo>
                  <a:cubicBezTo>
                    <a:pt x="345259" y="265533"/>
                    <a:pt x="359089" y="264882"/>
                    <a:pt x="371767" y="256413"/>
                  </a:cubicBezTo>
                  <a:cubicBezTo>
                    <a:pt x="371967" y="255562"/>
                    <a:pt x="372168" y="254710"/>
                    <a:pt x="372368" y="253858"/>
                  </a:cubicBezTo>
                  <a:cubicBezTo>
                    <a:pt x="373070" y="250951"/>
                    <a:pt x="373771" y="247895"/>
                    <a:pt x="374122" y="244788"/>
                  </a:cubicBezTo>
                  <a:lnTo>
                    <a:pt x="375174" y="235517"/>
                  </a:lnTo>
                  <a:cubicBezTo>
                    <a:pt x="376628" y="223190"/>
                    <a:pt x="378081" y="210462"/>
                    <a:pt x="378732" y="197935"/>
                  </a:cubicBezTo>
                  <a:cubicBezTo>
                    <a:pt x="379333" y="186209"/>
                    <a:pt x="382240" y="172078"/>
                    <a:pt x="399528" y="166265"/>
                  </a:cubicBezTo>
                  <a:cubicBezTo>
                    <a:pt x="400430" y="165965"/>
                    <a:pt x="401482" y="164612"/>
                    <a:pt x="402534" y="163259"/>
                  </a:cubicBezTo>
                  <a:cubicBezTo>
                    <a:pt x="402735" y="163008"/>
                    <a:pt x="402885" y="162808"/>
                    <a:pt x="403086" y="162557"/>
                  </a:cubicBezTo>
                  <a:cubicBezTo>
                    <a:pt x="399678" y="159450"/>
                    <a:pt x="395469" y="159150"/>
                    <a:pt x="390708" y="158799"/>
                  </a:cubicBezTo>
                  <a:cubicBezTo>
                    <a:pt x="385447" y="158448"/>
                    <a:pt x="379484" y="158047"/>
                    <a:pt x="374172" y="153588"/>
                  </a:cubicBezTo>
                  <a:lnTo>
                    <a:pt x="373621" y="152936"/>
                  </a:lnTo>
                  <a:cubicBezTo>
                    <a:pt x="357135" y="125977"/>
                    <a:pt x="358287" y="99519"/>
                    <a:pt x="377028" y="74213"/>
                  </a:cubicBezTo>
                  <a:cubicBezTo>
                    <a:pt x="364250" y="65093"/>
                    <a:pt x="361595" y="51864"/>
                    <a:pt x="359039" y="39036"/>
                  </a:cubicBezTo>
                  <a:lnTo>
                    <a:pt x="358638" y="37082"/>
                  </a:lnTo>
                  <a:cubicBezTo>
                    <a:pt x="355882" y="23502"/>
                    <a:pt x="349267" y="17739"/>
                    <a:pt x="337291" y="18641"/>
                  </a:cubicBezTo>
                  <a:cubicBezTo>
                    <a:pt x="334234" y="18841"/>
                    <a:pt x="331328" y="17990"/>
                    <a:pt x="328772" y="17238"/>
                  </a:cubicBezTo>
                  <a:cubicBezTo>
                    <a:pt x="327820" y="16937"/>
                    <a:pt x="326918" y="16687"/>
                    <a:pt x="326066" y="16486"/>
                  </a:cubicBezTo>
                  <a:lnTo>
                    <a:pt x="324663" y="16185"/>
                  </a:lnTo>
                  <a:lnTo>
                    <a:pt x="317898" y="0"/>
                  </a:lnTo>
                  <a:cubicBezTo>
                    <a:pt x="314842" y="3057"/>
                    <a:pt x="312687" y="6715"/>
                    <a:pt x="310382" y="10473"/>
                  </a:cubicBezTo>
                  <a:cubicBezTo>
                    <a:pt x="306824" y="16386"/>
                    <a:pt x="303116" y="22499"/>
                    <a:pt x="295950" y="26158"/>
                  </a:cubicBezTo>
                  <a:lnTo>
                    <a:pt x="295249" y="26508"/>
                  </a:lnTo>
                  <a:lnTo>
                    <a:pt x="294447" y="26408"/>
                  </a:lnTo>
                  <a:cubicBezTo>
                    <a:pt x="288233" y="25707"/>
                    <a:pt x="282922" y="22800"/>
                    <a:pt x="277760" y="19944"/>
                  </a:cubicBezTo>
                  <a:cubicBezTo>
                    <a:pt x="275405" y="18641"/>
                    <a:pt x="272950" y="17288"/>
                    <a:pt x="270494" y="16185"/>
                  </a:cubicBezTo>
                  <a:cubicBezTo>
                    <a:pt x="269642" y="15785"/>
                    <a:pt x="268741" y="15384"/>
                    <a:pt x="267788" y="14933"/>
                  </a:cubicBezTo>
                  <a:cubicBezTo>
                    <a:pt x="264682" y="13480"/>
                    <a:pt x="261174" y="11826"/>
                    <a:pt x="258969" y="12327"/>
                  </a:cubicBezTo>
                  <a:cubicBezTo>
                    <a:pt x="246341" y="15284"/>
                    <a:pt x="234165" y="18691"/>
                    <a:pt x="224143" y="27460"/>
                  </a:cubicBezTo>
                  <a:cubicBezTo>
                    <a:pt x="228452" y="31269"/>
                    <a:pt x="233714" y="31319"/>
                    <a:pt x="239727" y="31369"/>
                  </a:cubicBezTo>
                  <a:cubicBezTo>
                    <a:pt x="245740" y="31419"/>
                    <a:pt x="252505" y="31469"/>
                    <a:pt x="258217" y="36180"/>
                  </a:cubicBezTo>
                  <a:lnTo>
                    <a:pt x="259370" y="37132"/>
                  </a:lnTo>
                  <a:lnTo>
                    <a:pt x="259169" y="38635"/>
                  </a:lnTo>
                  <a:cubicBezTo>
                    <a:pt x="256163" y="60332"/>
                    <a:pt x="242683" y="75215"/>
                    <a:pt x="229655" y="89647"/>
                  </a:cubicBezTo>
                  <a:cubicBezTo>
                    <a:pt x="223842" y="96061"/>
                    <a:pt x="217879" y="102726"/>
                    <a:pt x="212918" y="109841"/>
                  </a:cubicBezTo>
                  <a:lnTo>
                    <a:pt x="212166" y="110894"/>
                  </a:lnTo>
                  <a:lnTo>
                    <a:pt x="210863" y="110994"/>
                  </a:lnTo>
                  <a:cubicBezTo>
                    <a:pt x="200691" y="111595"/>
                    <a:pt x="190368" y="112197"/>
                    <a:pt x="180547" y="112748"/>
                  </a:cubicBezTo>
                  <a:lnTo>
                    <a:pt x="169623" y="113349"/>
                  </a:lnTo>
                  <a:lnTo>
                    <a:pt x="168069" y="115103"/>
                  </a:lnTo>
                  <a:cubicBezTo>
                    <a:pt x="167067" y="116205"/>
                    <a:pt x="166416" y="116907"/>
                    <a:pt x="165814" y="117658"/>
                  </a:cubicBezTo>
                  <a:cubicBezTo>
                    <a:pt x="164311" y="119563"/>
                    <a:pt x="162858" y="121567"/>
                    <a:pt x="161405" y="123522"/>
                  </a:cubicBezTo>
                  <a:cubicBezTo>
                    <a:pt x="158248" y="127831"/>
                    <a:pt x="154991" y="132241"/>
                    <a:pt x="151182" y="136199"/>
                  </a:cubicBezTo>
                  <a:cubicBezTo>
                    <a:pt x="146372" y="141160"/>
                    <a:pt x="140860" y="139657"/>
                    <a:pt x="136450" y="138454"/>
                  </a:cubicBezTo>
                  <a:cubicBezTo>
                    <a:pt x="133994" y="137753"/>
                    <a:pt x="131639" y="137151"/>
                    <a:pt x="129635" y="137552"/>
                  </a:cubicBezTo>
                  <a:cubicBezTo>
                    <a:pt x="113249" y="140859"/>
                    <a:pt x="101072" y="133844"/>
                    <a:pt x="93505" y="116606"/>
                  </a:cubicBezTo>
                  <a:cubicBezTo>
                    <a:pt x="90599" y="109942"/>
                    <a:pt x="87643" y="103327"/>
                    <a:pt x="84686" y="96712"/>
                  </a:cubicBezTo>
                  <a:cubicBezTo>
                    <a:pt x="81229" y="88945"/>
                    <a:pt x="77771" y="81178"/>
                    <a:pt x="74363" y="73361"/>
                  </a:cubicBezTo>
                  <a:cubicBezTo>
                    <a:pt x="68200" y="59180"/>
                    <a:pt x="55873" y="52265"/>
                    <a:pt x="42794" y="44949"/>
                  </a:cubicBezTo>
                  <a:cubicBezTo>
                    <a:pt x="40790" y="43796"/>
                    <a:pt x="38785" y="42694"/>
                    <a:pt x="36781" y="41541"/>
                  </a:cubicBezTo>
                  <a:cubicBezTo>
                    <a:pt x="31720" y="38635"/>
                    <a:pt x="26709" y="40940"/>
                    <a:pt x="20846" y="43646"/>
                  </a:cubicBezTo>
                  <a:cubicBezTo>
                    <a:pt x="17939" y="44999"/>
                    <a:pt x="14933" y="46352"/>
                    <a:pt x="11826" y="47104"/>
                  </a:cubicBezTo>
                  <a:cubicBezTo>
                    <a:pt x="8970" y="47755"/>
                    <a:pt x="6063" y="48857"/>
                    <a:pt x="3007" y="50060"/>
                  </a:cubicBezTo>
                  <a:cubicBezTo>
                    <a:pt x="2055" y="50461"/>
                    <a:pt x="1052" y="50812"/>
                    <a:pt x="0" y="51213"/>
                  </a:cubicBezTo>
                  <a:lnTo>
                    <a:pt x="902" y="58879"/>
                  </a:lnTo>
                  <a:lnTo>
                    <a:pt x="19693" y="60884"/>
                  </a:lnTo>
                  <a:lnTo>
                    <a:pt x="31369" y="78723"/>
                  </a:lnTo>
                  <a:lnTo>
                    <a:pt x="74063" y="78723"/>
                  </a:lnTo>
                  <a:lnTo>
                    <a:pt x="74714" y="80427"/>
                  </a:lnTo>
                  <a:cubicBezTo>
                    <a:pt x="75716" y="82982"/>
                    <a:pt x="76618" y="85187"/>
                    <a:pt x="77470" y="87242"/>
                  </a:cubicBezTo>
                  <a:cubicBezTo>
                    <a:pt x="79124" y="91251"/>
                    <a:pt x="80527" y="94658"/>
                    <a:pt x="81579" y="98216"/>
                  </a:cubicBezTo>
                  <a:cubicBezTo>
                    <a:pt x="86189" y="113349"/>
                    <a:pt x="92604" y="130837"/>
                    <a:pt x="105031" y="145570"/>
                  </a:cubicBezTo>
                  <a:cubicBezTo>
                    <a:pt x="116807" y="159501"/>
                    <a:pt x="120815" y="175836"/>
                    <a:pt x="116857" y="194177"/>
                  </a:cubicBezTo>
                  <a:cubicBezTo>
                    <a:pt x="116606" y="195429"/>
                    <a:pt x="116406" y="196732"/>
                    <a:pt x="116205" y="197985"/>
                  </a:cubicBezTo>
                  <a:cubicBezTo>
                    <a:pt x="115905" y="199889"/>
                    <a:pt x="115604" y="201743"/>
                    <a:pt x="115153" y="203597"/>
                  </a:cubicBezTo>
                  <a:cubicBezTo>
                    <a:pt x="112146" y="215323"/>
                    <a:pt x="114451" y="226798"/>
                    <a:pt x="122469" y="239627"/>
                  </a:cubicBezTo>
                  <a:cubicBezTo>
                    <a:pt x="138154" y="264682"/>
                    <a:pt x="154590" y="294998"/>
                    <a:pt x="157446" y="330276"/>
                  </a:cubicBezTo>
                  <a:cubicBezTo>
                    <a:pt x="157596" y="331929"/>
                    <a:pt x="157997" y="333583"/>
                    <a:pt x="158448" y="335387"/>
                  </a:cubicBezTo>
                  <a:cubicBezTo>
                    <a:pt x="158799" y="336640"/>
                    <a:pt x="159100" y="337943"/>
                    <a:pt x="159350" y="339245"/>
                  </a:cubicBezTo>
                  <a:cubicBezTo>
                    <a:pt x="160653" y="346261"/>
                    <a:pt x="163209" y="350670"/>
                    <a:pt x="167518" y="353076"/>
                  </a:cubicBezTo>
                  <a:cubicBezTo>
                    <a:pt x="178592" y="359340"/>
                    <a:pt x="184656" y="369412"/>
                    <a:pt x="190469" y="379183"/>
                  </a:cubicBezTo>
                  <a:cubicBezTo>
                    <a:pt x="191521" y="380987"/>
                    <a:pt x="192623" y="382741"/>
                    <a:pt x="193726" y="384545"/>
                  </a:cubicBezTo>
                  <a:lnTo>
                    <a:pt x="197634" y="390859"/>
                  </a:lnTo>
                  <a:cubicBezTo>
                    <a:pt x="204950" y="402585"/>
                    <a:pt x="212467" y="414661"/>
                    <a:pt x="220585" y="426086"/>
                  </a:cubicBezTo>
                  <a:cubicBezTo>
                    <a:pt x="227500" y="435808"/>
                    <a:pt x="236870" y="438363"/>
                    <a:pt x="248446" y="433653"/>
                  </a:cubicBezTo>
                  <a:cubicBezTo>
                    <a:pt x="252705" y="431949"/>
                    <a:pt x="256764" y="429794"/>
                    <a:pt x="260422" y="427289"/>
                  </a:cubicBezTo>
                  <a:cubicBezTo>
                    <a:pt x="273000" y="418720"/>
                    <a:pt x="284124" y="413509"/>
                    <a:pt x="295349" y="410903"/>
                  </a:cubicBezTo>
                  <a:cubicBezTo>
                    <a:pt x="304369" y="408848"/>
                    <a:pt x="311334" y="403687"/>
                    <a:pt x="316696" y="395118"/>
                  </a:cubicBezTo>
                  <a:cubicBezTo>
                    <a:pt x="315593" y="389706"/>
                    <a:pt x="312537" y="386399"/>
                    <a:pt x="307175" y="38489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577FC984-040D-4502-82A3-633E342F63DC}"/>
                </a:ext>
              </a:extLst>
            </p:cNvPr>
            <p:cNvSpPr/>
            <p:nvPr/>
          </p:nvSpPr>
          <p:spPr>
            <a:xfrm>
              <a:off x="10270198" y="4774404"/>
              <a:ext cx="564254" cy="1076199"/>
            </a:xfrm>
            <a:custGeom>
              <a:avLst/>
              <a:gdLst>
                <a:gd name="connsiteX0" fmla="*/ 383744 w 452445"/>
                <a:gd name="connsiteY0" fmla="*/ 720934 h 862946"/>
                <a:gd name="connsiteX1" fmla="*/ 370264 w 452445"/>
                <a:gd name="connsiteY1" fmla="*/ 709509 h 862946"/>
                <a:gd name="connsiteX2" fmla="*/ 349368 w 452445"/>
                <a:gd name="connsiteY2" fmla="*/ 692321 h 862946"/>
                <a:gd name="connsiteX3" fmla="*/ 322059 w 452445"/>
                <a:gd name="connsiteY3" fmla="*/ 661854 h 862946"/>
                <a:gd name="connsiteX4" fmla="*/ 315745 w 452445"/>
                <a:gd name="connsiteY4" fmla="*/ 651131 h 862946"/>
                <a:gd name="connsiteX5" fmla="*/ 308880 w 452445"/>
                <a:gd name="connsiteY5" fmla="*/ 639405 h 862946"/>
                <a:gd name="connsiteX6" fmla="*/ 301814 w 452445"/>
                <a:gd name="connsiteY6" fmla="*/ 621165 h 862946"/>
                <a:gd name="connsiteX7" fmla="*/ 299459 w 452445"/>
                <a:gd name="connsiteY7" fmla="*/ 607685 h 862946"/>
                <a:gd name="connsiteX8" fmla="*/ 292994 w 452445"/>
                <a:gd name="connsiteY8" fmla="*/ 543244 h 862946"/>
                <a:gd name="connsiteX9" fmla="*/ 287933 w 452445"/>
                <a:gd name="connsiteY9" fmla="*/ 514681 h 862946"/>
                <a:gd name="connsiteX10" fmla="*/ 286180 w 452445"/>
                <a:gd name="connsiteY10" fmla="*/ 487070 h 862946"/>
                <a:gd name="connsiteX11" fmla="*/ 306674 w 452445"/>
                <a:gd name="connsiteY11" fmla="*/ 455150 h 862946"/>
                <a:gd name="connsiteX12" fmla="*/ 317448 w 452445"/>
                <a:gd name="connsiteY12" fmla="*/ 450390 h 862946"/>
                <a:gd name="connsiteX13" fmla="*/ 323211 w 452445"/>
                <a:gd name="connsiteY13" fmla="*/ 449137 h 862946"/>
                <a:gd name="connsiteX14" fmla="*/ 349519 w 452445"/>
                <a:gd name="connsiteY14" fmla="*/ 444477 h 862946"/>
                <a:gd name="connsiteX15" fmla="*/ 365855 w 452445"/>
                <a:gd name="connsiteY15" fmla="*/ 444878 h 862946"/>
                <a:gd name="connsiteX16" fmla="*/ 368461 w 452445"/>
                <a:gd name="connsiteY16" fmla="*/ 445078 h 862946"/>
                <a:gd name="connsiteX17" fmla="*/ 367208 w 452445"/>
                <a:gd name="connsiteY17" fmla="*/ 443575 h 862946"/>
                <a:gd name="connsiteX18" fmla="*/ 358689 w 452445"/>
                <a:gd name="connsiteY18" fmla="*/ 431348 h 862946"/>
                <a:gd name="connsiteX19" fmla="*/ 335087 w 452445"/>
                <a:gd name="connsiteY19" fmla="*/ 400931 h 862946"/>
                <a:gd name="connsiteX20" fmla="*/ 331429 w 452445"/>
                <a:gd name="connsiteY20" fmla="*/ 397223 h 862946"/>
                <a:gd name="connsiteX21" fmla="*/ 318801 w 452445"/>
                <a:gd name="connsiteY21" fmla="*/ 384645 h 862946"/>
                <a:gd name="connsiteX22" fmla="*/ 290189 w 452445"/>
                <a:gd name="connsiteY22" fmla="*/ 354629 h 862946"/>
                <a:gd name="connsiteX23" fmla="*/ 203799 w 452445"/>
                <a:gd name="connsiteY23" fmla="*/ 248095 h 862946"/>
                <a:gd name="connsiteX24" fmla="*/ 176739 w 452445"/>
                <a:gd name="connsiteY24" fmla="*/ 231308 h 862946"/>
                <a:gd name="connsiteX25" fmla="*/ 173983 w 452445"/>
                <a:gd name="connsiteY25" fmla="*/ 231459 h 862946"/>
                <a:gd name="connsiteX26" fmla="*/ 173983 w 452445"/>
                <a:gd name="connsiteY26" fmla="*/ 228652 h 862946"/>
                <a:gd name="connsiteX27" fmla="*/ 156945 w 452445"/>
                <a:gd name="connsiteY27" fmla="*/ 202395 h 862946"/>
                <a:gd name="connsiteX28" fmla="*/ 130237 w 452445"/>
                <a:gd name="connsiteY28" fmla="*/ 159951 h 862946"/>
                <a:gd name="connsiteX29" fmla="*/ 121417 w 452445"/>
                <a:gd name="connsiteY29" fmla="*/ 124023 h 862946"/>
                <a:gd name="connsiteX30" fmla="*/ 117409 w 452445"/>
                <a:gd name="connsiteY30" fmla="*/ 109992 h 862946"/>
                <a:gd name="connsiteX31" fmla="*/ 94909 w 452445"/>
                <a:gd name="connsiteY31" fmla="*/ 75265 h 862946"/>
                <a:gd name="connsiteX32" fmla="*/ 71057 w 452445"/>
                <a:gd name="connsiteY32" fmla="*/ 29214 h 862946"/>
                <a:gd name="connsiteX33" fmla="*/ 68100 w 452445"/>
                <a:gd name="connsiteY33" fmla="*/ 23652 h 862946"/>
                <a:gd name="connsiteX34" fmla="*/ 67599 w 452445"/>
                <a:gd name="connsiteY34" fmla="*/ 22951 h 862946"/>
                <a:gd name="connsiteX35" fmla="*/ 53318 w 452445"/>
                <a:gd name="connsiteY35" fmla="*/ 4360 h 862946"/>
                <a:gd name="connsiteX36" fmla="*/ 52717 w 452445"/>
                <a:gd name="connsiteY36" fmla="*/ 3608 h 862946"/>
                <a:gd name="connsiteX37" fmla="*/ 47856 w 452445"/>
                <a:gd name="connsiteY37" fmla="*/ 0 h 862946"/>
                <a:gd name="connsiteX38" fmla="*/ 42293 w 452445"/>
                <a:gd name="connsiteY38" fmla="*/ 19693 h 862946"/>
                <a:gd name="connsiteX39" fmla="*/ 38486 w 452445"/>
                <a:gd name="connsiteY39" fmla="*/ 53167 h 862946"/>
                <a:gd name="connsiteX40" fmla="*/ 34577 w 452445"/>
                <a:gd name="connsiteY40" fmla="*/ 62638 h 862946"/>
                <a:gd name="connsiteX41" fmla="*/ 33574 w 452445"/>
                <a:gd name="connsiteY41" fmla="*/ 65444 h 862946"/>
                <a:gd name="connsiteX42" fmla="*/ 30869 w 452445"/>
                <a:gd name="connsiteY42" fmla="*/ 64091 h 862946"/>
                <a:gd name="connsiteX43" fmla="*/ 24705 w 452445"/>
                <a:gd name="connsiteY43" fmla="*/ 60784 h 862946"/>
                <a:gd name="connsiteX44" fmla="*/ 16437 w 452445"/>
                <a:gd name="connsiteY44" fmla="*/ 57025 h 862946"/>
                <a:gd name="connsiteX45" fmla="*/ 13079 w 452445"/>
                <a:gd name="connsiteY45" fmla="*/ 56624 h 862946"/>
                <a:gd name="connsiteX46" fmla="*/ 3208 w 452445"/>
                <a:gd name="connsiteY46" fmla="*/ 60834 h 862946"/>
                <a:gd name="connsiteX47" fmla="*/ 602 w 452445"/>
                <a:gd name="connsiteY47" fmla="*/ 72860 h 862946"/>
                <a:gd name="connsiteX48" fmla="*/ 9572 w 452445"/>
                <a:gd name="connsiteY48" fmla="*/ 90699 h 862946"/>
                <a:gd name="connsiteX49" fmla="*/ 23202 w 452445"/>
                <a:gd name="connsiteY49" fmla="*/ 119062 h 862946"/>
                <a:gd name="connsiteX50" fmla="*/ 34627 w 452445"/>
                <a:gd name="connsiteY50" fmla="*/ 159150 h 862946"/>
                <a:gd name="connsiteX51" fmla="*/ 50312 w 452445"/>
                <a:gd name="connsiteY51" fmla="*/ 214572 h 862946"/>
                <a:gd name="connsiteX52" fmla="*/ 67348 w 452445"/>
                <a:gd name="connsiteY52" fmla="*/ 239627 h 862946"/>
                <a:gd name="connsiteX53" fmla="*/ 100672 w 452445"/>
                <a:gd name="connsiteY53" fmla="*/ 265333 h 862946"/>
                <a:gd name="connsiteX54" fmla="*/ 127180 w 452445"/>
                <a:gd name="connsiteY54" fmla="*/ 285928 h 862946"/>
                <a:gd name="connsiteX55" fmla="*/ 144067 w 452445"/>
                <a:gd name="connsiteY55" fmla="*/ 309931 h 862946"/>
                <a:gd name="connsiteX56" fmla="*/ 149579 w 452445"/>
                <a:gd name="connsiteY56" fmla="*/ 348115 h 862946"/>
                <a:gd name="connsiteX57" fmla="*/ 158198 w 452445"/>
                <a:gd name="connsiteY57" fmla="*/ 371316 h 862946"/>
                <a:gd name="connsiteX58" fmla="*/ 180698 w 452445"/>
                <a:gd name="connsiteY58" fmla="*/ 411153 h 862946"/>
                <a:gd name="connsiteX59" fmla="*/ 188314 w 452445"/>
                <a:gd name="connsiteY59" fmla="*/ 433853 h 862946"/>
                <a:gd name="connsiteX60" fmla="*/ 230457 w 452445"/>
                <a:gd name="connsiteY60" fmla="*/ 561534 h 862946"/>
                <a:gd name="connsiteX61" fmla="*/ 250501 w 452445"/>
                <a:gd name="connsiteY61" fmla="*/ 589846 h 862946"/>
                <a:gd name="connsiteX62" fmla="*/ 251102 w 452445"/>
                <a:gd name="connsiteY62" fmla="*/ 590247 h 862946"/>
                <a:gd name="connsiteX63" fmla="*/ 270595 w 452445"/>
                <a:gd name="connsiteY63" fmla="*/ 607785 h 862946"/>
                <a:gd name="connsiteX64" fmla="*/ 299709 w 452445"/>
                <a:gd name="connsiteY64" fmla="*/ 695378 h 862946"/>
                <a:gd name="connsiteX65" fmla="*/ 307426 w 452445"/>
                <a:gd name="connsiteY65" fmla="*/ 716775 h 862946"/>
                <a:gd name="connsiteX66" fmla="*/ 330527 w 452445"/>
                <a:gd name="connsiteY66" fmla="*/ 761623 h 862946"/>
                <a:gd name="connsiteX67" fmla="*/ 342804 w 452445"/>
                <a:gd name="connsiteY67" fmla="*/ 809529 h 862946"/>
                <a:gd name="connsiteX68" fmla="*/ 350621 w 452445"/>
                <a:gd name="connsiteY68" fmla="*/ 828320 h 862946"/>
                <a:gd name="connsiteX69" fmla="*/ 371166 w 452445"/>
                <a:gd name="connsiteY69" fmla="*/ 858887 h 862946"/>
                <a:gd name="connsiteX70" fmla="*/ 371617 w 452445"/>
                <a:gd name="connsiteY70" fmla="*/ 859539 h 862946"/>
                <a:gd name="connsiteX71" fmla="*/ 375626 w 452445"/>
                <a:gd name="connsiteY71" fmla="*/ 862595 h 862946"/>
                <a:gd name="connsiteX72" fmla="*/ 376177 w 452445"/>
                <a:gd name="connsiteY72" fmla="*/ 862946 h 862946"/>
                <a:gd name="connsiteX73" fmla="*/ 376328 w 452445"/>
                <a:gd name="connsiteY73" fmla="*/ 859539 h 862946"/>
                <a:gd name="connsiteX74" fmla="*/ 376328 w 452445"/>
                <a:gd name="connsiteY74" fmla="*/ 847161 h 862946"/>
                <a:gd name="connsiteX75" fmla="*/ 371918 w 452445"/>
                <a:gd name="connsiteY75" fmla="*/ 824412 h 862946"/>
                <a:gd name="connsiteX76" fmla="*/ 380036 w 452445"/>
                <a:gd name="connsiteY76" fmla="*/ 763678 h 862946"/>
                <a:gd name="connsiteX77" fmla="*/ 380888 w 452445"/>
                <a:gd name="connsiteY77" fmla="*/ 761273 h 862946"/>
                <a:gd name="connsiteX78" fmla="*/ 385297 w 452445"/>
                <a:gd name="connsiteY78" fmla="*/ 762626 h 862946"/>
                <a:gd name="connsiteX79" fmla="*/ 411906 w 452445"/>
                <a:gd name="connsiteY79" fmla="*/ 763377 h 862946"/>
                <a:gd name="connsiteX80" fmla="*/ 436510 w 452445"/>
                <a:gd name="connsiteY80" fmla="*/ 766384 h 862946"/>
                <a:gd name="connsiteX81" fmla="*/ 440218 w 452445"/>
                <a:gd name="connsiteY81" fmla="*/ 768338 h 862946"/>
                <a:gd name="connsiteX82" fmla="*/ 452445 w 452445"/>
                <a:gd name="connsiteY82" fmla="*/ 772698 h 862946"/>
                <a:gd name="connsiteX83" fmla="*/ 440920 w 452445"/>
                <a:gd name="connsiteY83" fmla="*/ 748094 h 862946"/>
                <a:gd name="connsiteX84" fmla="*/ 383744 w 452445"/>
                <a:gd name="connsiteY84" fmla="*/ 720784 h 86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452445" h="862946">
                  <a:moveTo>
                    <a:pt x="383744" y="720934"/>
                  </a:moveTo>
                  <a:cubicBezTo>
                    <a:pt x="379184" y="717226"/>
                    <a:pt x="374724" y="713367"/>
                    <a:pt x="370264" y="709509"/>
                  </a:cubicBezTo>
                  <a:cubicBezTo>
                    <a:pt x="363550" y="703696"/>
                    <a:pt x="356584" y="697683"/>
                    <a:pt x="349368" y="692321"/>
                  </a:cubicBezTo>
                  <a:cubicBezTo>
                    <a:pt x="336740" y="683001"/>
                    <a:pt x="328071" y="673279"/>
                    <a:pt x="322059" y="661854"/>
                  </a:cubicBezTo>
                  <a:cubicBezTo>
                    <a:pt x="320154" y="658246"/>
                    <a:pt x="317899" y="654639"/>
                    <a:pt x="315745" y="651131"/>
                  </a:cubicBezTo>
                  <a:cubicBezTo>
                    <a:pt x="313440" y="647372"/>
                    <a:pt x="310984" y="643464"/>
                    <a:pt x="308880" y="639405"/>
                  </a:cubicBezTo>
                  <a:cubicBezTo>
                    <a:pt x="305873" y="633693"/>
                    <a:pt x="302866" y="627529"/>
                    <a:pt x="301814" y="621165"/>
                  </a:cubicBezTo>
                  <a:cubicBezTo>
                    <a:pt x="301062" y="616655"/>
                    <a:pt x="300261" y="612195"/>
                    <a:pt x="299459" y="607685"/>
                  </a:cubicBezTo>
                  <a:cubicBezTo>
                    <a:pt x="295751" y="586789"/>
                    <a:pt x="291942" y="565192"/>
                    <a:pt x="292994" y="543244"/>
                  </a:cubicBezTo>
                  <a:cubicBezTo>
                    <a:pt x="293596" y="531969"/>
                    <a:pt x="291942" y="522899"/>
                    <a:pt x="287933" y="514681"/>
                  </a:cubicBezTo>
                  <a:cubicBezTo>
                    <a:pt x="283173" y="504859"/>
                    <a:pt x="282522" y="494787"/>
                    <a:pt x="286180" y="487070"/>
                  </a:cubicBezTo>
                  <a:cubicBezTo>
                    <a:pt x="291792" y="475344"/>
                    <a:pt x="299659" y="464621"/>
                    <a:pt x="306674" y="455150"/>
                  </a:cubicBezTo>
                  <a:cubicBezTo>
                    <a:pt x="308980" y="452043"/>
                    <a:pt x="313489" y="451191"/>
                    <a:pt x="317448" y="450390"/>
                  </a:cubicBezTo>
                  <a:lnTo>
                    <a:pt x="323211" y="449137"/>
                  </a:lnTo>
                  <a:cubicBezTo>
                    <a:pt x="331780" y="447283"/>
                    <a:pt x="340599" y="445379"/>
                    <a:pt x="349519" y="444477"/>
                  </a:cubicBezTo>
                  <a:cubicBezTo>
                    <a:pt x="354781" y="443975"/>
                    <a:pt x="360192" y="444427"/>
                    <a:pt x="365855" y="444878"/>
                  </a:cubicBezTo>
                  <a:cubicBezTo>
                    <a:pt x="366707" y="444928"/>
                    <a:pt x="367558" y="445028"/>
                    <a:pt x="368461" y="445078"/>
                  </a:cubicBezTo>
                  <a:cubicBezTo>
                    <a:pt x="368059" y="444577"/>
                    <a:pt x="367608" y="444076"/>
                    <a:pt x="367208" y="443575"/>
                  </a:cubicBezTo>
                  <a:cubicBezTo>
                    <a:pt x="363850" y="439566"/>
                    <a:pt x="360693" y="435758"/>
                    <a:pt x="358689" y="431348"/>
                  </a:cubicBezTo>
                  <a:cubicBezTo>
                    <a:pt x="353327" y="419271"/>
                    <a:pt x="344458" y="410352"/>
                    <a:pt x="335087" y="400931"/>
                  </a:cubicBezTo>
                  <a:lnTo>
                    <a:pt x="331429" y="397223"/>
                  </a:lnTo>
                  <a:cubicBezTo>
                    <a:pt x="327270" y="392963"/>
                    <a:pt x="323060" y="388804"/>
                    <a:pt x="318801" y="384645"/>
                  </a:cubicBezTo>
                  <a:cubicBezTo>
                    <a:pt x="309130" y="375124"/>
                    <a:pt x="299108" y="365253"/>
                    <a:pt x="290189" y="354629"/>
                  </a:cubicBezTo>
                  <a:cubicBezTo>
                    <a:pt x="257767" y="316044"/>
                    <a:pt x="227000" y="277409"/>
                    <a:pt x="203799" y="248095"/>
                  </a:cubicBezTo>
                  <a:cubicBezTo>
                    <a:pt x="196382" y="238775"/>
                    <a:pt x="190069" y="230757"/>
                    <a:pt x="176739" y="231308"/>
                  </a:cubicBezTo>
                  <a:lnTo>
                    <a:pt x="173983" y="231459"/>
                  </a:lnTo>
                  <a:lnTo>
                    <a:pt x="173983" y="228652"/>
                  </a:lnTo>
                  <a:cubicBezTo>
                    <a:pt x="173832" y="215574"/>
                    <a:pt x="167068" y="208709"/>
                    <a:pt x="156945" y="202395"/>
                  </a:cubicBezTo>
                  <a:cubicBezTo>
                    <a:pt x="142113" y="193174"/>
                    <a:pt x="133093" y="178893"/>
                    <a:pt x="130237" y="159951"/>
                  </a:cubicBezTo>
                  <a:cubicBezTo>
                    <a:pt x="128433" y="147875"/>
                    <a:pt x="124875" y="135748"/>
                    <a:pt x="121417" y="124023"/>
                  </a:cubicBezTo>
                  <a:cubicBezTo>
                    <a:pt x="120064" y="119362"/>
                    <a:pt x="118711" y="114702"/>
                    <a:pt x="117409" y="109992"/>
                  </a:cubicBezTo>
                  <a:cubicBezTo>
                    <a:pt x="112949" y="93706"/>
                    <a:pt x="106234" y="83283"/>
                    <a:pt x="94909" y="75265"/>
                  </a:cubicBezTo>
                  <a:cubicBezTo>
                    <a:pt x="82833" y="66697"/>
                    <a:pt x="67249" y="52616"/>
                    <a:pt x="71057" y="29214"/>
                  </a:cubicBezTo>
                  <a:cubicBezTo>
                    <a:pt x="71257" y="28062"/>
                    <a:pt x="69203" y="25206"/>
                    <a:pt x="68100" y="23652"/>
                  </a:cubicBezTo>
                  <a:lnTo>
                    <a:pt x="67599" y="22951"/>
                  </a:lnTo>
                  <a:cubicBezTo>
                    <a:pt x="63640" y="17438"/>
                    <a:pt x="59231" y="11676"/>
                    <a:pt x="53318" y="4360"/>
                  </a:cubicBezTo>
                  <a:lnTo>
                    <a:pt x="52717" y="3608"/>
                  </a:lnTo>
                  <a:cubicBezTo>
                    <a:pt x="50712" y="1103"/>
                    <a:pt x="49409" y="0"/>
                    <a:pt x="47856" y="0"/>
                  </a:cubicBezTo>
                  <a:lnTo>
                    <a:pt x="42293" y="19693"/>
                  </a:lnTo>
                  <a:cubicBezTo>
                    <a:pt x="47806" y="32071"/>
                    <a:pt x="43296" y="42343"/>
                    <a:pt x="38486" y="53167"/>
                  </a:cubicBezTo>
                  <a:cubicBezTo>
                    <a:pt x="37133" y="56224"/>
                    <a:pt x="35729" y="59380"/>
                    <a:pt x="34577" y="62638"/>
                  </a:cubicBezTo>
                  <a:lnTo>
                    <a:pt x="33574" y="65444"/>
                  </a:lnTo>
                  <a:lnTo>
                    <a:pt x="30869" y="64091"/>
                  </a:lnTo>
                  <a:cubicBezTo>
                    <a:pt x="28513" y="62938"/>
                    <a:pt x="26509" y="61786"/>
                    <a:pt x="24705" y="60784"/>
                  </a:cubicBezTo>
                  <a:cubicBezTo>
                    <a:pt x="21498" y="58980"/>
                    <a:pt x="18943" y="57576"/>
                    <a:pt x="16437" y="57025"/>
                  </a:cubicBezTo>
                  <a:cubicBezTo>
                    <a:pt x="15285" y="56775"/>
                    <a:pt x="14182" y="56624"/>
                    <a:pt x="13079" y="56624"/>
                  </a:cubicBezTo>
                  <a:cubicBezTo>
                    <a:pt x="9271" y="56624"/>
                    <a:pt x="5764" y="58078"/>
                    <a:pt x="3208" y="60834"/>
                  </a:cubicBezTo>
                  <a:cubicBezTo>
                    <a:pt x="201" y="64091"/>
                    <a:pt x="-751" y="68500"/>
                    <a:pt x="602" y="72860"/>
                  </a:cubicBezTo>
                  <a:cubicBezTo>
                    <a:pt x="3007" y="80477"/>
                    <a:pt x="6014" y="86490"/>
                    <a:pt x="9572" y="90699"/>
                  </a:cubicBezTo>
                  <a:cubicBezTo>
                    <a:pt x="16988" y="99468"/>
                    <a:pt x="20496" y="109490"/>
                    <a:pt x="23202" y="119062"/>
                  </a:cubicBezTo>
                  <a:cubicBezTo>
                    <a:pt x="26960" y="132441"/>
                    <a:pt x="30768" y="145820"/>
                    <a:pt x="34627" y="159150"/>
                  </a:cubicBezTo>
                  <a:cubicBezTo>
                    <a:pt x="39838" y="177290"/>
                    <a:pt x="45250" y="196031"/>
                    <a:pt x="50312" y="214572"/>
                  </a:cubicBezTo>
                  <a:cubicBezTo>
                    <a:pt x="53268" y="225445"/>
                    <a:pt x="58530" y="233162"/>
                    <a:pt x="67348" y="239627"/>
                  </a:cubicBezTo>
                  <a:cubicBezTo>
                    <a:pt x="78673" y="247945"/>
                    <a:pt x="89848" y="256764"/>
                    <a:pt x="100672" y="265333"/>
                  </a:cubicBezTo>
                  <a:cubicBezTo>
                    <a:pt x="109341" y="272148"/>
                    <a:pt x="118261" y="279164"/>
                    <a:pt x="127180" y="285928"/>
                  </a:cubicBezTo>
                  <a:cubicBezTo>
                    <a:pt x="134847" y="291741"/>
                    <a:pt x="140058" y="299157"/>
                    <a:pt x="144067" y="309931"/>
                  </a:cubicBezTo>
                  <a:cubicBezTo>
                    <a:pt x="148527" y="322108"/>
                    <a:pt x="150331" y="334585"/>
                    <a:pt x="149579" y="348115"/>
                  </a:cubicBezTo>
                  <a:cubicBezTo>
                    <a:pt x="148978" y="358488"/>
                    <a:pt x="151634" y="365603"/>
                    <a:pt x="158198" y="371316"/>
                  </a:cubicBezTo>
                  <a:cubicBezTo>
                    <a:pt x="170175" y="381789"/>
                    <a:pt x="175686" y="396170"/>
                    <a:pt x="180698" y="411153"/>
                  </a:cubicBezTo>
                  <a:lnTo>
                    <a:pt x="188314" y="433853"/>
                  </a:lnTo>
                  <a:cubicBezTo>
                    <a:pt x="202345" y="475645"/>
                    <a:pt x="216877" y="518790"/>
                    <a:pt x="230457" y="561534"/>
                  </a:cubicBezTo>
                  <a:cubicBezTo>
                    <a:pt x="234716" y="574963"/>
                    <a:pt x="240730" y="583432"/>
                    <a:pt x="250501" y="589846"/>
                  </a:cubicBezTo>
                  <a:lnTo>
                    <a:pt x="251102" y="590247"/>
                  </a:lnTo>
                  <a:cubicBezTo>
                    <a:pt x="258268" y="594957"/>
                    <a:pt x="266436" y="600319"/>
                    <a:pt x="270595" y="607785"/>
                  </a:cubicBezTo>
                  <a:cubicBezTo>
                    <a:pt x="285829" y="634845"/>
                    <a:pt x="301313" y="662355"/>
                    <a:pt x="299709" y="695378"/>
                  </a:cubicBezTo>
                  <a:cubicBezTo>
                    <a:pt x="299258" y="704548"/>
                    <a:pt x="301714" y="711363"/>
                    <a:pt x="307426" y="716775"/>
                  </a:cubicBezTo>
                  <a:cubicBezTo>
                    <a:pt x="318651" y="727398"/>
                    <a:pt x="325767" y="741229"/>
                    <a:pt x="330527" y="761623"/>
                  </a:cubicBezTo>
                  <a:cubicBezTo>
                    <a:pt x="334235" y="777609"/>
                    <a:pt x="338344" y="793694"/>
                    <a:pt x="342804" y="809529"/>
                  </a:cubicBezTo>
                  <a:cubicBezTo>
                    <a:pt x="344908" y="816845"/>
                    <a:pt x="347514" y="823159"/>
                    <a:pt x="350621" y="828320"/>
                  </a:cubicBezTo>
                  <a:cubicBezTo>
                    <a:pt x="356935" y="838793"/>
                    <a:pt x="364151" y="849015"/>
                    <a:pt x="371166" y="858887"/>
                  </a:cubicBezTo>
                  <a:lnTo>
                    <a:pt x="371617" y="859539"/>
                  </a:lnTo>
                  <a:cubicBezTo>
                    <a:pt x="372269" y="860491"/>
                    <a:pt x="373621" y="861293"/>
                    <a:pt x="375626" y="862595"/>
                  </a:cubicBezTo>
                  <a:cubicBezTo>
                    <a:pt x="375827" y="862695"/>
                    <a:pt x="375977" y="862796"/>
                    <a:pt x="376177" y="862946"/>
                  </a:cubicBezTo>
                  <a:cubicBezTo>
                    <a:pt x="376227" y="861744"/>
                    <a:pt x="376277" y="860641"/>
                    <a:pt x="376328" y="859539"/>
                  </a:cubicBezTo>
                  <a:cubicBezTo>
                    <a:pt x="376578" y="854678"/>
                    <a:pt x="376778" y="850870"/>
                    <a:pt x="376328" y="847161"/>
                  </a:cubicBezTo>
                  <a:cubicBezTo>
                    <a:pt x="375476" y="839795"/>
                    <a:pt x="374023" y="832128"/>
                    <a:pt x="371918" y="824412"/>
                  </a:cubicBezTo>
                  <a:cubicBezTo>
                    <a:pt x="365905" y="802413"/>
                    <a:pt x="373070" y="782720"/>
                    <a:pt x="380036" y="763678"/>
                  </a:cubicBezTo>
                  <a:lnTo>
                    <a:pt x="380888" y="761273"/>
                  </a:lnTo>
                  <a:lnTo>
                    <a:pt x="385297" y="762626"/>
                  </a:lnTo>
                  <a:cubicBezTo>
                    <a:pt x="398627" y="766735"/>
                    <a:pt x="398877" y="766785"/>
                    <a:pt x="411906" y="763377"/>
                  </a:cubicBezTo>
                  <a:cubicBezTo>
                    <a:pt x="420174" y="761222"/>
                    <a:pt x="427991" y="762175"/>
                    <a:pt x="436510" y="766384"/>
                  </a:cubicBezTo>
                  <a:cubicBezTo>
                    <a:pt x="437763" y="766985"/>
                    <a:pt x="438965" y="767687"/>
                    <a:pt x="440218" y="768338"/>
                  </a:cubicBezTo>
                  <a:cubicBezTo>
                    <a:pt x="444076" y="770493"/>
                    <a:pt x="447734" y="772547"/>
                    <a:pt x="452445" y="772698"/>
                  </a:cubicBezTo>
                  <a:cubicBezTo>
                    <a:pt x="449588" y="761573"/>
                    <a:pt x="444778" y="753305"/>
                    <a:pt x="440920" y="748094"/>
                  </a:cubicBezTo>
                  <a:cubicBezTo>
                    <a:pt x="419122" y="743484"/>
                    <a:pt x="400882" y="734765"/>
                    <a:pt x="383744" y="720784"/>
                  </a:cubicBezTo>
                  <a:close/>
                </a:path>
              </a:pathLst>
            </a:custGeom>
            <a:solidFill>
              <a:srgbClr val="00B05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F104B453-D3C6-4C9C-9D61-86723D3B57C7}"/>
                </a:ext>
              </a:extLst>
            </p:cNvPr>
            <p:cNvSpPr/>
            <p:nvPr/>
          </p:nvSpPr>
          <p:spPr>
            <a:xfrm>
              <a:off x="5441696" y="5132742"/>
              <a:ext cx="374659" cy="575996"/>
            </a:xfrm>
            <a:custGeom>
              <a:avLst/>
              <a:gdLst>
                <a:gd name="connsiteX0" fmla="*/ 961 w 300419"/>
                <a:gd name="connsiteY0" fmla="*/ 426487 h 461860"/>
                <a:gd name="connsiteX1" fmla="*/ 10683 w 300419"/>
                <a:gd name="connsiteY1" fmla="*/ 456804 h 461860"/>
                <a:gd name="connsiteX2" fmla="*/ 36990 w 300419"/>
                <a:gd name="connsiteY2" fmla="*/ 458557 h 461860"/>
                <a:gd name="connsiteX3" fmla="*/ 97724 w 300419"/>
                <a:gd name="connsiteY3" fmla="*/ 452344 h 461860"/>
                <a:gd name="connsiteX4" fmla="*/ 118269 w 300419"/>
                <a:gd name="connsiteY4" fmla="*/ 454498 h 461860"/>
                <a:gd name="connsiteX5" fmla="*/ 120173 w 300419"/>
                <a:gd name="connsiteY5" fmla="*/ 454498 h 461860"/>
                <a:gd name="connsiteX6" fmla="*/ 120273 w 300419"/>
                <a:gd name="connsiteY6" fmla="*/ 454498 h 461860"/>
                <a:gd name="connsiteX7" fmla="*/ 128592 w 300419"/>
                <a:gd name="connsiteY7" fmla="*/ 452795 h 461860"/>
                <a:gd name="connsiteX8" fmla="*/ 131598 w 300419"/>
                <a:gd name="connsiteY8" fmla="*/ 451943 h 461860"/>
                <a:gd name="connsiteX9" fmla="*/ 134104 w 300419"/>
                <a:gd name="connsiteY9" fmla="*/ 413458 h 461860"/>
                <a:gd name="connsiteX10" fmla="*/ 135006 w 300419"/>
                <a:gd name="connsiteY10" fmla="*/ 412707 h 461860"/>
                <a:gd name="connsiteX11" fmla="*/ 137110 w 300419"/>
                <a:gd name="connsiteY11" fmla="*/ 410803 h 461860"/>
                <a:gd name="connsiteX12" fmla="*/ 140668 w 300419"/>
                <a:gd name="connsiteY12" fmla="*/ 408247 h 461860"/>
                <a:gd name="connsiteX13" fmla="*/ 147684 w 300419"/>
                <a:gd name="connsiteY13" fmla="*/ 405641 h 461860"/>
                <a:gd name="connsiteX14" fmla="*/ 178602 w 300419"/>
                <a:gd name="connsiteY14" fmla="*/ 394717 h 461860"/>
                <a:gd name="connsiteX15" fmla="*/ 194787 w 300419"/>
                <a:gd name="connsiteY15" fmla="*/ 379484 h 461860"/>
                <a:gd name="connsiteX16" fmla="*/ 250109 w 300419"/>
                <a:gd name="connsiteY16" fmla="*/ 329824 h 461860"/>
                <a:gd name="connsiteX17" fmla="*/ 269201 w 300419"/>
                <a:gd name="connsiteY17" fmla="*/ 287281 h 461860"/>
                <a:gd name="connsiteX18" fmla="*/ 269902 w 300419"/>
                <a:gd name="connsiteY18" fmla="*/ 286830 h 461860"/>
                <a:gd name="connsiteX19" fmla="*/ 274863 w 300419"/>
                <a:gd name="connsiteY19" fmla="*/ 283924 h 461860"/>
                <a:gd name="connsiteX20" fmla="*/ 300419 w 300419"/>
                <a:gd name="connsiteY20" fmla="*/ 260172 h 461860"/>
                <a:gd name="connsiteX21" fmla="*/ 274563 w 300419"/>
                <a:gd name="connsiteY21" fmla="*/ 218229 h 461860"/>
                <a:gd name="connsiteX22" fmla="*/ 274162 w 300419"/>
                <a:gd name="connsiteY22" fmla="*/ 217227 h 461860"/>
                <a:gd name="connsiteX23" fmla="*/ 274563 w 300419"/>
                <a:gd name="connsiteY23" fmla="*/ 216225 h 461860"/>
                <a:gd name="connsiteX24" fmla="*/ 277519 w 300419"/>
                <a:gd name="connsiteY24" fmla="*/ 208007 h 461860"/>
                <a:gd name="connsiteX25" fmla="*/ 284284 w 300419"/>
                <a:gd name="connsiteY25" fmla="*/ 191070 h 461860"/>
                <a:gd name="connsiteX26" fmla="*/ 285737 w 300419"/>
                <a:gd name="connsiteY26" fmla="*/ 152635 h 461860"/>
                <a:gd name="connsiteX27" fmla="*/ 267798 w 300419"/>
                <a:gd name="connsiteY27" fmla="*/ 81078 h 461860"/>
                <a:gd name="connsiteX28" fmla="*/ 264541 w 300419"/>
                <a:gd name="connsiteY28" fmla="*/ 69553 h 461860"/>
                <a:gd name="connsiteX29" fmla="*/ 263037 w 300419"/>
                <a:gd name="connsiteY29" fmla="*/ 65193 h 461860"/>
                <a:gd name="connsiteX30" fmla="*/ 223099 w 300419"/>
                <a:gd name="connsiteY30" fmla="*/ 42443 h 461860"/>
                <a:gd name="connsiteX31" fmla="*/ 220644 w 300419"/>
                <a:gd name="connsiteY31" fmla="*/ 43245 h 461860"/>
                <a:gd name="connsiteX32" fmla="*/ 212877 w 300419"/>
                <a:gd name="connsiteY32" fmla="*/ 45751 h 461860"/>
                <a:gd name="connsiteX33" fmla="*/ 158908 w 300419"/>
                <a:gd name="connsiteY33" fmla="*/ 32471 h 461860"/>
                <a:gd name="connsiteX34" fmla="*/ 134304 w 300419"/>
                <a:gd name="connsiteY34" fmla="*/ 7667 h 461860"/>
                <a:gd name="connsiteX35" fmla="*/ 128993 w 300419"/>
                <a:gd name="connsiteY35" fmla="*/ 2756 h 461860"/>
                <a:gd name="connsiteX36" fmla="*/ 123581 w 300419"/>
                <a:gd name="connsiteY36" fmla="*/ 301 h 461860"/>
                <a:gd name="connsiteX37" fmla="*/ 122729 w 300419"/>
                <a:gd name="connsiteY37" fmla="*/ 0 h 461860"/>
                <a:gd name="connsiteX38" fmla="*/ 127890 w 300419"/>
                <a:gd name="connsiteY38" fmla="*/ 42243 h 461860"/>
                <a:gd name="connsiteX39" fmla="*/ 128441 w 300419"/>
                <a:gd name="connsiteY39" fmla="*/ 43546 h 461860"/>
                <a:gd name="connsiteX40" fmla="*/ 127690 w 300419"/>
                <a:gd name="connsiteY40" fmla="*/ 44748 h 461860"/>
                <a:gd name="connsiteX41" fmla="*/ 122729 w 300419"/>
                <a:gd name="connsiteY41" fmla="*/ 52665 h 461860"/>
                <a:gd name="connsiteX42" fmla="*/ 112557 w 300419"/>
                <a:gd name="connsiteY42" fmla="*/ 69503 h 461860"/>
                <a:gd name="connsiteX43" fmla="*/ 105541 w 300419"/>
                <a:gd name="connsiteY43" fmla="*/ 96462 h 461860"/>
                <a:gd name="connsiteX44" fmla="*/ 147183 w 300419"/>
                <a:gd name="connsiteY44" fmla="*/ 125024 h 461860"/>
                <a:gd name="connsiteX45" fmla="*/ 147734 w 300419"/>
                <a:gd name="connsiteY45" fmla="*/ 126428 h 461860"/>
                <a:gd name="connsiteX46" fmla="*/ 133202 w 300419"/>
                <a:gd name="connsiteY46" fmla="*/ 146171 h 461860"/>
                <a:gd name="connsiteX47" fmla="*/ 133503 w 300419"/>
                <a:gd name="connsiteY47" fmla="*/ 147173 h 461860"/>
                <a:gd name="connsiteX48" fmla="*/ 135156 w 300419"/>
                <a:gd name="connsiteY48" fmla="*/ 152836 h 461860"/>
                <a:gd name="connsiteX49" fmla="*/ 123430 w 300419"/>
                <a:gd name="connsiteY49" fmla="*/ 187612 h 461860"/>
                <a:gd name="connsiteX50" fmla="*/ 120925 w 300419"/>
                <a:gd name="connsiteY50" fmla="*/ 188915 h 461860"/>
                <a:gd name="connsiteX51" fmla="*/ 119772 w 300419"/>
                <a:gd name="connsiteY51" fmla="*/ 189466 h 461860"/>
                <a:gd name="connsiteX52" fmla="*/ 116515 w 300419"/>
                <a:gd name="connsiteY52" fmla="*/ 193675 h 461860"/>
                <a:gd name="connsiteX53" fmla="*/ 105190 w 300419"/>
                <a:gd name="connsiteY53" fmla="*/ 226798 h 461860"/>
                <a:gd name="connsiteX54" fmla="*/ 104038 w 300419"/>
                <a:gd name="connsiteY54" fmla="*/ 265333 h 461860"/>
                <a:gd name="connsiteX55" fmla="*/ 108197 w 300419"/>
                <a:gd name="connsiteY55" fmla="*/ 277109 h 461860"/>
                <a:gd name="connsiteX56" fmla="*/ 117367 w 300419"/>
                <a:gd name="connsiteY56" fmla="*/ 303366 h 461860"/>
                <a:gd name="connsiteX57" fmla="*/ 110903 w 300419"/>
                <a:gd name="connsiteY57" fmla="*/ 323060 h 461860"/>
                <a:gd name="connsiteX58" fmla="*/ 102785 w 300419"/>
                <a:gd name="connsiteY58" fmla="*/ 329273 h 461860"/>
                <a:gd name="connsiteX59" fmla="*/ 63549 w 300419"/>
                <a:gd name="connsiteY59" fmla="*/ 355030 h 461860"/>
                <a:gd name="connsiteX60" fmla="*/ 39496 w 300419"/>
                <a:gd name="connsiteY60" fmla="*/ 368760 h 461860"/>
                <a:gd name="connsiteX61" fmla="*/ 18049 w 300419"/>
                <a:gd name="connsiteY61" fmla="*/ 386449 h 461860"/>
                <a:gd name="connsiteX62" fmla="*/ 9230 w 300419"/>
                <a:gd name="connsiteY62" fmla="*/ 394066 h 461860"/>
                <a:gd name="connsiteX63" fmla="*/ 9079 w 300419"/>
                <a:gd name="connsiteY63" fmla="*/ 397273 h 461860"/>
                <a:gd name="connsiteX64" fmla="*/ 7776 w 300419"/>
                <a:gd name="connsiteY64" fmla="*/ 408999 h 461860"/>
                <a:gd name="connsiteX65" fmla="*/ 3467 w 300419"/>
                <a:gd name="connsiteY65" fmla="*/ 420474 h 461860"/>
                <a:gd name="connsiteX66" fmla="*/ 911 w 300419"/>
                <a:gd name="connsiteY66" fmla="*/ 426487 h 461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00419" h="461860">
                  <a:moveTo>
                    <a:pt x="961" y="426487"/>
                  </a:moveTo>
                  <a:cubicBezTo>
                    <a:pt x="-2346" y="435106"/>
                    <a:pt x="3366" y="452945"/>
                    <a:pt x="10683" y="456804"/>
                  </a:cubicBezTo>
                  <a:cubicBezTo>
                    <a:pt x="19201" y="461314"/>
                    <a:pt x="28321" y="464621"/>
                    <a:pt x="36990" y="458557"/>
                  </a:cubicBezTo>
                  <a:cubicBezTo>
                    <a:pt x="54479" y="446281"/>
                    <a:pt x="73771" y="444326"/>
                    <a:pt x="97724" y="452344"/>
                  </a:cubicBezTo>
                  <a:cubicBezTo>
                    <a:pt x="103937" y="454449"/>
                    <a:pt x="111254" y="454449"/>
                    <a:pt x="118269" y="454498"/>
                  </a:cubicBezTo>
                  <a:lnTo>
                    <a:pt x="120173" y="454498"/>
                  </a:lnTo>
                  <a:cubicBezTo>
                    <a:pt x="120173" y="454498"/>
                    <a:pt x="120223" y="454498"/>
                    <a:pt x="120273" y="454498"/>
                  </a:cubicBezTo>
                  <a:cubicBezTo>
                    <a:pt x="122829" y="454498"/>
                    <a:pt x="125485" y="453697"/>
                    <a:pt x="128592" y="452795"/>
                  </a:cubicBezTo>
                  <a:cubicBezTo>
                    <a:pt x="129594" y="452494"/>
                    <a:pt x="130596" y="452194"/>
                    <a:pt x="131598" y="451943"/>
                  </a:cubicBezTo>
                  <a:lnTo>
                    <a:pt x="134104" y="413458"/>
                  </a:lnTo>
                  <a:lnTo>
                    <a:pt x="135006" y="412707"/>
                  </a:lnTo>
                  <a:cubicBezTo>
                    <a:pt x="135858" y="412005"/>
                    <a:pt x="136559" y="411354"/>
                    <a:pt x="137110" y="410803"/>
                  </a:cubicBezTo>
                  <a:cubicBezTo>
                    <a:pt x="138263" y="409700"/>
                    <a:pt x="139315" y="408748"/>
                    <a:pt x="140668" y="408247"/>
                  </a:cubicBezTo>
                  <a:lnTo>
                    <a:pt x="147684" y="405641"/>
                  </a:lnTo>
                  <a:cubicBezTo>
                    <a:pt x="157756" y="401883"/>
                    <a:pt x="168128" y="398025"/>
                    <a:pt x="178602" y="394717"/>
                  </a:cubicBezTo>
                  <a:cubicBezTo>
                    <a:pt x="187020" y="392011"/>
                    <a:pt x="191730" y="387602"/>
                    <a:pt x="194787" y="379484"/>
                  </a:cubicBezTo>
                  <a:cubicBezTo>
                    <a:pt x="205160" y="351773"/>
                    <a:pt x="223300" y="335537"/>
                    <a:pt x="250109" y="329824"/>
                  </a:cubicBezTo>
                  <a:lnTo>
                    <a:pt x="269201" y="287281"/>
                  </a:lnTo>
                  <a:lnTo>
                    <a:pt x="269902" y="286830"/>
                  </a:lnTo>
                  <a:cubicBezTo>
                    <a:pt x="271506" y="285828"/>
                    <a:pt x="273159" y="284876"/>
                    <a:pt x="274863" y="283924"/>
                  </a:cubicBezTo>
                  <a:cubicBezTo>
                    <a:pt x="284685" y="278211"/>
                    <a:pt x="294857" y="272348"/>
                    <a:pt x="300419" y="260172"/>
                  </a:cubicBezTo>
                  <a:cubicBezTo>
                    <a:pt x="289545" y="247844"/>
                    <a:pt x="281077" y="234064"/>
                    <a:pt x="274563" y="218229"/>
                  </a:cubicBezTo>
                  <a:lnTo>
                    <a:pt x="274162" y="217227"/>
                  </a:lnTo>
                  <a:lnTo>
                    <a:pt x="274563" y="216225"/>
                  </a:lnTo>
                  <a:cubicBezTo>
                    <a:pt x="275615" y="213419"/>
                    <a:pt x="276567" y="210713"/>
                    <a:pt x="277519" y="208007"/>
                  </a:cubicBezTo>
                  <a:cubicBezTo>
                    <a:pt x="279623" y="202044"/>
                    <a:pt x="281578" y="196431"/>
                    <a:pt x="284284" y="191070"/>
                  </a:cubicBezTo>
                  <a:cubicBezTo>
                    <a:pt x="290748" y="178192"/>
                    <a:pt x="291199" y="165965"/>
                    <a:pt x="285737" y="152635"/>
                  </a:cubicBezTo>
                  <a:cubicBezTo>
                    <a:pt x="277118" y="131439"/>
                    <a:pt x="271255" y="108037"/>
                    <a:pt x="267798" y="81078"/>
                  </a:cubicBezTo>
                  <a:cubicBezTo>
                    <a:pt x="267297" y="77270"/>
                    <a:pt x="265944" y="73511"/>
                    <a:pt x="264541" y="69553"/>
                  </a:cubicBezTo>
                  <a:cubicBezTo>
                    <a:pt x="264039" y="68099"/>
                    <a:pt x="263488" y="66646"/>
                    <a:pt x="263037" y="65193"/>
                  </a:cubicBezTo>
                  <a:cubicBezTo>
                    <a:pt x="248455" y="60984"/>
                    <a:pt x="235376" y="53518"/>
                    <a:pt x="223099" y="42443"/>
                  </a:cubicBezTo>
                  <a:lnTo>
                    <a:pt x="220644" y="43245"/>
                  </a:lnTo>
                  <a:cubicBezTo>
                    <a:pt x="217938" y="44147"/>
                    <a:pt x="215432" y="44999"/>
                    <a:pt x="212877" y="45751"/>
                  </a:cubicBezTo>
                  <a:cubicBezTo>
                    <a:pt x="198095" y="50160"/>
                    <a:pt x="176397" y="53618"/>
                    <a:pt x="158908" y="32471"/>
                  </a:cubicBezTo>
                  <a:cubicBezTo>
                    <a:pt x="151542" y="23602"/>
                    <a:pt x="142773" y="15484"/>
                    <a:pt x="134304" y="7667"/>
                  </a:cubicBezTo>
                  <a:lnTo>
                    <a:pt x="128993" y="2756"/>
                  </a:lnTo>
                  <a:cubicBezTo>
                    <a:pt x="127790" y="1653"/>
                    <a:pt x="125736" y="1002"/>
                    <a:pt x="123581" y="301"/>
                  </a:cubicBezTo>
                  <a:cubicBezTo>
                    <a:pt x="123280" y="200"/>
                    <a:pt x="122980" y="100"/>
                    <a:pt x="122729" y="0"/>
                  </a:cubicBezTo>
                  <a:cubicBezTo>
                    <a:pt x="118169" y="16536"/>
                    <a:pt x="122729" y="30567"/>
                    <a:pt x="127890" y="42243"/>
                  </a:cubicBezTo>
                  <a:lnTo>
                    <a:pt x="128441" y="43546"/>
                  </a:lnTo>
                  <a:lnTo>
                    <a:pt x="127690" y="44748"/>
                  </a:lnTo>
                  <a:cubicBezTo>
                    <a:pt x="126036" y="47454"/>
                    <a:pt x="124382" y="50060"/>
                    <a:pt x="122729" y="52665"/>
                  </a:cubicBezTo>
                  <a:cubicBezTo>
                    <a:pt x="119071" y="58428"/>
                    <a:pt x="115663" y="63890"/>
                    <a:pt x="112557" y="69503"/>
                  </a:cubicBezTo>
                  <a:cubicBezTo>
                    <a:pt x="107996" y="77771"/>
                    <a:pt x="106543" y="86941"/>
                    <a:pt x="105541" y="96462"/>
                  </a:cubicBezTo>
                  <a:cubicBezTo>
                    <a:pt x="122478" y="99869"/>
                    <a:pt x="139215" y="105331"/>
                    <a:pt x="147183" y="125024"/>
                  </a:cubicBezTo>
                  <a:lnTo>
                    <a:pt x="147734" y="126428"/>
                  </a:lnTo>
                  <a:lnTo>
                    <a:pt x="133202" y="146171"/>
                  </a:lnTo>
                  <a:lnTo>
                    <a:pt x="133503" y="147173"/>
                  </a:lnTo>
                  <a:cubicBezTo>
                    <a:pt x="134154" y="149378"/>
                    <a:pt x="134705" y="151132"/>
                    <a:pt x="135156" y="152836"/>
                  </a:cubicBezTo>
                  <a:cubicBezTo>
                    <a:pt x="140267" y="171878"/>
                    <a:pt x="139065" y="175435"/>
                    <a:pt x="123430" y="187612"/>
                  </a:cubicBezTo>
                  <a:cubicBezTo>
                    <a:pt x="122629" y="188263"/>
                    <a:pt x="121727" y="188614"/>
                    <a:pt x="120925" y="188915"/>
                  </a:cubicBezTo>
                  <a:cubicBezTo>
                    <a:pt x="120524" y="189065"/>
                    <a:pt x="119923" y="189316"/>
                    <a:pt x="119772" y="189466"/>
                  </a:cubicBezTo>
                  <a:cubicBezTo>
                    <a:pt x="118720" y="190819"/>
                    <a:pt x="117618" y="192272"/>
                    <a:pt x="116515" y="193675"/>
                  </a:cubicBezTo>
                  <a:cubicBezTo>
                    <a:pt x="108397" y="204048"/>
                    <a:pt x="100731" y="213870"/>
                    <a:pt x="105190" y="226798"/>
                  </a:cubicBezTo>
                  <a:cubicBezTo>
                    <a:pt x="110101" y="241130"/>
                    <a:pt x="109750" y="253757"/>
                    <a:pt x="104038" y="265333"/>
                  </a:cubicBezTo>
                  <a:cubicBezTo>
                    <a:pt x="105441" y="269342"/>
                    <a:pt x="106844" y="273250"/>
                    <a:pt x="108197" y="277109"/>
                  </a:cubicBezTo>
                  <a:cubicBezTo>
                    <a:pt x="111404" y="286129"/>
                    <a:pt x="114461" y="294698"/>
                    <a:pt x="117367" y="303366"/>
                  </a:cubicBezTo>
                  <a:cubicBezTo>
                    <a:pt x="119923" y="310983"/>
                    <a:pt x="117618" y="317999"/>
                    <a:pt x="110903" y="323060"/>
                  </a:cubicBezTo>
                  <a:cubicBezTo>
                    <a:pt x="108197" y="325114"/>
                    <a:pt x="105491" y="327169"/>
                    <a:pt x="102785" y="329273"/>
                  </a:cubicBezTo>
                  <a:cubicBezTo>
                    <a:pt x="90608" y="338594"/>
                    <a:pt x="78031" y="348265"/>
                    <a:pt x="63549" y="355030"/>
                  </a:cubicBezTo>
                  <a:cubicBezTo>
                    <a:pt x="53176" y="359891"/>
                    <a:pt x="45760" y="364100"/>
                    <a:pt x="39496" y="368760"/>
                  </a:cubicBezTo>
                  <a:cubicBezTo>
                    <a:pt x="32180" y="374172"/>
                    <a:pt x="25315" y="380135"/>
                    <a:pt x="18049" y="386449"/>
                  </a:cubicBezTo>
                  <a:cubicBezTo>
                    <a:pt x="15143" y="388955"/>
                    <a:pt x="12236" y="391510"/>
                    <a:pt x="9230" y="394066"/>
                  </a:cubicBezTo>
                  <a:cubicBezTo>
                    <a:pt x="9179" y="395118"/>
                    <a:pt x="9129" y="396170"/>
                    <a:pt x="9079" y="397273"/>
                  </a:cubicBezTo>
                  <a:cubicBezTo>
                    <a:pt x="8929" y="400931"/>
                    <a:pt x="8778" y="405090"/>
                    <a:pt x="7776" y="408999"/>
                  </a:cubicBezTo>
                  <a:cubicBezTo>
                    <a:pt x="6724" y="413007"/>
                    <a:pt x="5070" y="416816"/>
                    <a:pt x="3467" y="420474"/>
                  </a:cubicBezTo>
                  <a:cubicBezTo>
                    <a:pt x="2565" y="422478"/>
                    <a:pt x="1713" y="424483"/>
                    <a:pt x="911" y="42648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C294418B-0A99-4D9A-A561-B1E908ADB670}"/>
                </a:ext>
              </a:extLst>
            </p:cNvPr>
            <p:cNvSpPr/>
            <p:nvPr/>
          </p:nvSpPr>
          <p:spPr>
            <a:xfrm>
              <a:off x="1186406" y="2649890"/>
              <a:ext cx="404894" cy="329890"/>
            </a:xfrm>
            <a:custGeom>
              <a:avLst/>
              <a:gdLst>
                <a:gd name="connsiteX0" fmla="*/ 6765 w 324663"/>
                <a:gd name="connsiteY0" fmla="*/ 248135 h 264521"/>
                <a:gd name="connsiteX1" fmla="*/ 6765 w 324663"/>
                <a:gd name="connsiteY1" fmla="*/ 248135 h 264521"/>
                <a:gd name="connsiteX2" fmla="*/ 10473 w 324663"/>
                <a:gd name="connsiteY2" fmla="*/ 264521 h 264521"/>
                <a:gd name="connsiteX3" fmla="*/ 46051 w 324663"/>
                <a:gd name="connsiteY3" fmla="*/ 255902 h 264521"/>
                <a:gd name="connsiteX4" fmla="*/ 91050 w 324663"/>
                <a:gd name="connsiteY4" fmla="*/ 244928 h 264521"/>
                <a:gd name="connsiteX5" fmla="*/ 114902 w 324663"/>
                <a:gd name="connsiteY5" fmla="*/ 236109 h 264521"/>
                <a:gd name="connsiteX6" fmla="*/ 125826 w 324663"/>
                <a:gd name="connsiteY6" fmla="*/ 227841 h 264521"/>
                <a:gd name="connsiteX7" fmla="*/ 131990 w 324663"/>
                <a:gd name="connsiteY7" fmla="*/ 222078 h 264521"/>
                <a:gd name="connsiteX8" fmla="*/ 136099 w 324663"/>
                <a:gd name="connsiteY8" fmla="*/ 220575 h 264521"/>
                <a:gd name="connsiteX9" fmla="*/ 137201 w 324663"/>
                <a:gd name="connsiteY9" fmla="*/ 220374 h 264521"/>
                <a:gd name="connsiteX10" fmla="*/ 137853 w 324663"/>
                <a:gd name="connsiteY10" fmla="*/ 220174 h 264521"/>
                <a:gd name="connsiteX11" fmla="*/ 138504 w 324663"/>
                <a:gd name="connsiteY11" fmla="*/ 220324 h 264521"/>
                <a:gd name="connsiteX12" fmla="*/ 171326 w 324663"/>
                <a:gd name="connsiteY12" fmla="*/ 248336 h 264521"/>
                <a:gd name="connsiteX13" fmla="*/ 176137 w 324663"/>
                <a:gd name="connsiteY13" fmla="*/ 255000 h 264521"/>
                <a:gd name="connsiteX14" fmla="*/ 186460 w 324663"/>
                <a:gd name="connsiteY14" fmla="*/ 252094 h 264521"/>
                <a:gd name="connsiteX15" fmla="*/ 191471 w 324663"/>
                <a:gd name="connsiteY15" fmla="*/ 249438 h 264521"/>
                <a:gd name="connsiteX16" fmla="*/ 195780 w 324663"/>
                <a:gd name="connsiteY16" fmla="*/ 247133 h 264521"/>
                <a:gd name="connsiteX17" fmla="*/ 215524 w 324663"/>
                <a:gd name="connsiteY17" fmla="*/ 264070 h 264521"/>
                <a:gd name="connsiteX18" fmla="*/ 220585 w 324663"/>
                <a:gd name="connsiteY18" fmla="*/ 262818 h 264521"/>
                <a:gd name="connsiteX19" fmla="*/ 248396 w 324663"/>
                <a:gd name="connsiteY19" fmla="*/ 255852 h 264521"/>
                <a:gd name="connsiteX20" fmla="*/ 303216 w 324663"/>
                <a:gd name="connsiteY20" fmla="*/ 223782 h 264521"/>
                <a:gd name="connsiteX21" fmla="*/ 304218 w 324663"/>
                <a:gd name="connsiteY21" fmla="*/ 222679 h 264521"/>
                <a:gd name="connsiteX22" fmla="*/ 324663 w 324663"/>
                <a:gd name="connsiteY22" fmla="*/ 181940 h 264521"/>
                <a:gd name="connsiteX23" fmla="*/ 295900 w 324663"/>
                <a:gd name="connsiteY23" fmla="*/ 130427 h 264521"/>
                <a:gd name="connsiteX24" fmla="*/ 234465 w 324663"/>
                <a:gd name="connsiteY24" fmla="*/ 115544 h 264521"/>
                <a:gd name="connsiteX25" fmla="*/ 199989 w 324663"/>
                <a:gd name="connsiteY25" fmla="*/ 94297 h 264521"/>
                <a:gd name="connsiteX26" fmla="*/ 147775 w 324663"/>
                <a:gd name="connsiteY26" fmla="*/ 29004 h 264521"/>
                <a:gd name="connsiteX27" fmla="*/ 130487 w 324663"/>
                <a:gd name="connsiteY27" fmla="*/ 7707 h 264521"/>
                <a:gd name="connsiteX28" fmla="*/ 107336 w 324663"/>
                <a:gd name="connsiteY28" fmla="*/ 3748 h 264521"/>
                <a:gd name="connsiteX29" fmla="*/ 96662 w 324663"/>
                <a:gd name="connsiteY29" fmla="*/ 12367 h 264521"/>
                <a:gd name="connsiteX30" fmla="*/ 72209 w 324663"/>
                <a:gd name="connsiteY30" fmla="*/ 35318 h 264521"/>
                <a:gd name="connsiteX31" fmla="*/ 70856 w 324663"/>
                <a:gd name="connsiteY31" fmla="*/ 36570 h 264521"/>
                <a:gd name="connsiteX32" fmla="*/ 66095 w 324663"/>
                <a:gd name="connsiteY32" fmla="*/ 41331 h 264521"/>
                <a:gd name="connsiteX33" fmla="*/ 55121 w 324663"/>
                <a:gd name="connsiteY33" fmla="*/ 51353 h 264521"/>
                <a:gd name="connsiteX34" fmla="*/ 42994 w 324663"/>
                <a:gd name="connsiteY34" fmla="*/ 57416 h 264521"/>
                <a:gd name="connsiteX35" fmla="*/ 38685 w 324663"/>
                <a:gd name="connsiteY35" fmla="*/ 59220 h 264521"/>
                <a:gd name="connsiteX36" fmla="*/ 42243 w 324663"/>
                <a:gd name="connsiteY36" fmla="*/ 89587 h 264521"/>
                <a:gd name="connsiteX37" fmla="*/ 40188 w 324663"/>
                <a:gd name="connsiteY37" fmla="*/ 90288 h 264521"/>
                <a:gd name="connsiteX38" fmla="*/ 15183 w 324663"/>
                <a:gd name="connsiteY38" fmla="*/ 126769 h 264521"/>
                <a:gd name="connsiteX39" fmla="*/ 15534 w 324663"/>
                <a:gd name="connsiteY39" fmla="*/ 154329 h 264521"/>
                <a:gd name="connsiteX40" fmla="*/ 6715 w 324663"/>
                <a:gd name="connsiteY40" fmla="*/ 182441 h 264521"/>
                <a:gd name="connsiteX41" fmla="*/ 1453 w 324663"/>
                <a:gd name="connsiteY41" fmla="*/ 189356 h 264521"/>
                <a:gd name="connsiteX42" fmla="*/ 0 w 324663"/>
                <a:gd name="connsiteY42" fmla="*/ 191561 h 264521"/>
                <a:gd name="connsiteX43" fmla="*/ 6865 w 324663"/>
                <a:gd name="connsiteY43" fmla="*/ 248035 h 264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24663" h="264521">
                  <a:moveTo>
                    <a:pt x="6765" y="248135"/>
                  </a:moveTo>
                  <a:lnTo>
                    <a:pt x="6765" y="248135"/>
                  </a:lnTo>
                  <a:cubicBezTo>
                    <a:pt x="5412" y="250490"/>
                    <a:pt x="1854" y="258408"/>
                    <a:pt x="10473" y="264521"/>
                  </a:cubicBezTo>
                  <a:cubicBezTo>
                    <a:pt x="20545" y="257706"/>
                    <a:pt x="32221" y="254850"/>
                    <a:pt x="46051" y="255902"/>
                  </a:cubicBezTo>
                  <a:cubicBezTo>
                    <a:pt x="62187" y="257105"/>
                    <a:pt x="76167" y="251192"/>
                    <a:pt x="91050" y="244928"/>
                  </a:cubicBezTo>
                  <a:cubicBezTo>
                    <a:pt x="98717" y="241671"/>
                    <a:pt x="106684" y="238314"/>
                    <a:pt x="114902" y="236109"/>
                  </a:cubicBezTo>
                  <a:cubicBezTo>
                    <a:pt x="118711" y="235057"/>
                    <a:pt x="122168" y="231549"/>
                    <a:pt x="125826" y="227841"/>
                  </a:cubicBezTo>
                  <a:cubicBezTo>
                    <a:pt x="127781" y="225836"/>
                    <a:pt x="129785" y="223832"/>
                    <a:pt x="131990" y="222078"/>
                  </a:cubicBezTo>
                  <a:cubicBezTo>
                    <a:pt x="133293" y="221026"/>
                    <a:pt x="134846" y="220775"/>
                    <a:pt x="136099" y="220575"/>
                  </a:cubicBezTo>
                  <a:cubicBezTo>
                    <a:pt x="136500" y="220525"/>
                    <a:pt x="136851" y="220475"/>
                    <a:pt x="137201" y="220374"/>
                  </a:cubicBezTo>
                  <a:lnTo>
                    <a:pt x="137853" y="220174"/>
                  </a:lnTo>
                  <a:lnTo>
                    <a:pt x="138504" y="220324"/>
                  </a:lnTo>
                  <a:cubicBezTo>
                    <a:pt x="153888" y="223882"/>
                    <a:pt x="164612" y="233002"/>
                    <a:pt x="171326" y="248336"/>
                  </a:cubicBezTo>
                  <a:cubicBezTo>
                    <a:pt x="173080" y="252345"/>
                    <a:pt x="174584" y="254399"/>
                    <a:pt x="176137" y="255000"/>
                  </a:cubicBezTo>
                  <a:cubicBezTo>
                    <a:pt x="177941" y="255652"/>
                    <a:pt x="180948" y="254800"/>
                    <a:pt x="186460" y="252094"/>
                  </a:cubicBezTo>
                  <a:cubicBezTo>
                    <a:pt x="188163" y="251242"/>
                    <a:pt x="189817" y="250340"/>
                    <a:pt x="191471" y="249438"/>
                  </a:cubicBezTo>
                  <a:lnTo>
                    <a:pt x="195780" y="247133"/>
                  </a:lnTo>
                  <a:lnTo>
                    <a:pt x="215524" y="264070"/>
                  </a:lnTo>
                  <a:lnTo>
                    <a:pt x="220585" y="262818"/>
                  </a:lnTo>
                  <a:cubicBezTo>
                    <a:pt x="229905" y="260512"/>
                    <a:pt x="239175" y="258258"/>
                    <a:pt x="248396" y="255852"/>
                  </a:cubicBezTo>
                  <a:cubicBezTo>
                    <a:pt x="270209" y="250240"/>
                    <a:pt x="288484" y="239552"/>
                    <a:pt x="303216" y="223782"/>
                  </a:cubicBezTo>
                  <a:lnTo>
                    <a:pt x="304218" y="222679"/>
                  </a:lnTo>
                  <a:cubicBezTo>
                    <a:pt x="314441" y="211755"/>
                    <a:pt x="321156" y="198376"/>
                    <a:pt x="324663" y="181940"/>
                  </a:cubicBezTo>
                  <a:cubicBezTo>
                    <a:pt x="310482" y="166406"/>
                    <a:pt x="298606" y="151623"/>
                    <a:pt x="295900" y="130427"/>
                  </a:cubicBezTo>
                  <a:cubicBezTo>
                    <a:pt x="275305" y="122008"/>
                    <a:pt x="255060" y="118601"/>
                    <a:pt x="234465" y="115544"/>
                  </a:cubicBezTo>
                  <a:cubicBezTo>
                    <a:pt x="220134" y="113389"/>
                    <a:pt x="209811" y="107075"/>
                    <a:pt x="199989" y="94297"/>
                  </a:cubicBezTo>
                  <a:cubicBezTo>
                    <a:pt x="183002" y="72249"/>
                    <a:pt x="165063" y="50251"/>
                    <a:pt x="147775" y="29004"/>
                  </a:cubicBezTo>
                  <a:cubicBezTo>
                    <a:pt x="142012" y="21888"/>
                    <a:pt x="136199" y="14823"/>
                    <a:pt x="130487" y="7707"/>
                  </a:cubicBezTo>
                  <a:cubicBezTo>
                    <a:pt x="123321" y="-1112"/>
                    <a:pt x="116606" y="-2265"/>
                    <a:pt x="107336" y="3748"/>
                  </a:cubicBezTo>
                  <a:cubicBezTo>
                    <a:pt x="103527" y="6204"/>
                    <a:pt x="99970" y="9361"/>
                    <a:pt x="96662" y="12367"/>
                  </a:cubicBezTo>
                  <a:cubicBezTo>
                    <a:pt x="88444" y="19934"/>
                    <a:pt x="80326" y="27651"/>
                    <a:pt x="72209" y="35318"/>
                  </a:cubicBezTo>
                  <a:lnTo>
                    <a:pt x="70856" y="36570"/>
                  </a:lnTo>
                  <a:cubicBezTo>
                    <a:pt x="69252" y="38124"/>
                    <a:pt x="67649" y="39727"/>
                    <a:pt x="66095" y="41331"/>
                  </a:cubicBezTo>
                  <a:cubicBezTo>
                    <a:pt x="62688" y="44839"/>
                    <a:pt x="59180" y="48446"/>
                    <a:pt x="55121" y="51353"/>
                  </a:cubicBezTo>
                  <a:cubicBezTo>
                    <a:pt x="51513" y="53908"/>
                    <a:pt x="47404" y="55612"/>
                    <a:pt x="42994" y="57416"/>
                  </a:cubicBezTo>
                  <a:cubicBezTo>
                    <a:pt x="41591" y="57968"/>
                    <a:pt x="40188" y="58569"/>
                    <a:pt x="38685" y="59220"/>
                  </a:cubicBezTo>
                  <a:lnTo>
                    <a:pt x="42243" y="89587"/>
                  </a:lnTo>
                  <a:lnTo>
                    <a:pt x="40188" y="90288"/>
                  </a:lnTo>
                  <a:cubicBezTo>
                    <a:pt x="25055" y="95299"/>
                    <a:pt x="17589" y="106223"/>
                    <a:pt x="15183" y="126769"/>
                  </a:cubicBezTo>
                  <a:cubicBezTo>
                    <a:pt x="14281" y="134786"/>
                    <a:pt x="14382" y="143806"/>
                    <a:pt x="15534" y="154329"/>
                  </a:cubicBezTo>
                  <a:cubicBezTo>
                    <a:pt x="16887" y="166656"/>
                    <a:pt x="14181" y="175325"/>
                    <a:pt x="6715" y="182441"/>
                  </a:cubicBezTo>
                  <a:cubicBezTo>
                    <a:pt x="4760" y="184345"/>
                    <a:pt x="3157" y="186750"/>
                    <a:pt x="1453" y="189356"/>
                  </a:cubicBezTo>
                  <a:cubicBezTo>
                    <a:pt x="952" y="190108"/>
                    <a:pt x="501" y="190809"/>
                    <a:pt x="0" y="191561"/>
                  </a:cubicBezTo>
                  <a:cubicBezTo>
                    <a:pt x="15384" y="212056"/>
                    <a:pt x="17438" y="229544"/>
                    <a:pt x="6865" y="24803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55" name="Полилиния: фигура 54">
              <a:extLst>
                <a:ext uri="{FF2B5EF4-FFF2-40B4-BE49-F238E27FC236}">
                  <a16:creationId xmlns:a16="http://schemas.microsoft.com/office/drawing/2014/main" id="{CECE79AB-19B2-4FF3-B8D3-6324C8B9A212}"/>
                </a:ext>
              </a:extLst>
            </p:cNvPr>
            <p:cNvSpPr/>
            <p:nvPr/>
          </p:nvSpPr>
          <p:spPr>
            <a:xfrm>
              <a:off x="2696871" y="3505788"/>
              <a:ext cx="353275" cy="440835"/>
            </a:xfrm>
            <a:custGeom>
              <a:avLst/>
              <a:gdLst>
                <a:gd name="connsiteX0" fmla="*/ 92453 w 283272"/>
                <a:gd name="connsiteY0" fmla="*/ 306574 h 353482"/>
                <a:gd name="connsiteX1" fmla="*/ 92804 w 283272"/>
                <a:gd name="connsiteY1" fmla="*/ 306824 h 353482"/>
                <a:gd name="connsiteX2" fmla="*/ 99118 w 283272"/>
                <a:gd name="connsiteY2" fmla="*/ 311484 h 353482"/>
                <a:gd name="connsiteX3" fmla="*/ 127681 w 283272"/>
                <a:gd name="connsiteY3" fmla="*/ 343906 h 353482"/>
                <a:gd name="connsiteX4" fmla="*/ 152585 w 283272"/>
                <a:gd name="connsiteY4" fmla="*/ 351122 h 353482"/>
                <a:gd name="connsiteX5" fmla="*/ 172880 w 283272"/>
                <a:gd name="connsiteY5" fmla="*/ 343805 h 353482"/>
                <a:gd name="connsiteX6" fmla="*/ 196983 w 283272"/>
                <a:gd name="connsiteY6" fmla="*/ 335086 h 353482"/>
                <a:gd name="connsiteX7" fmla="*/ 204499 w 283272"/>
                <a:gd name="connsiteY7" fmla="*/ 330927 h 353482"/>
                <a:gd name="connsiteX8" fmla="*/ 206854 w 283272"/>
                <a:gd name="connsiteY8" fmla="*/ 329424 h 353482"/>
                <a:gd name="connsiteX9" fmla="*/ 202395 w 283272"/>
                <a:gd name="connsiteY9" fmla="*/ 317047 h 353482"/>
                <a:gd name="connsiteX10" fmla="*/ 194427 w 283272"/>
                <a:gd name="connsiteY10" fmla="*/ 298255 h 353482"/>
                <a:gd name="connsiteX11" fmla="*/ 188715 w 283272"/>
                <a:gd name="connsiteY11" fmla="*/ 299759 h 353482"/>
                <a:gd name="connsiteX12" fmla="*/ 175486 w 283272"/>
                <a:gd name="connsiteY12" fmla="*/ 299408 h 353482"/>
                <a:gd name="connsiteX13" fmla="*/ 174534 w 283272"/>
                <a:gd name="connsiteY13" fmla="*/ 298606 h 353482"/>
                <a:gd name="connsiteX14" fmla="*/ 174534 w 283272"/>
                <a:gd name="connsiteY14" fmla="*/ 287381 h 353482"/>
                <a:gd name="connsiteX15" fmla="*/ 174534 w 283272"/>
                <a:gd name="connsiteY15" fmla="*/ 258067 h 353482"/>
                <a:gd name="connsiteX16" fmla="*/ 188464 w 283272"/>
                <a:gd name="connsiteY16" fmla="*/ 237021 h 353482"/>
                <a:gd name="connsiteX17" fmla="*/ 204098 w 283272"/>
                <a:gd name="connsiteY17" fmla="*/ 219282 h 353482"/>
                <a:gd name="connsiteX18" fmla="*/ 204549 w 283272"/>
                <a:gd name="connsiteY18" fmla="*/ 216125 h 353482"/>
                <a:gd name="connsiteX19" fmla="*/ 207606 w 283272"/>
                <a:gd name="connsiteY19" fmla="*/ 217077 h 353482"/>
                <a:gd name="connsiteX20" fmla="*/ 210763 w 283272"/>
                <a:gd name="connsiteY20" fmla="*/ 218129 h 353482"/>
                <a:gd name="connsiteX21" fmla="*/ 215123 w 283272"/>
                <a:gd name="connsiteY21" fmla="*/ 219432 h 353482"/>
                <a:gd name="connsiteX22" fmla="*/ 219382 w 283272"/>
                <a:gd name="connsiteY22" fmla="*/ 219783 h 353482"/>
                <a:gd name="connsiteX23" fmla="*/ 220885 w 283272"/>
                <a:gd name="connsiteY23" fmla="*/ 219833 h 353482"/>
                <a:gd name="connsiteX24" fmla="*/ 283272 w 283272"/>
                <a:gd name="connsiteY24" fmla="*/ 58930 h 353482"/>
                <a:gd name="connsiteX25" fmla="*/ 278963 w 283272"/>
                <a:gd name="connsiteY25" fmla="*/ 55923 h 353482"/>
                <a:gd name="connsiteX26" fmla="*/ 267137 w 283272"/>
                <a:gd name="connsiteY26" fmla="*/ 46452 h 353482"/>
                <a:gd name="connsiteX27" fmla="*/ 261124 w 283272"/>
                <a:gd name="connsiteY27" fmla="*/ 36981 h 353482"/>
                <a:gd name="connsiteX28" fmla="*/ 256012 w 283272"/>
                <a:gd name="connsiteY28" fmla="*/ 28763 h 353482"/>
                <a:gd name="connsiteX29" fmla="*/ 245590 w 283272"/>
                <a:gd name="connsiteY29" fmla="*/ 24153 h 353482"/>
                <a:gd name="connsiteX30" fmla="*/ 208308 w 283272"/>
                <a:gd name="connsiteY30" fmla="*/ 7116 h 353482"/>
                <a:gd name="connsiteX31" fmla="*/ 200992 w 283272"/>
                <a:gd name="connsiteY31" fmla="*/ 1654 h 353482"/>
                <a:gd name="connsiteX32" fmla="*/ 198586 w 283272"/>
                <a:gd name="connsiteY32" fmla="*/ 0 h 353482"/>
                <a:gd name="connsiteX33" fmla="*/ 158999 w 283272"/>
                <a:gd name="connsiteY33" fmla="*/ 42995 h 353482"/>
                <a:gd name="connsiteX34" fmla="*/ 156594 w 283272"/>
                <a:gd name="connsiteY34" fmla="*/ 49358 h 353482"/>
                <a:gd name="connsiteX35" fmla="*/ 154690 w 283272"/>
                <a:gd name="connsiteY35" fmla="*/ 54119 h 353482"/>
                <a:gd name="connsiteX36" fmla="*/ 122720 w 283272"/>
                <a:gd name="connsiteY36" fmla="*/ 79274 h 353482"/>
                <a:gd name="connsiteX37" fmla="*/ 98867 w 283272"/>
                <a:gd name="connsiteY37" fmla="*/ 78472 h 353482"/>
                <a:gd name="connsiteX38" fmla="*/ 91752 w 283272"/>
                <a:gd name="connsiteY38" fmla="*/ 77671 h 353482"/>
                <a:gd name="connsiteX39" fmla="*/ 82131 w 283272"/>
                <a:gd name="connsiteY39" fmla="*/ 75616 h 353482"/>
                <a:gd name="connsiteX40" fmla="*/ 80176 w 283272"/>
                <a:gd name="connsiteY40" fmla="*/ 75065 h 353482"/>
                <a:gd name="connsiteX41" fmla="*/ 61485 w 283272"/>
                <a:gd name="connsiteY41" fmla="*/ 110543 h 353482"/>
                <a:gd name="connsiteX42" fmla="*/ 57126 w 283272"/>
                <a:gd name="connsiteY42" fmla="*/ 126728 h 353482"/>
                <a:gd name="connsiteX43" fmla="*/ 39687 w 283272"/>
                <a:gd name="connsiteY43" fmla="*/ 144718 h 353482"/>
                <a:gd name="connsiteX44" fmla="*/ 30267 w 283272"/>
                <a:gd name="connsiteY44" fmla="*/ 147424 h 353482"/>
                <a:gd name="connsiteX45" fmla="*/ 27310 w 283272"/>
                <a:gd name="connsiteY45" fmla="*/ 148226 h 353482"/>
                <a:gd name="connsiteX46" fmla="*/ 24253 w 283272"/>
                <a:gd name="connsiteY46" fmla="*/ 159049 h 353482"/>
                <a:gd name="connsiteX47" fmla="*/ 16135 w 283272"/>
                <a:gd name="connsiteY47" fmla="*/ 185808 h 353482"/>
                <a:gd name="connsiteX48" fmla="*/ 17539 w 283272"/>
                <a:gd name="connsiteY48" fmla="*/ 212216 h 353482"/>
                <a:gd name="connsiteX49" fmla="*/ 19693 w 283272"/>
                <a:gd name="connsiteY49" fmla="*/ 214972 h 353482"/>
                <a:gd name="connsiteX50" fmla="*/ 16486 w 283272"/>
                <a:gd name="connsiteY50" fmla="*/ 216375 h 353482"/>
                <a:gd name="connsiteX51" fmla="*/ 0 w 283272"/>
                <a:gd name="connsiteY51" fmla="*/ 223541 h 353482"/>
                <a:gd name="connsiteX52" fmla="*/ 4861 w 283272"/>
                <a:gd name="connsiteY52" fmla="*/ 227500 h 353482"/>
                <a:gd name="connsiteX53" fmla="*/ 19092 w 283272"/>
                <a:gd name="connsiteY53" fmla="*/ 238624 h 353482"/>
                <a:gd name="connsiteX54" fmla="*/ 19593 w 283272"/>
                <a:gd name="connsiteY54" fmla="*/ 238975 h 353482"/>
                <a:gd name="connsiteX55" fmla="*/ 29765 w 283272"/>
                <a:gd name="connsiteY55" fmla="*/ 244036 h 353482"/>
                <a:gd name="connsiteX56" fmla="*/ 65694 w 283272"/>
                <a:gd name="connsiteY56" fmla="*/ 257165 h 353482"/>
                <a:gd name="connsiteX57" fmla="*/ 78422 w 283272"/>
                <a:gd name="connsiteY57" fmla="*/ 254008 h 353482"/>
                <a:gd name="connsiteX58" fmla="*/ 76618 w 283272"/>
                <a:gd name="connsiteY58" fmla="*/ 249598 h 353482"/>
                <a:gd name="connsiteX59" fmla="*/ 73912 w 283272"/>
                <a:gd name="connsiteY59" fmla="*/ 243585 h 353482"/>
                <a:gd name="connsiteX60" fmla="*/ 72209 w 283272"/>
                <a:gd name="connsiteY60" fmla="*/ 239827 h 353482"/>
                <a:gd name="connsiteX61" fmla="*/ 74163 w 283272"/>
                <a:gd name="connsiteY61" fmla="*/ 238574 h 353482"/>
                <a:gd name="connsiteX62" fmla="*/ 116005 w 283272"/>
                <a:gd name="connsiteY62" fmla="*/ 236971 h 353482"/>
                <a:gd name="connsiteX63" fmla="*/ 117659 w 283272"/>
                <a:gd name="connsiteY63" fmla="*/ 238023 h 353482"/>
                <a:gd name="connsiteX64" fmla="*/ 117107 w 283272"/>
                <a:gd name="connsiteY64" fmla="*/ 239927 h 353482"/>
                <a:gd name="connsiteX65" fmla="*/ 116105 w 283272"/>
                <a:gd name="connsiteY65" fmla="*/ 243184 h 353482"/>
                <a:gd name="connsiteX66" fmla="*/ 114301 w 283272"/>
                <a:gd name="connsiteY66" fmla="*/ 250150 h 353482"/>
                <a:gd name="connsiteX67" fmla="*/ 114151 w 283272"/>
                <a:gd name="connsiteY67" fmla="*/ 259069 h 353482"/>
                <a:gd name="connsiteX68" fmla="*/ 114151 w 283272"/>
                <a:gd name="connsiteY68" fmla="*/ 260974 h 353482"/>
                <a:gd name="connsiteX69" fmla="*/ 141411 w 283272"/>
                <a:gd name="connsiteY69" fmla="*/ 276959 h 353482"/>
                <a:gd name="connsiteX70" fmla="*/ 139958 w 283272"/>
                <a:gd name="connsiteY70" fmla="*/ 279314 h 353482"/>
                <a:gd name="connsiteX71" fmla="*/ 116807 w 283272"/>
                <a:gd name="connsiteY71" fmla="*/ 298205 h 353482"/>
                <a:gd name="connsiteX72" fmla="*/ 116306 w 283272"/>
                <a:gd name="connsiteY72" fmla="*/ 298456 h 353482"/>
                <a:gd name="connsiteX73" fmla="*/ 97865 w 283272"/>
                <a:gd name="connsiteY73" fmla="*/ 305070 h 353482"/>
                <a:gd name="connsiteX74" fmla="*/ 92654 w 283272"/>
                <a:gd name="connsiteY74" fmla="*/ 306624 h 353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283272" h="353482">
                  <a:moveTo>
                    <a:pt x="92453" y="306574"/>
                  </a:moveTo>
                  <a:lnTo>
                    <a:pt x="92804" y="306824"/>
                  </a:lnTo>
                  <a:cubicBezTo>
                    <a:pt x="95310" y="308728"/>
                    <a:pt x="97164" y="310132"/>
                    <a:pt x="99118" y="311484"/>
                  </a:cubicBezTo>
                  <a:cubicBezTo>
                    <a:pt x="110292" y="319502"/>
                    <a:pt x="119362" y="329775"/>
                    <a:pt x="127681" y="343906"/>
                  </a:cubicBezTo>
                  <a:cubicBezTo>
                    <a:pt x="133493" y="353727"/>
                    <a:pt x="140208" y="355732"/>
                    <a:pt x="152585" y="351122"/>
                  </a:cubicBezTo>
                  <a:cubicBezTo>
                    <a:pt x="159300" y="348616"/>
                    <a:pt x="166065" y="346211"/>
                    <a:pt x="172880" y="343805"/>
                  </a:cubicBezTo>
                  <a:cubicBezTo>
                    <a:pt x="180948" y="340949"/>
                    <a:pt x="188965" y="338093"/>
                    <a:pt x="196983" y="335086"/>
                  </a:cubicBezTo>
                  <a:cubicBezTo>
                    <a:pt x="199488" y="334184"/>
                    <a:pt x="201793" y="332681"/>
                    <a:pt x="204499" y="330927"/>
                  </a:cubicBezTo>
                  <a:cubicBezTo>
                    <a:pt x="205251" y="330426"/>
                    <a:pt x="206053" y="329925"/>
                    <a:pt x="206854" y="329424"/>
                  </a:cubicBezTo>
                  <a:cubicBezTo>
                    <a:pt x="205151" y="325215"/>
                    <a:pt x="203748" y="321055"/>
                    <a:pt x="202395" y="317047"/>
                  </a:cubicBezTo>
                  <a:cubicBezTo>
                    <a:pt x="200090" y="310132"/>
                    <a:pt x="197885" y="303617"/>
                    <a:pt x="194427" y="298255"/>
                  </a:cubicBezTo>
                  <a:cubicBezTo>
                    <a:pt x="192623" y="297604"/>
                    <a:pt x="191170" y="298355"/>
                    <a:pt x="188715" y="299759"/>
                  </a:cubicBezTo>
                  <a:cubicBezTo>
                    <a:pt x="185658" y="301512"/>
                    <a:pt x="181048" y="304219"/>
                    <a:pt x="175486" y="299408"/>
                  </a:cubicBezTo>
                  <a:lnTo>
                    <a:pt x="174534" y="298606"/>
                  </a:lnTo>
                  <a:lnTo>
                    <a:pt x="174534" y="287381"/>
                  </a:lnTo>
                  <a:cubicBezTo>
                    <a:pt x="174534" y="277810"/>
                    <a:pt x="174534" y="267939"/>
                    <a:pt x="174534" y="258067"/>
                  </a:cubicBezTo>
                  <a:cubicBezTo>
                    <a:pt x="174534" y="247544"/>
                    <a:pt x="179695" y="239677"/>
                    <a:pt x="188464" y="237021"/>
                  </a:cubicBezTo>
                  <a:cubicBezTo>
                    <a:pt x="197985" y="234115"/>
                    <a:pt x="202796" y="228652"/>
                    <a:pt x="204098" y="219282"/>
                  </a:cubicBezTo>
                  <a:lnTo>
                    <a:pt x="204549" y="216125"/>
                  </a:lnTo>
                  <a:lnTo>
                    <a:pt x="207606" y="217077"/>
                  </a:lnTo>
                  <a:cubicBezTo>
                    <a:pt x="208759" y="217428"/>
                    <a:pt x="209811" y="217779"/>
                    <a:pt x="210763" y="218129"/>
                  </a:cubicBezTo>
                  <a:cubicBezTo>
                    <a:pt x="212417" y="218681"/>
                    <a:pt x="213720" y="219131"/>
                    <a:pt x="215123" y="219432"/>
                  </a:cubicBezTo>
                  <a:cubicBezTo>
                    <a:pt x="216325" y="219633"/>
                    <a:pt x="217678" y="219733"/>
                    <a:pt x="219382" y="219783"/>
                  </a:cubicBezTo>
                  <a:cubicBezTo>
                    <a:pt x="219833" y="219783"/>
                    <a:pt x="220334" y="219783"/>
                    <a:pt x="220885" y="219833"/>
                  </a:cubicBezTo>
                  <a:cubicBezTo>
                    <a:pt x="243385" y="174032"/>
                    <a:pt x="268189" y="119262"/>
                    <a:pt x="283272" y="58930"/>
                  </a:cubicBezTo>
                  <a:cubicBezTo>
                    <a:pt x="281819" y="57877"/>
                    <a:pt x="280366" y="56925"/>
                    <a:pt x="278963" y="55923"/>
                  </a:cubicBezTo>
                  <a:cubicBezTo>
                    <a:pt x="274603" y="52966"/>
                    <a:pt x="270494" y="50210"/>
                    <a:pt x="267137" y="46452"/>
                  </a:cubicBezTo>
                  <a:cubicBezTo>
                    <a:pt x="264581" y="43646"/>
                    <a:pt x="262828" y="40239"/>
                    <a:pt x="261124" y="36981"/>
                  </a:cubicBezTo>
                  <a:cubicBezTo>
                    <a:pt x="259520" y="33925"/>
                    <a:pt x="258017" y="31068"/>
                    <a:pt x="256012" y="28763"/>
                  </a:cubicBezTo>
                  <a:cubicBezTo>
                    <a:pt x="253958" y="26408"/>
                    <a:pt x="249598" y="24504"/>
                    <a:pt x="245590" y="24153"/>
                  </a:cubicBezTo>
                  <a:cubicBezTo>
                    <a:pt x="232411" y="23151"/>
                    <a:pt x="220535" y="17739"/>
                    <a:pt x="208308" y="7116"/>
                  </a:cubicBezTo>
                  <a:cubicBezTo>
                    <a:pt x="206053" y="5161"/>
                    <a:pt x="203597" y="3458"/>
                    <a:pt x="200992" y="1654"/>
                  </a:cubicBezTo>
                  <a:cubicBezTo>
                    <a:pt x="200190" y="1103"/>
                    <a:pt x="199388" y="551"/>
                    <a:pt x="198586" y="0"/>
                  </a:cubicBezTo>
                  <a:cubicBezTo>
                    <a:pt x="181148" y="9220"/>
                    <a:pt x="164512" y="20896"/>
                    <a:pt x="158999" y="42995"/>
                  </a:cubicBezTo>
                  <a:cubicBezTo>
                    <a:pt x="158448" y="45250"/>
                    <a:pt x="157496" y="47354"/>
                    <a:pt x="156594" y="49358"/>
                  </a:cubicBezTo>
                  <a:cubicBezTo>
                    <a:pt x="155842" y="51012"/>
                    <a:pt x="155141" y="52565"/>
                    <a:pt x="154690" y="54119"/>
                  </a:cubicBezTo>
                  <a:cubicBezTo>
                    <a:pt x="150481" y="68400"/>
                    <a:pt x="139707" y="76869"/>
                    <a:pt x="122720" y="79274"/>
                  </a:cubicBezTo>
                  <a:cubicBezTo>
                    <a:pt x="114852" y="80377"/>
                    <a:pt x="106735" y="79424"/>
                    <a:pt x="98867" y="78472"/>
                  </a:cubicBezTo>
                  <a:cubicBezTo>
                    <a:pt x="96462" y="78172"/>
                    <a:pt x="94107" y="77921"/>
                    <a:pt x="91752" y="77671"/>
                  </a:cubicBezTo>
                  <a:cubicBezTo>
                    <a:pt x="88344" y="77320"/>
                    <a:pt x="85037" y="76418"/>
                    <a:pt x="82131" y="75616"/>
                  </a:cubicBezTo>
                  <a:cubicBezTo>
                    <a:pt x="81479" y="75416"/>
                    <a:pt x="80828" y="75265"/>
                    <a:pt x="80176" y="75065"/>
                  </a:cubicBezTo>
                  <a:cubicBezTo>
                    <a:pt x="70304" y="85137"/>
                    <a:pt x="64341" y="96462"/>
                    <a:pt x="61485" y="110543"/>
                  </a:cubicBezTo>
                  <a:cubicBezTo>
                    <a:pt x="60333" y="116205"/>
                    <a:pt x="58679" y="121617"/>
                    <a:pt x="57126" y="126728"/>
                  </a:cubicBezTo>
                  <a:cubicBezTo>
                    <a:pt x="54470" y="135598"/>
                    <a:pt x="48406" y="141812"/>
                    <a:pt x="39687" y="144718"/>
                  </a:cubicBezTo>
                  <a:cubicBezTo>
                    <a:pt x="36630" y="145770"/>
                    <a:pt x="33524" y="146572"/>
                    <a:pt x="30267" y="147424"/>
                  </a:cubicBezTo>
                  <a:cubicBezTo>
                    <a:pt x="29314" y="147675"/>
                    <a:pt x="28312" y="147925"/>
                    <a:pt x="27310" y="148226"/>
                  </a:cubicBezTo>
                  <a:cubicBezTo>
                    <a:pt x="26258" y="151884"/>
                    <a:pt x="25256" y="155492"/>
                    <a:pt x="24253" y="159049"/>
                  </a:cubicBezTo>
                  <a:cubicBezTo>
                    <a:pt x="21648" y="168320"/>
                    <a:pt x="19192" y="177089"/>
                    <a:pt x="16135" y="185808"/>
                  </a:cubicBezTo>
                  <a:cubicBezTo>
                    <a:pt x="12377" y="196582"/>
                    <a:pt x="11425" y="204349"/>
                    <a:pt x="17539" y="212216"/>
                  </a:cubicBezTo>
                  <a:lnTo>
                    <a:pt x="19693" y="214972"/>
                  </a:lnTo>
                  <a:lnTo>
                    <a:pt x="16486" y="216375"/>
                  </a:lnTo>
                  <a:cubicBezTo>
                    <a:pt x="10724" y="218881"/>
                    <a:pt x="5913" y="220936"/>
                    <a:pt x="0" y="223541"/>
                  </a:cubicBezTo>
                  <a:cubicBezTo>
                    <a:pt x="1704" y="224944"/>
                    <a:pt x="3307" y="226247"/>
                    <a:pt x="4861" y="227500"/>
                  </a:cubicBezTo>
                  <a:cubicBezTo>
                    <a:pt x="10022" y="231709"/>
                    <a:pt x="14532" y="235367"/>
                    <a:pt x="19092" y="238624"/>
                  </a:cubicBezTo>
                  <a:lnTo>
                    <a:pt x="19593" y="238975"/>
                  </a:lnTo>
                  <a:cubicBezTo>
                    <a:pt x="22800" y="241280"/>
                    <a:pt x="26909" y="244036"/>
                    <a:pt x="29765" y="244036"/>
                  </a:cubicBezTo>
                  <a:cubicBezTo>
                    <a:pt x="45751" y="243385"/>
                    <a:pt x="57326" y="250651"/>
                    <a:pt x="65694" y="257165"/>
                  </a:cubicBezTo>
                  <a:cubicBezTo>
                    <a:pt x="70304" y="260773"/>
                    <a:pt x="70555" y="260974"/>
                    <a:pt x="78422" y="254008"/>
                  </a:cubicBezTo>
                  <a:cubicBezTo>
                    <a:pt x="77871" y="252555"/>
                    <a:pt x="77270" y="251102"/>
                    <a:pt x="76618" y="249598"/>
                  </a:cubicBezTo>
                  <a:cubicBezTo>
                    <a:pt x="75716" y="247544"/>
                    <a:pt x="74814" y="245540"/>
                    <a:pt x="73912" y="243585"/>
                  </a:cubicBezTo>
                  <a:lnTo>
                    <a:pt x="72209" y="239827"/>
                  </a:lnTo>
                  <a:lnTo>
                    <a:pt x="74163" y="238574"/>
                  </a:lnTo>
                  <a:cubicBezTo>
                    <a:pt x="95610" y="224443"/>
                    <a:pt x="96813" y="224393"/>
                    <a:pt x="116005" y="236971"/>
                  </a:cubicBezTo>
                  <a:lnTo>
                    <a:pt x="117659" y="238023"/>
                  </a:lnTo>
                  <a:lnTo>
                    <a:pt x="117107" y="239927"/>
                  </a:lnTo>
                  <a:cubicBezTo>
                    <a:pt x="116807" y="240980"/>
                    <a:pt x="116456" y="242082"/>
                    <a:pt x="116105" y="243184"/>
                  </a:cubicBezTo>
                  <a:cubicBezTo>
                    <a:pt x="115354" y="245489"/>
                    <a:pt x="114602" y="247845"/>
                    <a:pt x="114301" y="250150"/>
                  </a:cubicBezTo>
                  <a:cubicBezTo>
                    <a:pt x="113950" y="253106"/>
                    <a:pt x="114051" y="256263"/>
                    <a:pt x="114151" y="259069"/>
                  </a:cubicBezTo>
                  <a:cubicBezTo>
                    <a:pt x="114151" y="259721"/>
                    <a:pt x="114151" y="260372"/>
                    <a:pt x="114151" y="260974"/>
                  </a:cubicBezTo>
                  <a:lnTo>
                    <a:pt x="141411" y="276959"/>
                  </a:lnTo>
                  <a:lnTo>
                    <a:pt x="139958" y="279314"/>
                  </a:lnTo>
                  <a:cubicBezTo>
                    <a:pt x="133744" y="289436"/>
                    <a:pt x="124774" y="294096"/>
                    <a:pt x="116807" y="298205"/>
                  </a:cubicBezTo>
                  <a:lnTo>
                    <a:pt x="116306" y="298456"/>
                  </a:lnTo>
                  <a:cubicBezTo>
                    <a:pt x="110743" y="301362"/>
                    <a:pt x="104780" y="303066"/>
                    <a:pt x="97865" y="305070"/>
                  </a:cubicBezTo>
                  <a:cubicBezTo>
                    <a:pt x="96161" y="305571"/>
                    <a:pt x="94458" y="306073"/>
                    <a:pt x="92654" y="30662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56" name="Полилиния: фигура 55">
              <a:extLst>
                <a:ext uri="{FF2B5EF4-FFF2-40B4-BE49-F238E27FC236}">
                  <a16:creationId xmlns:a16="http://schemas.microsoft.com/office/drawing/2014/main" id="{5B9CB2B3-44DB-4900-AF8B-96C629DF9F6C}"/>
                </a:ext>
              </a:extLst>
            </p:cNvPr>
            <p:cNvSpPr/>
            <p:nvPr/>
          </p:nvSpPr>
          <p:spPr>
            <a:xfrm>
              <a:off x="1773657" y="3547794"/>
              <a:ext cx="334758" cy="374637"/>
            </a:xfrm>
            <a:custGeom>
              <a:avLst/>
              <a:gdLst>
                <a:gd name="connsiteX0" fmla="*/ 18591 w 268424"/>
                <a:gd name="connsiteY0" fmla="*/ 181390 h 300401"/>
                <a:gd name="connsiteX1" fmla="*/ 45550 w 268424"/>
                <a:gd name="connsiteY1" fmla="*/ 209201 h 300401"/>
                <a:gd name="connsiteX2" fmla="*/ 59330 w 268424"/>
                <a:gd name="connsiteY2" fmla="*/ 219574 h 300401"/>
                <a:gd name="connsiteX3" fmla="*/ 59330 w 268424"/>
                <a:gd name="connsiteY3" fmla="*/ 219574 h 300401"/>
                <a:gd name="connsiteX4" fmla="*/ 93105 w 268424"/>
                <a:gd name="connsiteY4" fmla="*/ 242825 h 300401"/>
                <a:gd name="connsiteX5" fmla="*/ 128182 w 268424"/>
                <a:gd name="connsiteY5" fmla="*/ 266427 h 300401"/>
                <a:gd name="connsiteX6" fmla="*/ 149278 w 268424"/>
                <a:gd name="connsiteY6" fmla="*/ 279907 h 300401"/>
                <a:gd name="connsiteX7" fmla="*/ 153788 w 268424"/>
                <a:gd name="connsiteY7" fmla="*/ 287724 h 300401"/>
                <a:gd name="connsiteX8" fmla="*/ 155391 w 268424"/>
                <a:gd name="connsiteY8" fmla="*/ 290530 h 300401"/>
                <a:gd name="connsiteX9" fmla="*/ 180246 w 268424"/>
                <a:gd name="connsiteY9" fmla="*/ 285318 h 300401"/>
                <a:gd name="connsiteX10" fmla="*/ 219733 w 268424"/>
                <a:gd name="connsiteY10" fmla="*/ 300402 h 300401"/>
                <a:gd name="connsiteX11" fmla="*/ 256564 w 268424"/>
                <a:gd name="connsiteY11" fmla="*/ 268882 h 300401"/>
                <a:gd name="connsiteX12" fmla="*/ 260823 w 268424"/>
                <a:gd name="connsiteY12" fmla="*/ 263270 h 300401"/>
                <a:gd name="connsiteX13" fmla="*/ 265934 w 268424"/>
                <a:gd name="connsiteY13" fmla="*/ 232954 h 300401"/>
                <a:gd name="connsiteX14" fmla="*/ 264531 w 268424"/>
                <a:gd name="connsiteY14" fmla="*/ 196523 h 300401"/>
                <a:gd name="connsiteX15" fmla="*/ 262727 w 268424"/>
                <a:gd name="connsiteY15" fmla="*/ 156435 h 300401"/>
                <a:gd name="connsiteX16" fmla="*/ 253206 w 268424"/>
                <a:gd name="connsiteY16" fmla="*/ 143808 h 300401"/>
                <a:gd name="connsiteX17" fmla="*/ 202395 w 268424"/>
                <a:gd name="connsiteY17" fmla="*/ 108229 h 300401"/>
                <a:gd name="connsiteX18" fmla="*/ 200942 w 268424"/>
                <a:gd name="connsiteY18" fmla="*/ 107979 h 300401"/>
                <a:gd name="connsiteX19" fmla="*/ 199689 w 268424"/>
                <a:gd name="connsiteY19" fmla="*/ 107778 h 300401"/>
                <a:gd name="connsiteX20" fmla="*/ 197083 w 268424"/>
                <a:gd name="connsiteY20" fmla="*/ 109983 h 300401"/>
                <a:gd name="connsiteX21" fmla="*/ 188163 w 268424"/>
                <a:gd name="connsiteY21" fmla="*/ 116949 h 300401"/>
                <a:gd name="connsiteX22" fmla="*/ 167819 w 268424"/>
                <a:gd name="connsiteY22" fmla="*/ 121158 h 300401"/>
                <a:gd name="connsiteX23" fmla="*/ 152686 w 268424"/>
                <a:gd name="connsiteY23" fmla="*/ 108280 h 300401"/>
                <a:gd name="connsiteX24" fmla="*/ 136249 w 268424"/>
                <a:gd name="connsiteY24" fmla="*/ 75758 h 300401"/>
                <a:gd name="connsiteX25" fmla="*/ 125025 w 268424"/>
                <a:gd name="connsiteY25" fmla="*/ 53359 h 300401"/>
                <a:gd name="connsiteX26" fmla="*/ 117208 w 268424"/>
                <a:gd name="connsiteY26" fmla="*/ 39078 h 300401"/>
                <a:gd name="connsiteX27" fmla="*/ 114752 w 268424"/>
                <a:gd name="connsiteY27" fmla="*/ 34718 h 300401"/>
                <a:gd name="connsiteX28" fmla="*/ 97163 w 268424"/>
                <a:gd name="connsiteY28" fmla="*/ 45943 h 300401"/>
                <a:gd name="connsiteX29" fmla="*/ 92754 w 268424"/>
                <a:gd name="connsiteY29" fmla="*/ 43487 h 300401"/>
                <a:gd name="connsiteX30" fmla="*/ 57276 w 268424"/>
                <a:gd name="connsiteY30" fmla="*/ 5454 h 300401"/>
                <a:gd name="connsiteX31" fmla="*/ 56875 w 268424"/>
                <a:gd name="connsiteY31" fmla="*/ 4802 h 300401"/>
                <a:gd name="connsiteX32" fmla="*/ 56524 w 268424"/>
                <a:gd name="connsiteY32" fmla="*/ 4201 h 300401"/>
                <a:gd name="connsiteX33" fmla="*/ 50561 w 268424"/>
                <a:gd name="connsiteY33" fmla="*/ 192 h 300401"/>
                <a:gd name="connsiteX34" fmla="*/ 44047 w 268424"/>
                <a:gd name="connsiteY34" fmla="*/ 1445 h 300401"/>
                <a:gd name="connsiteX35" fmla="*/ 36731 w 268424"/>
                <a:gd name="connsiteY35" fmla="*/ 9212 h 300401"/>
                <a:gd name="connsiteX36" fmla="*/ 28763 w 268424"/>
                <a:gd name="connsiteY36" fmla="*/ 23694 h 300401"/>
                <a:gd name="connsiteX37" fmla="*/ 26258 w 268424"/>
                <a:gd name="connsiteY37" fmla="*/ 28504 h 300401"/>
                <a:gd name="connsiteX38" fmla="*/ 13881 w 268424"/>
                <a:gd name="connsiteY38" fmla="*/ 73704 h 300401"/>
                <a:gd name="connsiteX39" fmla="*/ 20996 w 268424"/>
                <a:gd name="connsiteY39" fmla="*/ 120306 h 300401"/>
                <a:gd name="connsiteX40" fmla="*/ 702 w 268424"/>
                <a:gd name="connsiteY40" fmla="*/ 162298 h 300401"/>
                <a:gd name="connsiteX41" fmla="*/ 301 w 268424"/>
                <a:gd name="connsiteY41" fmla="*/ 163601 h 300401"/>
                <a:gd name="connsiteX42" fmla="*/ 0 w 268424"/>
                <a:gd name="connsiteY42" fmla="*/ 164603 h 300401"/>
                <a:gd name="connsiteX43" fmla="*/ 18641 w 268424"/>
                <a:gd name="connsiteY43" fmla="*/ 181390 h 30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68424" h="300401">
                  <a:moveTo>
                    <a:pt x="18591" y="181390"/>
                  </a:moveTo>
                  <a:cubicBezTo>
                    <a:pt x="29164" y="188005"/>
                    <a:pt x="39938" y="195571"/>
                    <a:pt x="45550" y="209201"/>
                  </a:cubicBezTo>
                  <a:cubicBezTo>
                    <a:pt x="47104" y="213010"/>
                    <a:pt x="51012" y="219424"/>
                    <a:pt x="59330" y="219574"/>
                  </a:cubicBezTo>
                  <a:lnTo>
                    <a:pt x="59330" y="219574"/>
                  </a:lnTo>
                  <a:cubicBezTo>
                    <a:pt x="73411" y="219825"/>
                    <a:pt x="84486" y="227441"/>
                    <a:pt x="93105" y="242825"/>
                  </a:cubicBezTo>
                  <a:cubicBezTo>
                    <a:pt x="101273" y="257407"/>
                    <a:pt x="112397" y="264924"/>
                    <a:pt x="128182" y="266427"/>
                  </a:cubicBezTo>
                  <a:cubicBezTo>
                    <a:pt x="137502" y="267329"/>
                    <a:pt x="144417" y="271739"/>
                    <a:pt x="149278" y="279907"/>
                  </a:cubicBezTo>
                  <a:cubicBezTo>
                    <a:pt x="150731" y="282412"/>
                    <a:pt x="152184" y="284918"/>
                    <a:pt x="153788" y="287724"/>
                  </a:cubicBezTo>
                  <a:lnTo>
                    <a:pt x="155391" y="290530"/>
                  </a:lnTo>
                  <a:cubicBezTo>
                    <a:pt x="163860" y="287072"/>
                    <a:pt x="172178" y="285318"/>
                    <a:pt x="180246" y="285318"/>
                  </a:cubicBezTo>
                  <a:cubicBezTo>
                    <a:pt x="194026" y="285318"/>
                    <a:pt x="207255" y="290329"/>
                    <a:pt x="219733" y="300402"/>
                  </a:cubicBezTo>
                  <a:cubicBezTo>
                    <a:pt x="237372" y="294188"/>
                    <a:pt x="246692" y="281911"/>
                    <a:pt x="256564" y="268882"/>
                  </a:cubicBezTo>
                  <a:cubicBezTo>
                    <a:pt x="257967" y="267028"/>
                    <a:pt x="259420" y="265124"/>
                    <a:pt x="260823" y="263270"/>
                  </a:cubicBezTo>
                  <a:cubicBezTo>
                    <a:pt x="268791" y="253048"/>
                    <a:pt x="270494" y="242875"/>
                    <a:pt x="265934" y="232954"/>
                  </a:cubicBezTo>
                  <a:cubicBezTo>
                    <a:pt x="260522" y="221278"/>
                    <a:pt x="260071" y="209402"/>
                    <a:pt x="264531" y="196523"/>
                  </a:cubicBezTo>
                  <a:cubicBezTo>
                    <a:pt x="269041" y="183545"/>
                    <a:pt x="267087" y="171118"/>
                    <a:pt x="262727" y="156435"/>
                  </a:cubicBezTo>
                  <a:cubicBezTo>
                    <a:pt x="260673" y="149470"/>
                    <a:pt x="257816" y="145712"/>
                    <a:pt x="253206" y="143808"/>
                  </a:cubicBezTo>
                  <a:cubicBezTo>
                    <a:pt x="235969" y="136692"/>
                    <a:pt x="219833" y="125417"/>
                    <a:pt x="202395" y="108229"/>
                  </a:cubicBezTo>
                  <a:cubicBezTo>
                    <a:pt x="202295" y="108229"/>
                    <a:pt x="201493" y="108079"/>
                    <a:pt x="200942" y="107979"/>
                  </a:cubicBezTo>
                  <a:cubicBezTo>
                    <a:pt x="200541" y="107929"/>
                    <a:pt x="200140" y="107829"/>
                    <a:pt x="199689" y="107778"/>
                  </a:cubicBezTo>
                  <a:cubicBezTo>
                    <a:pt x="198837" y="108480"/>
                    <a:pt x="197985" y="109232"/>
                    <a:pt x="197083" y="109983"/>
                  </a:cubicBezTo>
                  <a:cubicBezTo>
                    <a:pt x="194277" y="112389"/>
                    <a:pt x="191371" y="114844"/>
                    <a:pt x="188163" y="116949"/>
                  </a:cubicBezTo>
                  <a:cubicBezTo>
                    <a:pt x="181499" y="121358"/>
                    <a:pt x="174283" y="122862"/>
                    <a:pt x="167819" y="121158"/>
                  </a:cubicBezTo>
                  <a:cubicBezTo>
                    <a:pt x="161455" y="119504"/>
                    <a:pt x="156243" y="115095"/>
                    <a:pt x="152686" y="108280"/>
                  </a:cubicBezTo>
                  <a:cubicBezTo>
                    <a:pt x="147073" y="97506"/>
                    <a:pt x="141561" y="86482"/>
                    <a:pt x="136249" y="75758"/>
                  </a:cubicBezTo>
                  <a:cubicBezTo>
                    <a:pt x="132541" y="68292"/>
                    <a:pt x="128833" y="60775"/>
                    <a:pt x="125025" y="53359"/>
                  </a:cubicBezTo>
                  <a:cubicBezTo>
                    <a:pt x="122620" y="48648"/>
                    <a:pt x="120014" y="43988"/>
                    <a:pt x="117208" y="39078"/>
                  </a:cubicBezTo>
                  <a:cubicBezTo>
                    <a:pt x="116406" y="37674"/>
                    <a:pt x="115554" y="36171"/>
                    <a:pt x="114752" y="34718"/>
                  </a:cubicBezTo>
                  <a:lnTo>
                    <a:pt x="97163" y="45943"/>
                  </a:lnTo>
                  <a:lnTo>
                    <a:pt x="92754" y="43487"/>
                  </a:lnTo>
                  <a:cubicBezTo>
                    <a:pt x="77270" y="34868"/>
                    <a:pt x="61235" y="25899"/>
                    <a:pt x="57276" y="5454"/>
                  </a:cubicBezTo>
                  <a:cubicBezTo>
                    <a:pt x="57276" y="5403"/>
                    <a:pt x="57025" y="5053"/>
                    <a:pt x="56875" y="4802"/>
                  </a:cubicBezTo>
                  <a:lnTo>
                    <a:pt x="56524" y="4201"/>
                  </a:lnTo>
                  <a:cubicBezTo>
                    <a:pt x="55372" y="2196"/>
                    <a:pt x="53117" y="693"/>
                    <a:pt x="50561" y="192"/>
                  </a:cubicBezTo>
                  <a:cubicBezTo>
                    <a:pt x="48106" y="-309"/>
                    <a:pt x="45751" y="192"/>
                    <a:pt x="44047" y="1445"/>
                  </a:cubicBezTo>
                  <a:cubicBezTo>
                    <a:pt x="40890" y="3800"/>
                    <a:pt x="38384" y="6456"/>
                    <a:pt x="36731" y="9212"/>
                  </a:cubicBezTo>
                  <a:cubicBezTo>
                    <a:pt x="33824" y="13922"/>
                    <a:pt x="31269" y="18883"/>
                    <a:pt x="28763" y="23694"/>
                  </a:cubicBezTo>
                  <a:cubicBezTo>
                    <a:pt x="27911" y="25297"/>
                    <a:pt x="27110" y="26951"/>
                    <a:pt x="26258" y="28504"/>
                  </a:cubicBezTo>
                  <a:cubicBezTo>
                    <a:pt x="32221" y="54712"/>
                    <a:pt x="31870" y="56366"/>
                    <a:pt x="13881" y="73704"/>
                  </a:cubicBezTo>
                  <a:cubicBezTo>
                    <a:pt x="19092" y="88236"/>
                    <a:pt x="20194" y="104070"/>
                    <a:pt x="20996" y="120306"/>
                  </a:cubicBezTo>
                  <a:cubicBezTo>
                    <a:pt x="21948" y="140551"/>
                    <a:pt x="15684" y="153479"/>
                    <a:pt x="702" y="162298"/>
                  </a:cubicBezTo>
                  <a:cubicBezTo>
                    <a:pt x="601" y="162599"/>
                    <a:pt x="451" y="163200"/>
                    <a:pt x="301" y="163601"/>
                  </a:cubicBezTo>
                  <a:cubicBezTo>
                    <a:pt x="200" y="163952"/>
                    <a:pt x="100" y="164253"/>
                    <a:pt x="0" y="164603"/>
                  </a:cubicBezTo>
                  <a:cubicBezTo>
                    <a:pt x="4209" y="171969"/>
                    <a:pt x="11525" y="176931"/>
                    <a:pt x="18641" y="18139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:a16="http://schemas.microsoft.com/office/drawing/2014/main" id="{164989BF-442B-4DA9-8455-32219FB33E74}"/>
                </a:ext>
              </a:extLst>
            </p:cNvPr>
            <p:cNvSpPr/>
            <p:nvPr/>
          </p:nvSpPr>
          <p:spPr>
            <a:xfrm>
              <a:off x="1605548" y="3254613"/>
              <a:ext cx="349703" cy="274192"/>
            </a:xfrm>
            <a:custGeom>
              <a:avLst/>
              <a:gdLst>
                <a:gd name="connsiteX0" fmla="*/ 41643 w 280408"/>
                <a:gd name="connsiteY0" fmla="*/ 133955 h 219860"/>
                <a:gd name="connsiteX1" fmla="*/ 41643 w 280408"/>
                <a:gd name="connsiteY1" fmla="*/ 134707 h 219860"/>
                <a:gd name="connsiteX2" fmla="*/ 41643 w 280408"/>
                <a:gd name="connsiteY2" fmla="*/ 141121 h 219860"/>
                <a:gd name="connsiteX3" fmla="*/ 41743 w 280408"/>
                <a:gd name="connsiteY3" fmla="*/ 157257 h 219860"/>
                <a:gd name="connsiteX4" fmla="*/ 52016 w 280408"/>
                <a:gd name="connsiteY4" fmla="*/ 170486 h 219860"/>
                <a:gd name="connsiteX5" fmla="*/ 65295 w 280408"/>
                <a:gd name="connsiteY5" fmla="*/ 172941 h 219860"/>
                <a:gd name="connsiteX6" fmla="*/ 67650 w 280408"/>
                <a:gd name="connsiteY6" fmla="*/ 173242 h 219860"/>
                <a:gd name="connsiteX7" fmla="*/ 80579 w 280408"/>
                <a:gd name="connsiteY7" fmla="*/ 174494 h 219860"/>
                <a:gd name="connsiteX8" fmla="*/ 86241 w 280408"/>
                <a:gd name="connsiteY8" fmla="*/ 174995 h 219860"/>
                <a:gd name="connsiteX9" fmla="*/ 88897 w 280408"/>
                <a:gd name="connsiteY9" fmla="*/ 178453 h 219860"/>
                <a:gd name="connsiteX10" fmla="*/ 92204 w 280408"/>
                <a:gd name="connsiteY10" fmla="*/ 182963 h 219860"/>
                <a:gd name="connsiteX11" fmla="*/ 130739 w 280408"/>
                <a:gd name="connsiteY11" fmla="*/ 193286 h 219860"/>
                <a:gd name="connsiteX12" fmla="*/ 131891 w 280408"/>
                <a:gd name="connsiteY12" fmla="*/ 192735 h 219860"/>
                <a:gd name="connsiteX13" fmla="*/ 139057 w 280408"/>
                <a:gd name="connsiteY13" fmla="*/ 196242 h 219860"/>
                <a:gd name="connsiteX14" fmla="*/ 163962 w 280408"/>
                <a:gd name="connsiteY14" fmla="*/ 208469 h 219860"/>
                <a:gd name="connsiteX15" fmla="*/ 169624 w 280408"/>
                <a:gd name="connsiteY15" fmla="*/ 211325 h 219860"/>
                <a:gd name="connsiteX16" fmla="*/ 182903 w 280408"/>
                <a:gd name="connsiteY16" fmla="*/ 217639 h 219860"/>
                <a:gd name="connsiteX17" fmla="*/ 198187 w 280408"/>
                <a:gd name="connsiteY17" fmla="*/ 218692 h 219860"/>
                <a:gd name="connsiteX18" fmla="*/ 207107 w 280408"/>
                <a:gd name="connsiteY18" fmla="*/ 204861 h 219860"/>
                <a:gd name="connsiteX19" fmla="*/ 211166 w 280408"/>
                <a:gd name="connsiteY19" fmla="*/ 192584 h 219860"/>
                <a:gd name="connsiteX20" fmla="*/ 213220 w 280408"/>
                <a:gd name="connsiteY20" fmla="*/ 186721 h 219860"/>
                <a:gd name="connsiteX21" fmla="*/ 213771 w 280408"/>
                <a:gd name="connsiteY21" fmla="*/ 185068 h 219860"/>
                <a:gd name="connsiteX22" fmla="*/ 215475 w 280408"/>
                <a:gd name="connsiteY22" fmla="*/ 184917 h 219860"/>
                <a:gd name="connsiteX23" fmla="*/ 225948 w 280408"/>
                <a:gd name="connsiteY23" fmla="*/ 184266 h 219860"/>
                <a:gd name="connsiteX24" fmla="*/ 246092 w 280408"/>
                <a:gd name="connsiteY24" fmla="*/ 181560 h 219860"/>
                <a:gd name="connsiteX25" fmla="*/ 263531 w 280408"/>
                <a:gd name="connsiteY25" fmla="*/ 171388 h 219860"/>
                <a:gd name="connsiteX26" fmla="*/ 270045 w 280408"/>
                <a:gd name="connsiteY26" fmla="*/ 166878 h 219860"/>
                <a:gd name="connsiteX27" fmla="*/ 272400 w 280408"/>
                <a:gd name="connsiteY27" fmla="*/ 151794 h 219860"/>
                <a:gd name="connsiteX28" fmla="*/ 279766 w 280408"/>
                <a:gd name="connsiteY28" fmla="*/ 127591 h 219860"/>
                <a:gd name="connsiteX29" fmla="*/ 280267 w 280408"/>
                <a:gd name="connsiteY29" fmla="*/ 124435 h 219860"/>
                <a:gd name="connsiteX30" fmla="*/ 275056 w 280408"/>
                <a:gd name="connsiteY30" fmla="*/ 118020 h 219860"/>
                <a:gd name="connsiteX31" fmla="*/ 261276 w 280408"/>
                <a:gd name="connsiteY31" fmla="*/ 112709 h 219860"/>
                <a:gd name="connsiteX32" fmla="*/ 253709 w 280408"/>
                <a:gd name="connsiteY32" fmla="*/ 110003 h 219860"/>
                <a:gd name="connsiteX33" fmla="*/ 251404 w 280408"/>
                <a:gd name="connsiteY33" fmla="*/ 109151 h 219860"/>
                <a:gd name="connsiteX34" fmla="*/ 252055 w 280408"/>
                <a:gd name="connsiteY34" fmla="*/ 106746 h 219860"/>
                <a:gd name="connsiteX35" fmla="*/ 253158 w 280408"/>
                <a:gd name="connsiteY35" fmla="*/ 101634 h 219860"/>
                <a:gd name="connsiteX36" fmla="*/ 256565 w 280408"/>
                <a:gd name="connsiteY36" fmla="*/ 92765 h 219860"/>
                <a:gd name="connsiteX37" fmla="*/ 255212 w 280408"/>
                <a:gd name="connsiteY37" fmla="*/ 71568 h 219860"/>
                <a:gd name="connsiteX38" fmla="*/ 231460 w 280408"/>
                <a:gd name="connsiteY38" fmla="*/ 41252 h 219860"/>
                <a:gd name="connsiteX39" fmla="*/ 207157 w 280408"/>
                <a:gd name="connsiteY39" fmla="*/ 10234 h 219860"/>
                <a:gd name="connsiteX40" fmla="*/ 199991 w 280408"/>
                <a:gd name="connsiteY40" fmla="*/ 3669 h 219860"/>
                <a:gd name="connsiteX41" fmla="*/ 172781 w 280408"/>
                <a:gd name="connsiteY41" fmla="*/ 11 h 219860"/>
                <a:gd name="connsiteX42" fmla="*/ 147025 w 280408"/>
                <a:gd name="connsiteY42" fmla="*/ 1013 h 219860"/>
                <a:gd name="connsiteX43" fmla="*/ 128283 w 280408"/>
                <a:gd name="connsiteY43" fmla="*/ 1965 h 219860"/>
                <a:gd name="connsiteX44" fmla="*/ 101775 w 280408"/>
                <a:gd name="connsiteY44" fmla="*/ 6826 h 219860"/>
                <a:gd name="connsiteX45" fmla="*/ 81881 w 280408"/>
                <a:gd name="connsiteY45" fmla="*/ 9482 h 219860"/>
                <a:gd name="connsiteX46" fmla="*/ 63992 w 280408"/>
                <a:gd name="connsiteY46" fmla="*/ 11887 h 219860"/>
                <a:gd name="connsiteX47" fmla="*/ 43848 w 280408"/>
                <a:gd name="connsiteY47" fmla="*/ 20155 h 219860"/>
                <a:gd name="connsiteX48" fmla="*/ 30919 w 280408"/>
                <a:gd name="connsiteY48" fmla="*/ 29676 h 219860"/>
                <a:gd name="connsiteX49" fmla="*/ 16939 w 280408"/>
                <a:gd name="connsiteY49" fmla="*/ 52476 h 219860"/>
                <a:gd name="connsiteX50" fmla="*/ 9873 w 280408"/>
                <a:gd name="connsiteY50" fmla="*/ 63901 h 219860"/>
                <a:gd name="connsiteX51" fmla="*/ 2106 w 280408"/>
                <a:gd name="connsiteY51" fmla="*/ 114112 h 219860"/>
                <a:gd name="connsiteX52" fmla="*/ 2457 w 280408"/>
                <a:gd name="connsiteY52" fmla="*/ 114412 h 219860"/>
                <a:gd name="connsiteX53" fmla="*/ 3108 w 280408"/>
                <a:gd name="connsiteY53" fmla="*/ 115164 h 219860"/>
                <a:gd name="connsiteX54" fmla="*/ 7819 w 280408"/>
                <a:gd name="connsiteY54" fmla="*/ 116367 h 219860"/>
                <a:gd name="connsiteX55" fmla="*/ 21799 w 280408"/>
                <a:gd name="connsiteY55" fmla="*/ 120376 h 219860"/>
                <a:gd name="connsiteX56" fmla="*/ 23954 w 280408"/>
                <a:gd name="connsiteY56" fmla="*/ 121127 h 219860"/>
                <a:gd name="connsiteX57" fmla="*/ 41392 w 280408"/>
                <a:gd name="connsiteY57" fmla="*/ 133304 h 219860"/>
                <a:gd name="connsiteX58" fmla="*/ 41793 w 280408"/>
                <a:gd name="connsiteY58" fmla="*/ 133955 h 219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80408" h="219860">
                  <a:moveTo>
                    <a:pt x="41643" y="133955"/>
                  </a:moveTo>
                  <a:lnTo>
                    <a:pt x="41643" y="134707"/>
                  </a:lnTo>
                  <a:cubicBezTo>
                    <a:pt x="41643" y="136761"/>
                    <a:pt x="41643" y="138916"/>
                    <a:pt x="41643" y="141121"/>
                  </a:cubicBezTo>
                  <a:cubicBezTo>
                    <a:pt x="41643" y="146383"/>
                    <a:pt x="41543" y="151794"/>
                    <a:pt x="41743" y="157257"/>
                  </a:cubicBezTo>
                  <a:cubicBezTo>
                    <a:pt x="41994" y="163871"/>
                    <a:pt x="45552" y="168431"/>
                    <a:pt x="52016" y="170486"/>
                  </a:cubicBezTo>
                  <a:cubicBezTo>
                    <a:pt x="56175" y="171838"/>
                    <a:pt x="60835" y="172390"/>
                    <a:pt x="65295" y="172941"/>
                  </a:cubicBezTo>
                  <a:lnTo>
                    <a:pt x="67650" y="173242"/>
                  </a:lnTo>
                  <a:cubicBezTo>
                    <a:pt x="72060" y="173793"/>
                    <a:pt x="76470" y="174194"/>
                    <a:pt x="80579" y="174494"/>
                  </a:cubicBezTo>
                  <a:lnTo>
                    <a:pt x="86241" y="174995"/>
                  </a:lnTo>
                  <a:lnTo>
                    <a:pt x="88897" y="178453"/>
                  </a:lnTo>
                  <a:cubicBezTo>
                    <a:pt x="90250" y="180207"/>
                    <a:pt x="91302" y="181560"/>
                    <a:pt x="92204" y="182963"/>
                  </a:cubicBezTo>
                  <a:cubicBezTo>
                    <a:pt x="105584" y="204611"/>
                    <a:pt x="105834" y="205012"/>
                    <a:pt x="130739" y="193286"/>
                  </a:cubicBezTo>
                  <a:lnTo>
                    <a:pt x="131891" y="192735"/>
                  </a:lnTo>
                  <a:lnTo>
                    <a:pt x="139057" y="196242"/>
                  </a:lnTo>
                  <a:cubicBezTo>
                    <a:pt x="147125" y="200201"/>
                    <a:pt x="155543" y="204360"/>
                    <a:pt x="163962" y="208469"/>
                  </a:cubicBezTo>
                  <a:cubicBezTo>
                    <a:pt x="165866" y="209421"/>
                    <a:pt x="167720" y="210373"/>
                    <a:pt x="169624" y="211325"/>
                  </a:cubicBezTo>
                  <a:cubicBezTo>
                    <a:pt x="173934" y="213530"/>
                    <a:pt x="178394" y="215835"/>
                    <a:pt x="182903" y="217639"/>
                  </a:cubicBezTo>
                  <a:cubicBezTo>
                    <a:pt x="189368" y="220195"/>
                    <a:pt x="194379" y="220546"/>
                    <a:pt x="198187" y="218692"/>
                  </a:cubicBezTo>
                  <a:cubicBezTo>
                    <a:pt x="202146" y="216737"/>
                    <a:pt x="205102" y="212177"/>
                    <a:pt x="207107" y="204861"/>
                  </a:cubicBezTo>
                  <a:cubicBezTo>
                    <a:pt x="208259" y="200752"/>
                    <a:pt x="209662" y="196794"/>
                    <a:pt x="211166" y="192584"/>
                  </a:cubicBezTo>
                  <a:cubicBezTo>
                    <a:pt x="211867" y="190680"/>
                    <a:pt x="212569" y="188726"/>
                    <a:pt x="213220" y="186721"/>
                  </a:cubicBezTo>
                  <a:lnTo>
                    <a:pt x="213771" y="185068"/>
                  </a:lnTo>
                  <a:lnTo>
                    <a:pt x="215475" y="184917"/>
                  </a:lnTo>
                  <a:cubicBezTo>
                    <a:pt x="219033" y="184567"/>
                    <a:pt x="222540" y="184416"/>
                    <a:pt x="225948" y="184266"/>
                  </a:cubicBezTo>
                  <a:cubicBezTo>
                    <a:pt x="233214" y="183915"/>
                    <a:pt x="240029" y="183615"/>
                    <a:pt x="246092" y="181560"/>
                  </a:cubicBezTo>
                  <a:cubicBezTo>
                    <a:pt x="252256" y="179455"/>
                    <a:pt x="257968" y="175346"/>
                    <a:pt x="263531" y="171388"/>
                  </a:cubicBezTo>
                  <a:cubicBezTo>
                    <a:pt x="265736" y="169834"/>
                    <a:pt x="267890" y="168281"/>
                    <a:pt x="270045" y="166878"/>
                  </a:cubicBezTo>
                  <a:cubicBezTo>
                    <a:pt x="271749" y="162067"/>
                    <a:pt x="272049" y="157056"/>
                    <a:pt x="272400" y="151794"/>
                  </a:cubicBezTo>
                  <a:cubicBezTo>
                    <a:pt x="272951" y="143577"/>
                    <a:pt x="273452" y="135058"/>
                    <a:pt x="279766" y="127591"/>
                  </a:cubicBezTo>
                  <a:cubicBezTo>
                    <a:pt x="280568" y="126639"/>
                    <a:pt x="280468" y="125336"/>
                    <a:pt x="280267" y="124435"/>
                  </a:cubicBezTo>
                  <a:cubicBezTo>
                    <a:pt x="279666" y="121829"/>
                    <a:pt x="277511" y="119123"/>
                    <a:pt x="275056" y="118020"/>
                  </a:cubicBezTo>
                  <a:cubicBezTo>
                    <a:pt x="270847" y="116116"/>
                    <a:pt x="266387" y="114563"/>
                    <a:pt x="261276" y="112709"/>
                  </a:cubicBezTo>
                  <a:cubicBezTo>
                    <a:pt x="258920" y="111857"/>
                    <a:pt x="256365" y="111005"/>
                    <a:pt x="253709" y="110003"/>
                  </a:cubicBezTo>
                  <a:lnTo>
                    <a:pt x="251404" y="109151"/>
                  </a:lnTo>
                  <a:lnTo>
                    <a:pt x="252055" y="106746"/>
                  </a:lnTo>
                  <a:cubicBezTo>
                    <a:pt x="252557" y="104942"/>
                    <a:pt x="252857" y="103238"/>
                    <a:pt x="253158" y="101634"/>
                  </a:cubicBezTo>
                  <a:cubicBezTo>
                    <a:pt x="253809" y="98026"/>
                    <a:pt x="254411" y="94970"/>
                    <a:pt x="256565" y="92765"/>
                  </a:cubicBezTo>
                  <a:cubicBezTo>
                    <a:pt x="263881" y="85499"/>
                    <a:pt x="261827" y="79937"/>
                    <a:pt x="255212" y="71568"/>
                  </a:cubicBezTo>
                  <a:cubicBezTo>
                    <a:pt x="247245" y="61496"/>
                    <a:pt x="239378" y="51374"/>
                    <a:pt x="231460" y="41252"/>
                  </a:cubicBezTo>
                  <a:cubicBezTo>
                    <a:pt x="223392" y="30879"/>
                    <a:pt x="215325" y="20506"/>
                    <a:pt x="207157" y="10234"/>
                  </a:cubicBezTo>
                  <a:cubicBezTo>
                    <a:pt x="205253" y="7828"/>
                    <a:pt x="202396" y="4220"/>
                    <a:pt x="199991" y="3669"/>
                  </a:cubicBezTo>
                  <a:cubicBezTo>
                    <a:pt x="189318" y="1214"/>
                    <a:pt x="180699" y="61"/>
                    <a:pt x="172781" y="11"/>
                  </a:cubicBezTo>
                  <a:cubicBezTo>
                    <a:pt x="164313" y="-89"/>
                    <a:pt x="155493" y="512"/>
                    <a:pt x="147025" y="1013"/>
                  </a:cubicBezTo>
                  <a:cubicBezTo>
                    <a:pt x="140761" y="1414"/>
                    <a:pt x="134497" y="1765"/>
                    <a:pt x="128283" y="1965"/>
                  </a:cubicBezTo>
                  <a:cubicBezTo>
                    <a:pt x="118261" y="2216"/>
                    <a:pt x="109943" y="3168"/>
                    <a:pt x="101775" y="6826"/>
                  </a:cubicBezTo>
                  <a:cubicBezTo>
                    <a:pt x="99019" y="8079"/>
                    <a:pt x="89348" y="11937"/>
                    <a:pt x="81881" y="9482"/>
                  </a:cubicBezTo>
                  <a:cubicBezTo>
                    <a:pt x="74966" y="7227"/>
                    <a:pt x="70106" y="8630"/>
                    <a:pt x="63992" y="11887"/>
                  </a:cubicBezTo>
                  <a:cubicBezTo>
                    <a:pt x="58129" y="14994"/>
                    <a:pt x="51164" y="18351"/>
                    <a:pt x="43848" y="20155"/>
                  </a:cubicBezTo>
                  <a:cubicBezTo>
                    <a:pt x="37935" y="21608"/>
                    <a:pt x="34026" y="24465"/>
                    <a:pt x="30919" y="29676"/>
                  </a:cubicBezTo>
                  <a:cubicBezTo>
                    <a:pt x="26309" y="37293"/>
                    <a:pt x="21649" y="44910"/>
                    <a:pt x="16939" y="52476"/>
                  </a:cubicBezTo>
                  <a:lnTo>
                    <a:pt x="9873" y="63901"/>
                  </a:lnTo>
                  <a:cubicBezTo>
                    <a:pt x="252" y="79571"/>
                    <a:pt x="-2339" y="96308"/>
                    <a:pt x="2106" y="114112"/>
                  </a:cubicBezTo>
                  <a:cubicBezTo>
                    <a:pt x="2106" y="114112"/>
                    <a:pt x="2257" y="114162"/>
                    <a:pt x="2457" y="114412"/>
                  </a:cubicBezTo>
                  <a:cubicBezTo>
                    <a:pt x="2657" y="114613"/>
                    <a:pt x="2858" y="114863"/>
                    <a:pt x="3108" y="115164"/>
                  </a:cubicBezTo>
                  <a:cubicBezTo>
                    <a:pt x="4612" y="115565"/>
                    <a:pt x="6215" y="115966"/>
                    <a:pt x="7819" y="116367"/>
                  </a:cubicBezTo>
                  <a:cubicBezTo>
                    <a:pt x="12379" y="117519"/>
                    <a:pt x="17089" y="118672"/>
                    <a:pt x="21799" y="120376"/>
                  </a:cubicBezTo>
                  <a:lnTo>
                    <a:pt x="23954" y="121127"/>
                  </a:lnTo>
                  <a:cubicBezTo>
                    <a:pt x="30018" y="123282"/>
                    <a:pt x="36833" y="125737"/>
                    <a:pt x="41392" y="133304"/>
                  </a:cubicBezTo>
                  <a:lnTo>
                    <a:pt x="41793" y="133955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58" name="Полилиния: фигура 57">
              <a:extLst>
                <a:ext uri="{FF2B5EF4-FFF2-40B4-BE49-F238E27FC236}">
                  <a16:creationId xmlns:a16="http://schemas.microsoft.com/office/drawing/2014/main" id="{B84E3A02-F2F6-460D-80AC-5ADD5D1A4DB3}"/>
                </a:ext>
              </a:extLst>
            </p:cNvPr>
            <p:cNvSpPr/>
            <p:nvPr/>
          </p:nvSpPr>
          <p:spPr>
            <a:xfrm>
              <a:off x="1893018" y="2755716"/>
              <a:ext cx="339715" cy="279933"/>
            </a:xfrm>
            <a:custGeom>
              <a:avLst/>
              <a:gdLst>
                <a:gd name="connsiteX0" fmla="*/ 3158 w 272399"/>
                <a:gd name="connsiteY0" fmla="*/ 179766 h 224463"/>
                <a:gd name="connsiteX1" fmla="*/ 8119 w 272399"/>
                <a:gd name="connsiteY1" fmla="*/ 211435 h 224463"/>
                <a:gd name="connsiteX2" fmla="*/ 22150 w 272399"/>
                <a:gd name="connsiteY2" fmla="*/ 224464 h 224463"/>
                <a:gd name="connsiteX3" fmla="*/ 24555 w 272399"/>
                <a:gd name="connsiteY3" fmla="*/ 224414 h 224463"/>
                <a:gd name="connsiteX4" fmla="*/ 28614 w 272399"/>
                <a:gd name="connsiteY4" fmla="*/ 224013 h 224463"/>
                <a:gd name="connsiteX5" fmla="*/ 52968 w 272399"/>
                <a:gd name="connsiteY5" fmla="*/ 216145 h 224463"/>
                <a:gd name="connsiteX6" fmla="*/ 75818 w 272399"/>
                <a:gd name="connsiteY6" fmla="*/ 208779 h 224463"/>
                <a:gd name="connsiteX7" fmla="*/ 90700 w 272399"/>
                <a:gd name="connsiteY7" fmla="*/ 203768 h 224463"/>
                <a:gd name="connsiteX8" fmla="*/ 121568 w 272399"/>
                <a:gd name="connsiteY8" fmla="*/ 205322 h 224463"/>
                <a:gd name="connsiteX9" fmla="*/ 133495 w 272399"/>
                <a:gd name="connsiteY9" fmla="*/ 210483 h 224463"/>
                <a:gd name="connsiteX10" fmla="*/ 167620 w 272399"/>
                <a:gd name="connsiteY10" fmla="*/ 206073 h 224463"/>
                <a:gd name="connsiteX11" fmla="*/ 244689 w 272399"/>
                <a:gd name="connsiteY11" fmla="*/ 163981 h 224463"/>
                <a:gd name="connsiteX12" fmla="*/ 258970 w 272399"/>
                <a:gd name="connsiteY12" fmla="*/ 157466 h 224463"/>
                <a:gd name="connsiteX13" fmla="*/ 264182 w 272399"/>
                <a:gd name="connsiteY13" fmla="*/ 154911 h 224463"/>
                <a:gd name="connsiteX14" fmla="*/ 272400 w 272399"/>
                <a:gd name="connsiteY14" fmla="*/ 131860 h 224463"/>
                <a:gd name="connsiteX15" fmla="*/ 267489 w 272399"/>
                <a:gd name="connsiteY15" fmla="*/ 125496 h 224463"/>
                <a:gd name="connsiteX16" fmla="*/ 256866 w 272399"/>
                <a:gd name="connsiteY16" fmla="*/ 111816 h 224463"/>
                <a:gd name="connsiteX17" fmla="*/ 251253 w 272399"/>
                <a:gd name="connsiteY17" fmla="*/ 104751 h 224463"/>
                <a:gd name="connsiteX18" fmla="*/ 237623 w 272399"/>
                <a:gd name="connsiteY18" fmla="*/ 71427 h 224463"/>
                <a:gd name="connsiteX19" fmla="*/ 237623 w 272399"/>
                <a:gd name="connsiteY19" fmla="*/ 59401 h 224463"/>
                <a:gd name="connsiteX20" fmla="*/ 237623 w 272399"/>
                <a:gd name="connsiteY20" fmla="*/ 57397 h 224463"/>
                <a:gd name="connsiteX21" fmla="*/ 237623 w 272399"/>
                <a:gd name="connsiteY21" fmla="*/ 52085 h 224463"/>
                <a:gd name="connsiteX22" fmla="*/ 229606 w 272399"/>
                <a:gd name="connsiteY22" fmla="*/ 33444 h 224463"/>
                <a:gd name="connsiteX23" fmla="*/ 223442 w 272399"/>
                <a:gd name="connsiteY23" fmla="*/ 27781 h 224463"/>
                <a:gd name="connsiteX24" fmla="*/ 215725 w 272399"/>
                <a:gd name="connsiteY24" fmla="*/ 20766 h 224463"/>
                <a:gd name="connsiteX25" fmla="*/ 213921 w 272399"/>
                <a:gd name="connsiteY25" fmla="*/ 20265 h 224463"/>
                <a:gd name="connsiteX26" fmla="*/ 212368 w 272399"/>
                <a:gd name="connsiteY26" fmla="*/ 19914 h 224463"/>
                <a:gd name="connsiteX27" fmla="*/ 197034 w 272399"/>
                <a:gd name="connsiteY27" fmla="*/ 27080 h 224463"/>
                <a:gd name="connsiteX28" fmla="*/ 194228 w 272399"/>
                <a:gd name="connsiteY28" fmla="*/ 25276 h 224463"/>
                <a:gd name="connsiteX29" fmla="*/ 176188 w 272399"/>
                <a:gd name="connsiteY29" fmla="*/ 13801 h 224463"/>
                <a:gd name="connsiteX30" fmla="*/ 175487 w 272399"/>
                <a:gd name="connsiteY30" fmla="*/ 13350 h 224463"/>
                <a:gd name="connsiteX31" fmla="*/ 168171 w 272399"/>
                <a:gd name="connsiteY31" fmla="*/ 12297 h 224463"/>
                <a:gd name="connsiteX32" fmla="*/ 168171 w 272399"/>
                <a:gd name="connsiteY32" fmla="*/ 15054 h 224463"/>
                <a:gd name="connsiteX33" fmla="*/ 168171 w 272399"/>
                <a:gd name="connsiteY33" fmla="*/ 30688 h 224463"/>
                <a:gd name="connsiteX34" fmla="*/ 156946 w 272399"/>
                <a:gd name="connsiteY34" fmla="*/ 67669 h 224463"/>
                <a:gd name="connsiteX35" fmla="*/ 152587 w 272399"/>
                <a:gd name="connsiteY35" fmla="*/ 69924 h 224463"/>
                <a:gd name="connsiteX36" fmla="*/ 150833 w 272399"/>
                <a:gd name="connsiteY36" fmla="*/ 70325 h 224463"/>
                <a:gd name="connsiteX37" fmla="*/ 148878 w 272399"/>
                <a:gd name="connsiteY37" fmla="*/ 70926 h 224463"/>
                <a:gd name="connsiteX38" fmla="*/ 140660 w 272399"/>
                <a:gd name="connsiteY38" fmla="*/ 58349 h 224463"/>
                <a:gd name="connsiteX39" fmla="*/ 110594 w 272399"/>
                <a:gd name="connsiteY39" fmla="*/ 64412 h 224463"/>
                <a:gd name="connsiteX40" fmla="*/ 113901 w 272399"/>
                <a:gd name="connsiteY40" fmla="*/ 59100 h 224463"/>
                <a:gd name="connsiteX41" fmla="*/ 119915 w 272399"/>
                <a:gd name="connsiteY41" fmla="*/ 52486 h 224463"/>
                <a:gd name="connsiteX42" fmla="*/ 124074 w 272399"/>
                <a:gd name="connsiteY42" fmla="*/ 45070 h 224463"/>
                <a:gd name="connsiteX43" fmla="*/ 123773 w 272399"/>
                <a:gd name="connsiteY43" fmla="*/ 42764 h 224463"/>
                <a:gd name="connsiteX44" fmla="*/ 116207 w 272399"/>
                <a:gd name="connsiteY44" fmla="*/ 1424 h 224463"/>
                <a:gd name="connsiteX45" fmla="*/ 93507 w 272399"/>
                <a:gd name="connsiteY45" fmla="*/ 2877 h 224463"/>
                <a:gd name="connsiteX46" fmla="*/ 91552 w 272399"/>
                <a:gd name="connsiteY46" fmla="*/ 21869 h 224463"/>
                <a:gd name="connsiteX47" fmla="*/ 58079 w 272399"/>
                <a:gd name="connsiteY47" fmla="*/ 41111 h 224463"/>
                <a:gd name="connsiteX48" fmla="*/ 52918 w 272399"/>
                <a:gd name="connsiteY48" fmla="*/ 57397 h 224463"/>
                <a:gd name="connsiteX49" fmla="*/ 47004 w 272399"/>
                <a:gd name="connsiteY49" fmla="*/ 81900 h 224463"/>
                <a:gd name="connsiteX50" fmla="*/ 55473 w 272399"/>
                <a:gd name="connsiteY50" fmla="*/ 124043 h 224463"/>
                <a:gd name="connsiteX51" fmla="*/ 56275 w 272399"/>
                <a:gd name="connsiteY51" fmla="*/ 125997 h 224463"/>
                <a:gd name="connsiteX52" fmla="*/ 54521 w 272399"/>
                <a:gd name="connsiteY52" fmla="*/ 127250 h 224463"/>
                <a:gd name="connsiteX53" fmla="*/ 48207 w 272399"/>
                <a:gd name="connsiteY53" fmla="*/ 131860 h 224463"/>
                <a:gd name="connsiteX54" fmla="*/ 35830 w 272399"/>
                <a:gd name="connsiteY54" fmla="*/ 140379 h 224463"/>
                <a:gd name="connsiteX55" fmla="*/ 3208 w 272399"/>
                <a:gd name="connsiteY55" fmla="*/ 179866 h 224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72399" h="224463">
                  <a:moveTo>
                    <a:pt x="3158" y="179766"/>
                  </a:moveTo>
                  <a:cubicBezTo>
                    <a:pt x="-2304" y="193245"/>
                    <a:pt x="-700" y="203317"/>
                    <a:pt x="8119" y="211435"/>
                  </a:cubicBezTo>
                  <a:lnTo>
                    <a:pt x="22150" y="224464"/>
                  </a:lnTo>
                  <a:cubicBezTo>
                    <a:pt x="23002" y="224464"/>
                    <a:pt x="23804" y="224414"/>
                    <a:pt x="24555" y="224414"/>
                  </a:cubicBezTo>
                  <a:cubicBezTo>
                    <a:pt x="26259" y="224414"/>
                    <a:pt x="27612" y="224363"/>
                    <a:pt x="28614" y="224013"/>
                  </a:cubicBezTo>
                  <a:cubicBezTo>
                    <a:pt x="36732" y="221457"/>
                    <a:pt x="44850" y="218801"/>
                    <a:pt x="52968" y="216145"/>
                  </a:cubicBezTo>
                  <a:cubicBezTo>
                    <a:pt x="60584" y="213690"/>
                    <a:pt x="68151" y="211184"/>
                    <a:pt x="75818" y="208779"/>
                  </a:cubicBezTo>
                  <a:cubicBezTo>
                    <a:pt x="82132" y="206775"/>
                    <a:pt x="86942" y="205071"/>
                    <a:pt x="90700" y="203768"/>
                  </a:cubicBezTo>
                  <a:cubicBezTo>
                    <a:pt x="105633" y="198507"/>
                    <a:pt x="106235" y="198507"/>
                    <a:pt x="121568" y="205322"/>
                  </a:cubicBezTo>
                  <a:cubicBezTo>
                    <a:pt x="124725" y="206725"/>
                    <a:pt x="128634" y="208428"/>
                    <a:pt x="133495" y="210483"/>
                  </a:cubicBezTo>
                  <a:cubicBezTo>
                    <a:pt x="146724" y="215995"/>
                    <a:pt x="156295" y="214792"/>
                    <a:pt x="167620" y="206073"/>
                  </a:cubicBezTo>
                  <a:cubicBezTo>
                    <a:pt x="189718" y="189086"/>
                    <a:pt x="214923" y="175306"/>
                    <a:pt x="244689" y="163981"/>
                  </a:cubicBezTo>
                  <a:cubicBezTo>
                    <a:pt x="249600" y="162127"/>
                    <a:pt x="254360" y="159721"/>
                    <a:pt x="258970" y="157466"/>
                  </a:cubicBezTo>
                  <a:cubicBezTo>
                    <a:pt x="260724" y="156565"/>
                    <a:pt x="262478" y="155713"/>
                    <a:pt x="264182" y="154911"/>
                  </a:cubicBezTo>
                  <a:cubicBezTo>
                    <a:pt x="267088" y="146693"/>
                    <a:pt x="269744" y="139377"/>
                    <a:pt x="272400" y="131860"/>
                  </a:cubicBezTo>
                  <a:lnTo>
                    <a:pt x="267489" y="125496"/>
                  </a:lnTo>
                  <a:cubicBezTo>
                    <a:pt x="263831" y="120786"/>
                    <a:pt x="260373" y="116326"/>
                    <a:pt x="256866" y="111816"/>
                  </a:cubicBezTo>
                  <a:cubicBezTo>
                    <a:pt x="254761" y="109160"/>
                    <a:pt x="252907" y="106805"/>
                    <a:pt x="251253" y="104751"/>
                  </a:cubicBezTo>
                  <a:cubicBezTo>
                    <a:pt x="237774" y="87813"/>
                    <a:pt x="237523" y="87212"/>
                    <a:pt x="237623" y="71427"/>
                  </a:cubicBezTo>
                  <a:cubicBezTo>
                    <a:pt x="237623" y="68220"/>
                    <a:pt x="237674" y="64312"/>
                    <a:pt x="237623" y="59401"/>
                  </a:cubicBezTo>
                  <a:lnTo>
                    <a:pt x="237623" y="57397"/>
                  </a:lnTo>
                  <a:cubicBezTo>
                    <a:pt x="237523" y="55643"/>
                    <a:pt x="237473" y="53839"/>
                    <a:pt x="237623" y="52085"/>
                  </a:cubicBezTo>
                  <a:cubicBezTo>
                    <a:pt x="238124" y="44769"/>
                    <a:pt x="235519" y="38655"/>
                    <a:pt x="229606" y="33444"/>
                  </a:cubicBezTo>
                  <a:cubicBezTo>
                    <a:pt x="227501" y="31590"/>
                    <a:pt x="225497" y="29686"/>
                    <a:pt x="223442" y="27781"/>
                  </a:cubicBezTo>
                  <a:cubicBezTo>
                    <a:pt x="220887" y="25426"/>
                    <a:pt x="218381" y="23021"/>
                    <a:pt x="215725" y="20766"/>
                  </a:cubicBezTo>
                  <a:cubicBezTo>
                    <a:pt x="215525" y="20616"/>
                    <a:pt x="214573" y="20415"/>
                    <a:pt x="213921" y="20265"/>
                  </a:cubicBezTo>
                  <a:cubicBezTo>
                    <a:pt x="213420" y="20165"/>
                    <a:pt x="212919" y="20065"/>
                    <a:pt x="212368" y="19914"/>
                  </a:cubicBezTo>
                  <a:lnTo>
                    <a:pt x="197034" y="27080"/>
                  </a:lnTo>
                  <a:lnTo>
                    <a:pt x="194228" y="25276"/>
                  </a:lnTo>
                  <a:cubicBezTo>
                    <a:pt x="188265" y="21518"/>
                    <a:pt x="182202" y="17709"/>
                    <a:pt x="176188" y="13801"/>
                  </a:cubicBezTo>
                  <a:lnTo>
                    <a:pt x="175487" y="13350"/>
                  </a:lnTo>
                  <a:cubicBezTo>
                    <a:pt x="172831" y="11596"/>
                    <a:pt x="171227" y="10544"/>
                    <a:pt x="168171" y="12297"/>
                  </a:cubicBezTo>
                  <a:lnTo>
                    <a:pt x="168171" y="15054"/>
                  </a:lnTo>
                  <a:cubicBezTo>
                    <a:pt x="168171" y="19914"/>
                    <a:pt x="168171" y="25326"/>
                    <a:pt x="168171" y="30688"/>
                  </a:cubicBezTo>
                  <a:cubicBezTo>
                    <a:pt x="168171" y="43666"/>
                    <a:pt x="164413" y="56094"/>
                    <a:pt x="156946" y="67669"/>
                  </a:cubicBezTo>
                  <a:cubicBezTo>
                    <a:pt x="155944" y="69223"/>
                    <a:pt x="154140" y="69573"/>
                    <a:pt x="152587" y="69924"/>
                  </a:cubicBezTo>
                  <a:cubicBezTo>
                    <a:pt x="152035" y="70024"/>
                    <a:pt x="151434" y="70125"/>
                    <a:pt x="150833" y="70325"/>
                  </a:cubicBezTo>
                  <a:lnTo>
                    <a:pt x="148878" y="70926"/>
                  </a:lnTo>
                  <a:lnTo>
                    <a:pt x="140660" y="58349"/>
                  </a:lnTo>
                  <a:lnTo>
                    <a:pt x="110594" y="64412"/>
                  </a:lnTo>
                  <a:lnTo>
                    <a:pt x="113901" y="59100"/>
                  </a:lnTo>
                  <a:cubicBezTo>
                    <a:pt x="115706" y="56194"/>
                    <a:pt x="117960" y="54240"/>
                    <a:pt x="119915" y="52486"/>
                  </a:cubicBezTo>
                  <a:cubicBezTo>
                    <a:pt x="123122" y="49680"/>
                    <a:pt x="124525" y="48277"/>
                    <a:pt x="124074" y="45070"/>
                  </a:cubicBezTo>
                  <a:lnTo>
                    <a:pt x="123773" y="42764"/>
                  </a:lnTo>
                  <a:cubicBezTo>
                    <a:pt x="121869" y="28984"/>
                    <a:pt x="119915" y="14753"/>
                    <a:pt x="116207" y="1424"/>
                  </a:cubicBezTo>
                  <a:cubicBezTo>
                    <a:pt x="100723" y="-882"/>
                    <a:pt x="96964" y="-380"/>
                    <a:pt x="93507" y="2877"/>
                  </a:cubicBezTo>
                  <a:lnTo>
                    <a:pt x="91552" y="21869"/>
                  </a:lnTo>
                  <a:lnTo>
                    <a:pt x="58079" y="41111"/>
                  </a:lnTo>
                  <a:cubicBezTo>
                    <a:pt x="56976" y="46773"/>
                    <a:pt x="54922" y="52185"/>
                    <a:pt x="52918" y="57397"/>
                  </a:cubicBezTo>
                  <a:cubicBezTo>
                    <a:pt x="49961" y="65114"/>
                    <a:pt x="46904" y="73031"/>
                    <a:pt x="47004" y="81900"/>
                  </a:cubicBezTo>
                  <a:cubicBezTo>
                    <a:pt x="47205" y="96733"/>
                    <a:pt x="49961" y="110513"/>
                    <a:pt x="55473" y="124043"/>
                  </a:cubicBezTo>
                  <a:lnTo>
                    <a:pt x="56275" y="125997"/>
                  </a:lnTo>
                  <a:lnTo>
                    <a:pt x="54521" y="127250"/>
                  </a:lnTo>
                  <a:cubicBezTo>
                    <a:pt x="52266" y="128854"/>
                    <a:pt x="50212" y="130407"/>
                    <a:pt x="48207" y="131860"/>
                  </a:cubicBezTo>
                  <a:cubicBezTo>
                    <a:pt x="44048" y="134967"/>
                    <a:pt x="40089" y="137924"/>
                    <a:pt x="35830" y="140379"/>
                  </a:cubicBezTo>
                  <a:cubicBezTo>
                    <a:pt x="21298" y="148697"/>
                    <a:pt x="10625" y="161626"/>
                    <a:pt x="3208" y="17986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59" name="Полилиния: фигура 58">
              <a:extLst>
                <a:ext uri="{FF2B5EF4-FFF2-40B4-BE49-F238E27FC236}">
                  <a16:creationId xmlns:a16="http://schemas.microsoft.com/office/drawing/2014/main" id="{03CBDAA9-CE5C-4BF0-A5CE-0666CA29C909}"/>
                </a:ext>
              </a:extLst>
            </p:cNvPr>
            <p:cNvSpPr/>
            <p:nvPr/>
          </p:nvSpPr>
          <p:spPr>
            <a:xfrm>
              <a:off x="8537444" y="1395885"/>
              <a:ext cx="347026" cy="291881"/>
            </a:xfrm>
            <a:custGeom>
              <a:avLst/>
              <a:gdLst>
                <a:gd name="connsiteX0" fmla="*/ 451 w 278261"/>
                <a:gd name="connsiteY0" fmla="*/ 130387 h 234044"/>
                <a:gd name="connsiteX1" fmla="*/ 14281 w 278261"/>
                <a:gd name="connsiteY1" fmla="*/ 159901 h 234044"/>
                <a:gd name="connsiteX2" fmla="*/ 46803 w 278261"/>
                <a:gd name="connsiteY2" fmla="*/ 199288 h 234044"/>
                <a:gd name="connsiteX3" fmla="*/ 76418 w 278261"/>
                <a:gd name="connsiteY3" fmla="*/ 223541 h 234044"/>
                <a:gd name="connsiteX4" fmla="*/ 88394 w 278261"/>
                <a:gd name="connsiteY4" fmla="*/ 233062 h 234044"/>
                <a:gd name="connsiteX5" fmla="*/ 92854 w 278261"/>
                <a:gd name="connsiteY5" fmla="*/ 233413 h 234044"/>
                <a:gd name="connsiteX6" fmla="*/ 118511 w 278261"/>
                <a:gd name="connsiteY6" fmla="*/ 231408 h 234044"/>
                <a:gd name="connsiteX7" fmla="*/ 121066 w 278261"/>
                <a:gd name="connsiteY7" fmla="*/ 208258 h 234044"/>
                <a:gd name="connsiteX8" fmla="*/ 125025 w 278261"/>
                <a:gd name="connsiteY8" fmla="*/ 180096 h 234044"/>
                <a:gd name="connsiteX9" fmla="*/ 126327 w 278261"/>
                <a:gd name="connsiteY9" fmla="*/ 177290 h 234044"/>
                <a:gd name="connsiteX10" fmla="*/ 134095 w 278261"/>
                <a:gd name="connsiteY10" fmla="*/ 182351 h 234044"/>
                <a:gd name="connsiteX11" fmla="*/ 147023 w 278261"/>
                <a:gd name="connsiteY11" fmla="*/ 190819 h 234044"/>
                <a:gd name="connsiteX12" fmla="*/ 157646 w 278261"/>
                <a:gd name="connsiteY12" fmla="*/ 182601 h 234044"/>
                <a:gd name="connsiteX13" fmla="*/ 185157 w 278261"/>
                <a:gd name="connsiteY13" fmla="*/ 160753 h 234044"/>
                <a:gd name="connsiteX14" fmla="*/ 219683 w 278261"/>
                <a:gd name="connsiteY14" fmla="*/ 149278 h 234044"/>
                <a:gd name="connsiteX15" fmla="*/ 253858 w 278261"/>
                <a:gd name="connsiteY15" fmla="*/ 130487 h 234044"/>
                <a:gd name="connsiteX16" fmla="*/ 243084 w 278261"/>
                <a:gd name="connsiteY16" fmla="*/ 125426 h 234044"/>
                <a:gd name="connsiteX17" fmla="*/ 242433 w 278261"/>
                <a:gd name="connsiteY17" fmla="*/ 125325 h 234044"/>
                <a:gd name="connsiteX18" fmla="*/ 238975 w 278261"/>
                <a:gd name="connsiteY18" fmla="*/ 124975 h 234044"/>
                <a:gd name="connsiteX19" fmla="*/ 225495 w 278261"/>
                <a:gd name="connsiteY19" fmla="*/ 121717 h 234044"/>
                <a:gd name="connsiteX20" fmla="*/ 169974 w 278261"/>
                <a:gd name="connsiteY20" fmla="*/ 51664 h 234044"/>
                <a:gd name="connsiteX21" fmla="*/ 169773 w 278261"/>
                <a:gd name="connsiteY21" fmla="*/ 50411 h 234044"/>
                <a:gd name="connsiteX22" fmla="*/ 170625 w 278261"/>
                <a:gd name="connsiteY22" fmla="*/ 49459 h 234044"/>
                <a:gd name="connsiteX23" fmla="*/ 175285 w 278261"/>
                <a:gd name="connsiteY23" fmla="*/ 44047 h 234044"/>
                <a:gd name="connsiteX24" fmla="*/ 203297 w 278261"/>
                <a:gd name="connsiteY24" fmla="*/ 19643 h 234044"/>
                <a:gd name="connsiteX25" fmla="*/ 205952 w 278261"/>
                <a:gd name="connsiteY25" fmla="*/ 18390 h 234044"/>
                <a:gd name="connsiteX26" fmla="*/ 207005 w 278261"/>
                <a:gd name="connsiteY26" fmla="*/ 21146 h 234044"/>
                <a:gd name="connsiteX27" fmla="*/ 259320 w 278261"/>
                <a:gd name="connsiteY27" fmla="*/ 94909 h 234044"/>
                <a:gd name="connsiteX28" fmla="*/ 260072 w 278261"/>
                <a:gd name="connsiteY28" fmla="*/ 94458 h 234044"/>
                <a:gd name="connsiteX29" fmla="*/ 262276 w 278261"/>
                <a:gd name="connsiteY29" fmla="*/ 93004 h 234044"/>
                <a:gd name="connsiteX30" fmla="*/ 274553 w 278261"/>
                <a:gd name="connsiteY30" fmla="*/ 47605 h 234044"/>
                <a:gd name="connsiteX31" fmla="*/ 278262 w 278261"/>
                <a:gd name="connsiteY31" fmla="*/ 22800 h 234044"/>
                <a:gd name="connsiteX32" fmla="*/ 278061 w 278261"/>
                <a:gd name="connsiteY32" fmla="*/ 20395 h 234044"/>
                <a:gd name="connsiteX33" fmla="*/ 277961 w 278261"/>
                <a:gd name="connsiteY33" fmla="*/ 19092 h 234044"/>
                <a:gd name="connsiteX34" fmla="*/ 216626 w 278261"/>
                <a:gd name="connsiteY34" fmla="*/ 5462 h 234044"/>
                <a:gd name="connsiteX35" fmla="*/ 186009 w 278261"/>
                <a:gd name="connsiteY35" fmla="*/ 21748 h 234044"/>
                <a:gd name="connsiteX36" fmla="*/ 184957 w 278261"/>
                <a:gd name="connsiteY36" fmla="*/ 21447 h 234044"/>
                <a:gd name="connsiteX37" fmla="*/ 159902 w 278261"/>
                <a:gd name="connsiteY37" fmla="*/ 10623 h 234044"/>
                <a:gd name="connsiteX38" fmla="*/ 133744 w 278261"/>
                <a:gd name="connsiteY38" fmla="*/ 0 h 234044"/>
                <a:gd name="connsiteX39" fmla="*/ 133243 w 278261"/>
                <a:gd name="connsiteY39" fmla="*/ 1453 h 234044"/>
                <a:gd name="connsiteX40" fmla="*/ 133544 w 278261"/>
                <a:gd name="connsiteY40" fmla="*/ 5813 h 234044"/>
                <a:gd name="connsiteX41" fmla="*/ 133744 w 278261"/>
                <a:gd name="connsiteY41" fmla="*/ 7717 h 234044"/>
                <a:gd name="connsiteX42" fmla="*/ 133944 w 278261"/>
                <a:gd name="connsiteY42" fmla="*/ 9721 h 234044"/>
                <a:gd name="connsiteX43" fmla="*/ 132090 w 278261"/>
                <a:gd name="connsiteY43" fmla="*/ 10473 h 234044"/>
                <a:gd name="connsiteX44" fmla="*/ 120665 w 278261"/>
                <a:gd name="connsiteY44" fmla="*/ 32371 h 234044"/>
                <a:gd name="connsiteX45" fmla="*/ 127480 w 278261"/>
                <a:gd name="connsiteY45" fmla="*/ 52265 h 234044"/>
                <a:gd name="connsiteX46" fmla="*/ 130787 w 278261"/>
                <a:gd name="connsiteY46" fmla="*/ 62237 h 234044"/>
                <a:gd name="connsiteX47" fmla="*/ 131940 w 278261"/>
                <a:gd name="connsiteY47" fmla="*/ 65644 h 234044"/>
                <a:gd name="connsiteX48" fmla="*/ 128332 w 278261"/>
                <a:gd name="connsiteY48" fmla="*/ 65795 h 234044"/>
                <a:gd name="connsiteX49" fmla="*/ 99820 w 278261"/>
                <a:gd name="connsiteY49" fmla="*/ 59781 h 234044"/>
                <a:gd name="connsiteX50" fmla="*/ 91652 w 278261"/>
                <a:gd name="connsiteY50" fmla="*/ 56875 h 234044"/>
                <a:gd name="connsiteX51" fmla="*/ 69302 w 278261"/>
                <a:gd name="connsiteY51" fmla="*/ 48657 h 234044"/>
                <a:gd name="connsiteX52" fmla="*/ 60583 w 278261"/>
                <a:gd name="connsiteY52" fmla="*/ 45249 h 234044"/>
                <a:gd name="connsiteX53" fmla="*/ 39738 w 278261"/>
                <a:gd name="connsiteY53" fmla="*/ 37182 h 234044"/>
                <a:gd name="connsiteX54" fmla="*/ 30116 w 278261"/>
                <a:gd name="connsiteY54" fmla="*/ 33474 h 234044"/>
                <a:gd name="connsiteX55" fmla="*/ 0 w 278261"/>
                <a:gd name="connsiteY55" fmla="*/ 81830 h 234044"/>
                <a:gd name="connsiteX56" fmla="*/ 451 w 278261"/>
                <a:gd name="connsiteY56" fmla="*/ 130286 h 23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78261" h="234044">
                  <a:moveTo>
                    <a:pt x="451" y="130387"/>
                  </a:moveTo>
                  <a:cubicBezTo>
                    <a:pt x="8469" y="138254"/>
                    <a:pt x="12728" y="147424"/>
                    <a:pt x="14281" y="159901"/>
                  </a:cubicBezTo>
                  <a:cubicBezTo>
                    <a:pt x="16537" y="178292"/>
                    <a:pt x="28112" y="192272"/>
                    <a:pt x="46803" y="199288"/>
                  </a:cubicBezTo>
                  <a:cubicBezTo>
                    <a:pt x="58529" y="203698"/>
                    <a:pt x="70455" y="209160"/>
                    <a:pt x="76418" y="223541"/>
                  </a:cubicBezTo>
                  <a:cubicBezTo>
                    <a:pt x="77520" y="226197"/>
                    <a:pt x="80928" y="232511"/>
                    <a:pt x="88394" y="233062"/>
                  </a:cubicBezTo>
                  <a:cubicBezTo>
                    <a:pt x="89898" y="233162"/>
                    <a:pt x="91351" y="233313"/>
                    <a:pt x="92854" y="233413"/>
                  </a:cubicBezTo>
                  <a:cubicBezTo>
                    <a:pt x="101824" y="234165"/>
                    <a:pt x="110343" y="234916"/>
                    <a:pt x="118511" y="231408"/>
                  </a:cubicBezTo>
                  <a:cubicBezTo>
                    <a:pt x="121467" y="224142"/>
                    <a:pt x="121267" y="216426"/>
                    <a:pt x="121066" y="208258"/>
                  </a:cubicBezTo>
                  <a:cubicBezTo>
                    <a:pt x="120815" y="199037"/>
                    <a:pt x="120565" y="189516"/>
                    <a:pt x="125025" y="180096"/>
                  </a:cubicBezTo>
                  <a:lnTo>
                    <a:pt x="126327" y="177290"/>
                  </a:lnTo>
                  <a:lnTo>
                    <a:pt x="134095" y="182351"/>
                  </a:lnTo>
                  <a:cubicBezTo>
                    <a:pt x="138605" y="185307"/>
                    <a:pt x="142864" y="188063"/>
                    <a:pt x="147023" y="190819"/>
                  </a:cubicBezTo>
                  <a:cubicBezTo>
                    <a:pt x="150581" y="188013"/>
                    <a:pt x="154139" y="185307"/>
                    <a:pt x="157646" y="182601"/>
                  </a:cubicBezTo>
                  <a:cubicBezTo>
                    <a:pt x="167268" y="175185"/>
                    <a:pt x="176338" y="168170"/>
                    <a:pt x="185157" y="160753"/>
                  </a:cubicBezTo>
                  <a:cubicBezTo>
                    <a:pt x="196131" y="151583"/>
                    <a:pt x="207406" y="147825"/>
                    <a:pt x="219683" y="149278"/>
                  </a:cubicBezTo>
                  <a:cubicBezTo>
                    <a:pt x="234816" y="151082"/>
                    <a:pt x="245740" y="145119"/>
                    <a:pt x="253858" y="130487"/>
                  </a:cubicBezTo>
                  <a:cubicBezTo>
                    <a:pt x="251653" y="126678"/>
                    <a:pt x="248396" y="126077"/>
                    <a:pt x="243084" y="125426"/>
                  </a:cubicBezTo>
                  <a:lnTo>
                    <a:pt x="242433" y="125325"/>
                  </a:lnTo>
                  <a:cubicBezTo>
                    <a:pt x="241330" y="125175"/>
                    <a:pt x="240178" y="125075"/>
                    <a:pt x="238975" y="124975"/>
                  </a:cubicBezTo>
                  <a:cubicBezTo>
                    <a:pt x="234265" y="124524"/>
                    <a:pt x="229454" y="124123"/>
                    <a:pt x="225495" y="121717"/>
                  </a:cubicBezTo>
                  <a:cubicBezTo>
                    <a:pt x="201643" y="107286"/>
                    <a:pt x="176388" y="87643"/>
                    <a:pt x="169974" y="51664"/>
                  </a:cubicBezTo>
                  <a:lnTo>
                    <a:pt x="169773" y="50411"/>
                  </a:lnTo>
                  <a:lnTo>
                    <a:pt x="170625" y="49459"/>
                  </a:lnTo>
                  <a:cubicBezTo>
                    <a:pt x="172178" y="47705"/>
                    <a:pt x="173732" y="45901"/>
                    <a:pt x="175285" y="44047"/>
                  </a:cubicBezTo>
                  <a:cubicBezTo>
                    <a:pt x="183103" y="34877"/>
                    <a:pt x="191220" y="25406"/>
                    <a:pt x="203297" y="19643"/>
                  </a:cubicBezTo>
                  <a:lnTo>
                    <a:pt x="205952" y="18390"/>
                  </a:lnTo>
                  <a:lnTo>
                    <a:pt x="207005" y="21146"/>
                  </a:lnTo>
                  <a:cubicBezTo>
                    <a:pt x="213419" y="38234"/>
                    <a:pt x="239426" y="74764"/>
                    <a:pt x="259320" y="94909"/>
                  </a:cubicBezTo>
                  <a:cubicBezTo>
                    <a:pt x="259571" y="94758"/>
                    <a:pt x="259821" y="94608"/>
                    <a:pt x="260072" y="94458"/>
                  </a:cubicBezTo>
                  <a:cubicBezTo>
                    <a:pt x="261124" y="93806"/>
                    <a:pt x="261825" y="93405"/>
                    <a:pt x="262276" y="93004"/>
                  </a:cubicBezTo>
                  <a:cubicBezTo>
                    <a:pt x="277861" y="77470"/>
                    <a:pt x="281619" y="63489"/>
                    <a:pt x="274553" y="47605"/>
                  </a:cubicBezTo>
                  <a:cubicBezTo>
                    <a:pt x="270795" y="39136"/>
                    <a:pt x="272048" y="30768"/>
                    <a:pt x="278262" y="22800"/>
                  </a:cubicBezTo>
                  <a:cubicBezTo>
                    <a:pt x="278262" y="22600"/>
                    <a:pt x="278161" y="21347"/>
                    <a:pt x="278061" y="20395"/>
                  </a:cubicBezTo>
                  <a:cubicBezTo>
                    <a:pt x="278061" y="19994"/>
                    <a:pt x="277961" y="19543"/>
                    <a:pt x="277961" y="19092"/>
                  </a:cubicBezTo>
                  <a:cubicBezTo>
                    <a:pt x="256514" y="14331"/>
                    <a:pt x="235467" y="9671"/>
                    <a:pt x="216626" y="5462"/>
                  </a:cubicBezTo>
                  <a:lnTo>
                    <a:pt x="186009" y="21748"/>
                  </a:lnTo>
                  <a:lnTo>
                    <a:pt x="184957" y="21447"/>
                  </a:lnTo>
                  <a:cubicBezTo>
                    <a:pt x="175786" y="18791"/>
                    <a:pt x="167718" y="14632"/>
                    <a:pt x="159902" y="10623"/>
                  </a:cubicBezTo>
                  <a:cubicBezTo>
                    <a:pt x="151182" y="6164"/>
                    <a:pt x="142864" y="1904"/>
                    <a:pt x="133744" y="0"/>
                  </a:cubicBezTo>
                  <a:cubicBezTo>
                    <a:pt x="133493" y="601"/>
                    <a:pt x="133243" y="1203"/>
                    <a:pt x="133243" y="1453"/>
                  </a:cubicBezTo>
                  <a:cubicBezTo>
                    <a:pt x="133192" y="2856"/>
                    <a:pt x="133393" y="4360"/>
                    <a:pt x="133544" y="5813"/>
                  </a:cubicBezTo>
                  <a:cubicBezTo>
                    <a:pt x="133644" y="6464"/>
                    <a:pt x="133694" y="7116"/>
                    <a:pt x="133744" y="7717"/>
                  </a:cubicBezTo>
                  <a:lnTo>
                    <a:pt x="133944" y="9721"/>
                  </a:lnTo>
                  <a:lnTo>
                    <a:pt x="132090" y="10473"/>
                  </a:lnTo>
                  <a:cubicBezTo>
                    <a:pt x="120715" y="14983"/>
                    <a:pt x="116907" y="22284"/>
                    <a:pt x="120665" y="32371"/>
                  </a:cubicBezTo>
                  <a:cubicBezTo>
                    <a:pt x="123021" y="38785"/>
                    <a:pt x="125225" y="45350"/>
                    <a:pt x="127480" y="52265"/>
                  </a:cubicBezTo>
                  <a:cubicBezTo>
                    <a:pt x="128533" y="55472"/>
                    <a:pt x="129635" y="58729"/>
                    <a:pt x="130787" y="62237"/>
                  </a:cubicBezTo>
                  <a:lnTo>
                    <a:pt x="131940" y="65644"/>
                  </a:lnTo>
                  <a:lnTo>
                    <a:pt x="128332" y="65795"/>
                  </a:lnTo>
                  <a:cubicBezTo>
                    <a:pt x="117057" y="66296"/>
                    <a:pt x="108288" y="62938"/>
                    <a:pt x="99820" y="59781"/>
                  </a:cubicBezTo>
                  <a:cubicBezTo>
                    <a:pt x="97063" y="58729"/>
                    <a:pt x="94357" y="57727"/>
                    <a:pt x="91652" y="56875"/>
                  </a:cubicBezTo>
                  <a:cubicBezTo>
                    <a:pt x="84035" y="54520"/>
                    <a:pt x="76568" y="51563"/>
                    <a:pt x="69302" y="48657"/>
                  </a:cubicBezTo>
                  <a:cubicBezTo>
                    <a:pt x="66396" y="47504"/>
                    <a:pt x="63490" y="46352"/>
                    <a:pt x="60583" y="45249"/>
                  </a:cubicBezTo>
                  <a:cubicBezTo>
                    <a:pt x="53668" y="42594"/>
                    <a:pt x="46753" y="39888"/>
                    <a:pt x="39738" y="37182"/>
                  </a:cubicBezTo>
                  <a:lnTo>
                    <a:pt x="30116" y="33474"/>
                  </a:lnTo>
                  <a:lnTo>
                    <a:pt x="0" y="81830"/>
                  </a:lnTo>
                  <a:cubicBezTo>
                    <a:pt x="7266" y="96813"/>
                    <a:pt x="4510" y="113299"/>
                    <a:pt x="451" y="13028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60" name="Полилиния: фигура 59">
              <a:extLst>
                <a:ext uri="{FF2B5EF4-FFF2-40B4-BE49-F238E27FC236}">
                  <a16:creationId xmlns:a16="http://schemas.microsoft.com/office/drawing/2014/main" id="{059E0C07-A683-460D-A15A-67D102093F70}"/>
                </a:ext>
              </a:extLst>
            </p:cNvPr>
            <p:cNvSpPr/>
            <p:nvPr/>
          </p:nvSpPr>
          <p:spPr>
            <a:xfrm>
              <a:off x="990116" y="2944045"/>
              <a:ext cx="317652" cy="298395"/>
            </a:xfrm>
            <a:custGeom>
              <a:avLst/>
              <a:gdLst>
                <a:gd name="connsiteX0" fmla="*/ 3356 w 254708"/>
                <a:gd name="connsiteY0" fmla="*/ 96503 h 239267"/>
                <a:gd name="connsiteX1" fmla="*/ 26657 w 254708"/>
                <a:gd name="connsiteY1" fmla="*/ 101314 h 239267"/>
                <a:gd name="connsiteX2" fmla="*/ 34324 w 254708"/>
                <a:gd name="connsiteY2" fmla="*/ 98307 h 239267"/>
                <a:gd name="connsiteX3" fmla="*/ 37030 w 254708"/>
                <a:gd name="connsiteY3" fmla="*/ 97405 h 239267"/>
                <a:gd name="connsiteX4" fmla="*/ 38082 w 254708"/>
                <a:gd name="connsiteY4" fmla="*/ 97004 h 239267"/>
                <a:gd name="connsiteX5" fmla="*/ 39084 w 254708"/>
                <a:gd name="connsiteY5" fmla="*/ 97455 h 239267"/>
                <a:gd name="connsiteX6" fmla="*/ 54669 w 254708"/>
                <a:gd name="connsiteY6" fmla="*/ 115545 h 239267"/>
                <a:gd name="connsiteX7" fmla="*/ 69902 w 254708"/>
                <a:gd name="connsiteY7" fmla="*/ 132432 h 239267"/>
                <a:gd name="connsiteX8" fmla="*/ 105781 w 254708"/>
                <a:gd name="connsiteY8" fmla="*/ 164403 h 239267"/>
                <a:gd name="connsiteX9" fmla="*/ 110291 w 254708"/>
                <a:gd name="connsiteY9" fmla="*/ 217970 h 239267"/>
                <a:gd name="connsiteX10" fmla="*/ 106733 w 254708"/>
                <a:gd name="connsiteY10" fmla="*/ 227692 h 239267"/>
                <a:gd name="connsiteX11" fmla="*/ 106182 w 254708"/>
                <a:gd name="connsiteY11" fmla="*/ 229395 h 239267"/>
                <a:gd name="connsiteX12" fmla="*/ 130686 w 254708"/>
                <a:gd name="connsiteY12" fmla="*/ 239267 h 239267"/>
                <a:gd name="connsiteX13" fmla="*/ 140507 w 254708"/>
                <a:gd name="connsiteY13" fmla="*/ 223883 h 239267"/>
                <a:gd name="connsiteX14" fmla="*/ 142862 w 254708"/>
                <a:gd name="connsiteY14" fmla="*/ 226439 h 239267"/>
                <a:gd name="connsiteX15" fmla="*/ 160902 w 254708"/>
                <a:gd name="connsiteY15" fmla="*/ 232001 h 239267"/>
                <a:gd name="connsiteX16" fmla="*/ 172477 w 254708"/>
                <a:gd name="connsiteY16" fmla="*/ 225286 h 239267"/>
                <a:gd name="connsiteX17" fmla="*/ 191670 w 254708"/>
                <a:gd name="connsiteY17" fmla="*/ 214563 h 239267"/>
                <a:gd name="connsiteX18" fmla="*/ 203646 w 254708"/>
                <a:gd name="connsiteY18" fmla="*/ 198828 h 239267"/>
                <a:gd name="connsiteX19" fmla="*/ 204097 w 254708"/>
                <a:gd name="connsiteY19" fmla="*/ 195471 h 239267"/>
                <a:gd name="connsiteX20" fmla="*/ 211513 w 254708"/>
                <a:gd name="connsiteY20" fmla="*/ 173773 h 239267"/>
                <a:gd name="connsiteX21" fmla="*/ 212666 w 254708"/>
                <a:gd name="connsiteY21" fmla="*/ 172470 h 239267"/>
                <a:gd name="connsiteX22" fmla="*/ 214319 w 254708"/>
                <a:gd name="connsiteY22" fmla="*/ 172971 h 239267"/>
                <a:gd name="connsiteX23" fmla="*/ 250699 w 254708"/>
                <a:gd name="connsiteY23" fmla="*/ 167309 h 239267"/>
                <a:gd name="connsiteX24" fmla="*/ 233211 w 254708"/>
                <a:gd name="connsiteY24" fmla="*/ 132733 h 239267"/>
                <a:gd name="connsiteX25" fmla="*/ 233211 w 254708"/>
                <a:gd name="connsiteY25" fmla="*/ 131981 h 239267"/>
                <a:gd name="connsiteX26" fmla="*/ 250148 w 254708"/>
                <a:gd name="connsiteY26" fmla="*/ 101915 h 239267"/>
                <a:gd name="connsiteX27" fmla="*/ 254708 w 254708"/>
                <a:gd name="connsiteY27" fmla="*/ 97004 h 239267"/>
                <a:gd name="connsiteX28" fmla="*/ 253856 w 254708"/>
                <a:gd name="connsiteY28" fmla="*/ 92645 h 239267"/>
                <a:gd name="connsiteX29" fmla="*/ 248093 w 254708"/>
                <a:gd name="connsiteY29" fmla="*/ 63230 h 239267"/>
                <a:gd name="connsiteX30" fmla="*/ 246440 w 254708"/>
                <a:gd name="connsiteY30" fmla="*/ 52607 h 239267"/>
                <a:gd name="connsiteX31" fmla="*/ 240527 w 254708"/>
                <a:gd name="connsiteY31" fmla="*/ 28755 h 239267"/>
                <a:gd name="connsiteX32" fmla="*/ 234263 w 254708"/>
                <a:gd name="connsiteY32" fmla="*/ 30208 h 239267"/>
                <a:gd name="connsiteX33" fmla="*/ 216324 w 254708"/>
                <a:gd name="connsiteY33" fmla="*/ 33766 h 239267"/>
                <a:gd name="connsiteX34" fmla="*/ 201291 w 254708"/>
                <a:gd name="connsiteY34" fmla="*/ 34567 h 239267"/>
                <a:gd name="connsiteX35" fmla="*/ 190266 w 254708"/>
                <a:gd name="connsiteY35" fmla="*/ 35018 h 239267"/>
                <a:gd name="connsiteX36" fmla="*/ 182700 w 254708"/>
                <a:gd name="connsiteY36" fmla="*/ 37674 h 239267"/>
                <a:gd name="connsiteX37" fmla="*/ 130335 w 254708"/>
                <a:gd name="connsiteY37" fmla="*/ 40981 h 239267"/>
                <a:gd name="connsiteX38" fmla="*/ 94706 w 254708"/>
                <a:gd name="connsiteY38" fmla="*/ 32413 h 239267"/>
                <a:gd name="connsiteX39" fmla="*/ 92902 w 254708"/>
                <a:gd name="connsiteY39" fmla="*/ 32012 h 239267"/>
                <a:gd name="connsiteX40" fmla="*/ 88994 w 254708"/>
                <a:gd name="connsiteY40" fmla="*/ 25698 h 239267"/>
                <a:gd name="connsiteX41" fmla="*/ 81076 w 254708"/>
                <a:gd name="connsiteY41" fmla="*/ 12619 h 239267"/>
                <a:gd name="connsiteX42" fmla="*/ 65993 w 254708"/>
                <a:gd name="connsiteY42" fmla="*/ 1545 h 239267"/>
                <a:gd name="connsiteX43" fmla="*/ 54869 w 254708"/>
                <a:gd name="connsiteY43" fmla="*/ 743 h 239267"/>
                <a:gd name="connsiteX44" fmla="*/ 50409 w 254708"/>
                <a:gd name="connsiteY44" fmla="*/ 9512 h 239267"/>
                <a:gd name="connsiteX45" fmla="*/ 32470 w 254708"/>
                <a:gd name="connsiteY45" fmla="*/ 37724 h 239267"/>
                <a:gd name="connsiteX46" fmla="*/ 10622 w 254708"/>
                <a:gd name="connsiteY46" fmla="*/ 64784 h 239267"/>
                <a:gd name="connsiteX47" fmla="*/ 5360 w 254708"/>
                <a:gd name="connsiteY47" fmla="*/ 72400 h 239267"/>
                <a:gd name="connsiteX48" fmla="*/ 48 w 254708"/>
                <a:gd name="connsiteY48" fmla="*/ 86331 h 239267"/>
                <a:gd name="connsiteX49" fmla="*/ 3255 w 254708"/>
                <a:gd name="connsiteY49" fmla="*/ 96403 h 2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54708" h="239267">
                  <a:moveTo>
                    <a:pt x="3356" y="96503"/>
                  </a:moveTo>
                  <a:cubicBezTo>
                    <a:pt x="11423" y="102466"/>
                    <a:pt x="18489" y="105573"/>
                    <a:pt x="26657" y="101314"/>
                  </a:cubicBezTo>
                  <a:cubicBezTo>
                    <a:pt x="29213" y="99961"/>
                    <a:pt x="31918" y="99109"/>
                    <a:pt x="34324" y="98307"/>
                  </a:cubicBezTo>
                  <a:cubicBezTo>
                    <a:pt x="35276" y="98007"/>
                    <a:pt x="36178" y="97706"/>
                    <a:pt x="37030" y="97405"/>
                  </a:cubicBezTo>
                  <a:lnTo>
                    <a:pt x="38082" y="97004"/>
                  </a:lnTo>
                  <a:lnTo>
                    <a:pt x="39084" y="97455"/>
                  </a:lnTo>
                  <a:cubicBezTo>
                    <a:pt x="47102" y="101114"/>
                    <a:pt x="52213" y="107026"/>
                    <a:pt x="54669" y="115545"/>
                  </a:cubicBezTo>
                  <a:cubicBezTo>
                    <a:pt x="57024" y="123412"/>
                    <a:pt x="61834" y="128824"/>
                    <a:pt x="69902" y="132432"/>
                  </a:cubicBezTo>
                  <a:cubicBezTo>
                    <a:pt x="86789" y="140049"/>
                    <a:pt x="97964" y="153529"/>
                    <a:pt x="105781" y="164403"/>
                  </a:cubicBezTo>
                  <a:cubicBezTo>
                    <a:pt x="117807" y="181089"/>
                    <a:pt x="119311" y="199129"/>
                    <a:pt x="110291" y="217970"/>
                  </a:cubicBezTo>
                  <a:cubicBezTo>
                    <a:pt x="108838" y="220927"/>
                    <a:pt x="107835" y="224234"/>
                    <a:pt x="106733" y="227692"/>
                  </a:cubicBezTo>
                  <a:cubicBezTo>
                    <a:pt x="106532" y="228243"/>
                    <a:pt x="106382" y="228794"/>
                    <a:pt x="106182" y="229395"/>
                  </a:cubicBezTo>
                  <a:cubicBezTo>
                    <a:pt x="116504" y="229646"/>
                    <a:pt x="118709" y="230648"/>
                    <a:pt x="130686" y="239267"/>
                  </a:cubicBezTo>
                  <a:lnTo>
                    <a:pt x="140507" y="223883"/>
                  </a:lnTo>
                  <a:lnTo>
                    <a:pt x="142862" y="226439"/>
                  </a:lnTo>
                  <a:cubicBezTo>
                    <a:pt x="151281" y="235459"/>
                    <a:pt x="156492" y="234456"/>
                    <a:pt x="160902" y="232001"/>
                  </a:cubicBezTo>
                  <a:cubicBezTo>
                    <a:pt x="164810" y="229846"/>
                    <a:pt x="168619" y="227541"/>
                    <a:pt x="172477" y="225286"/>
                  </a:cubicBezTo>
                  <a:cubicBezTo>
                    <a:pt x="178641" y="221578"/>
                    <a:pt x="185055" y="217770"/>
                    <a:pt x="191670" y="214563"/>
                  </a:cubicBezTo>
                  <a:cubicBezTo>
                    <a:pt x="198986" y="211005"/>
                    <a:pt x="202593" y="206345"/>
                    <a:pt x="203646" y="198828"/>
                  </a:cubicBezTo>
                  <a:lnTo>
                    <a:pt x="204097" y="195471"/>
                  </a:lnTo>
                  <a:cubicBezTo>
                    <a:pt x="205049" y="187954"/>
                    <a:pt x="206001" y="180137"/>
                    <a:pt x="211513" y="173773"/>
                  </a:cubicBezTo>
                  <a:lnTo>
                    <a:pt x="212666" y="172470"/>
                  </a:lnTo>
                  <a:lnTo>
                    <a:pt x="214319" y="172971"/>
                  </a:lnTo>
                  <a:cubicBezTo>
                    <a:pt x="233511" y="178634"/>
                    <a:pt x="234163" y="178834"/>
                    <a:pt x="250699" y="167309"/>
                  </a:cubicBezTo>
                  <a:lnTo>
                    <a:pt x="233211" y="132733"/>
                  </a:lnTo>
                  <a:lnTo>
                    <a:pt x="233211" y="131981"/>
                  </a:lnTo>
                  <a:cubicBezTo>
                    <a:pt x="234514" y="118251"/>
                    <a:pt x="242481" y="109933"/>
                    <a:pt x="250148" y="101915"/>
                  </a:cubicBezTo>
                  <a:cubicBezTo>
                    <a:pt x="251701" y="100312"/>
                    <a:pt x="253255" y="98708"/>
                    <a:pt x="254708" y="97004"/>
                  </a:cubicBezTo>
                  <a:lnTo>
                    <a:pt x="253856" y="92645"/>
                  </a:lnTo>
                  <a:cubicBezTo>
                    <a:pt x="251902" y="82673"/>
                    <a:pt x="250048" y="72952"/>
                    <a:pt x="248093" y="63230"/>
                  </a:cubicBezTo>
                  <a:cubicBezTo>
                    <a:pt x="247392" y="59723"/>
                    <a:pt x="246891" y="56115"/>
                    <a:pt x="246440" y="52607"/>
                  </a:cubicBezTo>
                  <a:cubicBezTo>
                    <a:pt x="245388" y="44639"/>
                    <a:pt x="244285" y="36472"/>
                    <a:pt x="240527" y="28755"/>
                  </a:cubicBezTo>
                  <a:cubicBezTo>
                    <a:pt x="238372" y="29206"/>
                    <a:pt x="236318" y="29707"/>
                    <a:pt x="234263" y="30208"/>
                  </a:cubicBezTo>
                  <a:cubicBezTo>
                    <a:pt x="228099" y="31661"/>
                    <a:pt x="222287" y="33014"/>
                    <a:pt x="216324" y="33766"/>
                  </a:cubicBezTo>
                  <a:cubicBezTo>
                    <a:pt x="211313" y="34367"/>
                    <a:pt x="206252" y="34467"/>
                    <a:pt x="201291" y="34567"/>
                  </a:cubicBezTo>
                  <a:cubicBezTo>
                    <a:pt x="197633" y="34667"/>
                    <a:pt x="193924" y="34718"/>
                    <a:pt x="190266" y="35018"/>
                  </a:cubicBezTo>
                  <a:cubicBezTo>
                    <a:pt x="187961" y="35219"/>
                    <a:pt x="185155" y="36171"/>
                    <a:pt x="182700" y="37674"/>
                  </a:cubicBezTo>
                  <a:cubicBezTo>
                    <a:pt x="164109" y="48949"/>
                    <a:pt x="143915" y="44990"/>
                    <a:pt x="130335" y="40981"/>
                  </a:cubicBezTo>
                  <a:cubicBezTo>
                    <a:pt x="118709" y="37574"/>
                    <a:pt x="107034" y="35068"/>
                    <a:pt x="94706" y="32413"/>
                  </a:cubicBezTo>
                  <a:lnTo>
                    <a:pt x="92902" y="32012"/>
                  </a:lnTo>
                  <a:lnTo>
                    <a:pt x="88994" y="25698"/>
                  </a:lnTo>
                  <a:cubicBezTo>
                    <a:pt x="86188" y="21238"/>
                    <a:pt x="83582" y="17079"/>
                    <a:pt x="81076" y="12619"/>
                  </a:cubicBezTo>
                  <a:cubicBezTo>
                    <a:pt x="78070" y="7358"/>
                    <a:pt x="73460" y="3950"/>
                    <a:pt x="65993" y="1545"/>
                  </a:cubicBezTo>
                  <a:cubicBezTo>
                    <a:pt x="60381" y="-209"/>
                    <a:pt x="56923" y="-460"/>
                    <a:pt x="54869" y="743"/>
                  </a:cubicBezTo>
                  <a:cubicBezTo>
                    <a:pt x="52915" y="1895"/>
                    <a:pt x="51512" y="4652"/>
                    <a:pt x="50409" y="9512"/>
                  </a:cubicBezTo>
                  <a:cubicBezTo>
                    <a:pt x="48004" y="20536"/>
                    <a:pt x="42792" y="28704"/>
                    <a:pt x="32470" y="37724"/>
                  </a:cubicBezTo>
                  <a:cubicBezTo>
                    <a:pt x="23951" y="45140"/>
                    <a:pt x="17186" y="55112"/>
                    <a:pt x="10622" y="64784"/>
                  </a:cubicBezTo>
                  <a:cubicBezTo>
                    <a:pt x="8868" y="67339"/>
                    <a:pt x="7164" y="69895"/>
                    <a:pt x="5360" y="72400"/>
                  </a:cubicBezTo>
                  <a:cubicBezTo>
                    <a:pt x="2454" y="76610"/>
                    <a:pt x="449" y="81821"/>
                    <a:pt x="48" y="86331"/>
                  </a:cubicBezTo>
                  <a:cubicBezTo>
                    <a:pt x="-302" y="89989"/>
                    <a:pt x="1301" y="94950"/>
                    <a:pt x="3255" y="9640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61" name="Полилиния: фигура 60">
              <a:extLst>
                <a:ext uri="{FF2B5EF4-FFF2-40B4-BE49-F238E27FC236}">
                  <a16:creationId xmlns:a16="http://schemas.microsoft.com/office/drawing/2014/main" id="{7150C1CC-EFFF-4369-B6B1-4A80D24A5A68}"/>
                </a:ext>
              </a:extLst>
            </p:cNvPr>
            <p:cNvSpPr/>
            <p:nvPr/>
          </p:nvSpPr>
          <p:spPr>
            <a:xfrm>
              <a:off x="1300957" y="2946410"/>
              <a:ext cx="327987" cy="217477"/>
            </a:xfrm>
            <a:custGeom>
              <a:avLst/>
              <a:gdLst>
                <a:gd name="connsiteX0" fmla="*/ 136700 w 262995"/>
                <a:gd name="connsiteY0" fmla="*/ 39036 h 174383"/>
                <a:gd name="connsiteX1" fmla="*/ 105983 w 262995"/>
                <a:gd name="connsiteY1" fmla="*/ 32471 h 174383"/>
                <a:gd name="connsiteX2" fmla="*/ 104079 w 262995"/>
                <a:gd name="connsiteY2" fmla="*/ 31469 h 174383"/>
                <a:gd name="connsiteX3" fmla="*/ 102475 w 262995"/>
                <a:gd name="connsiteY3" fmla="*/ 30718 h 174383"/>
                <a:gd name="connsiteX4" fmla="*/ 102375 w 262995"/>
                <a:gd name="connsiteY4" fmla="*/ 30718 h 174383"/>
                <a:gd name="connsiteX5" fmla="*/ 75265 w 262995"/>
                <a:gd name="connsiteY5" fmla="*/ 30868 h 174383"/>
                <a:gd name="connsiteX6" fmla="*/ 74614 w 262995"/>
                <a:gd name="connsiteY6" fmla="*/ 30467 h 174383"/>
                <a:gd name="connsiteX7" fmla="*/ 64742 w 262995"/>
                <a:gd name="connsiteY7" fmla="*/ 16085 h 174383"/>
                <a:gd name="connsiteX8" fmla="*/ 47354 w 262995"/>
                <a:gd name="connsiteY8" fmla="*/ 0 h 174383"/>
                <a:gd name="connsiteX9" fmla="*/ 38585 w 262995"/>
                <a:gd name="connsiteY9" fmla="*/ 6264 h 174383"/>
                <a:gd name="connsiteX10" fmla="*/ 24203 w 262995"/>
                <a:gd name="connsiteY10" fmla="*/ 14883 h 174383"/>
                <a:gd name="connsiteX11" fmla="*/ 8769 w 262995"/>
                <a:gd name="connsiteY11" fmla="*/ 37583 h 174383"/>
                <a:gd name="connsiteX12" fmla="*/ 10022 w 262995"/>
                <a:gd name="connsiteY12" fmla="*/ 44899 h 174383"/>
                <a:gd name="connsiteX13" fmla="*/ 10373 w 262995"/>
                <a:gd name="connsiteY13" fmla="*/ 46753 h 174383"/>
                <a:gd name="connsiteX14" fmla="*/ 20445 w 262995"/>
                <a:gd name="connsiteY14" fmla="*/ 100721 h 174383"/>
                <a:gd name="connsiteX15" fmla="*/ 20645 w 262995"/>
                <a:gd name="connsiteY15" fmla="*/ 101824 h 174383"/>
                <a:gd name="connsiteX16" fmla="*/ 0 w 262995"/>
                <a:gd name="connsiteY16" fmla="*/ 131689 h 174383"/>
                <a:gd name="connsiteX17" fmla="*/ 3357 w 262995"/>
                <a:gd name="connsiteY17" fmla="*/ 137703 h 174383"/>
                <a:gd name="connsiteX18" fmla="*/ 12728 w 262995"/>
                <a:gd name="connsiteY18" fmla="*/ 153588 h 174383"/>
                <a:gd name="connsiteX19" fmla="*/ 19894 w 262995"/>
                <a:gd name="connsiteY19" fmla="*/ 159901 h 174383"/>
                <a:gd name="connsiteX20" fmla="*/ 31319 w 262995"/>
                <a:gd name="connsiteY20" fmla="*/ 163259 h 174383"/>
                <a:gd name="connsiteX21" fmla="*/ 83233 w 262995"/>
                <a:gd name="connsiteY21" fmla="*/ 174383 h 174383"/>
                <a:gd name="connsiteX22" fmla="*/ 86139 w 262995"/>
                <a:gd name="connsiteY22" fmla="*/ 169923 h 174383"/>
                <a:gd name="connsiteX23" fmla="*/ 118761 w 262995"/>
                <a:gd name="connsiteY23" fmla="*/ 149328 h 174383"/>
                <a:gd name="connsiteX24" fmla="*/ 131238 w 262995"/>
                <a:gd name="connsiteY24" fmla="*/ 144468 h 174383"/>
                <a:gd name="connsiteX25" fmla="*/ 137953 w 262995"/>
                <a:gd name="connsiteY25" fmla="*/ 141210 h 174383"/>
                <a:gd name="connsiteX26" fmla="*/ 138955 w 262995"/>
                <a:gd name="connsiteY26" fmla="*/ 140759 h 174383"/>
                <a:gd name="connsiteX27" fmla="*/ 140008 w 262995"/>
                <a:gd name="connsiteY27" fmla="*/ 141160 h 174383"/>
                <a:gd name="connsiteX28" fmla="*/ 194227 w 262995"/>
                <a:gd name="connsiteY28" fmla="*/ 162156 h 174383"/>
                <a:gd name="connsiteX29" fmla="*/ 195630 w 262995"/>
                <a:gd name="connsiteY29" fmla="*/ 160803 h 174383"/>
                <a:gd name="connsiteX30" fmla="*/ 216977 w 262995"/>
                <a:gd name="connsiteY30" fmla="*/ 149930 h 174383"/>
                <a:gd name="connsiteX31" fmla="*/ 256864 w 262995"/>
                <a:gd name="connsiteY31" fmla="*/ 124073 h 174383"/>
                <a:gd name="connsiteX32" fmla="*/ 262126 w 262995"/>
                <a:gd name="connsiteY32" fmla="*/ 97164 h 174383"/>
                <a:gd name="connsiteX33" fmla="*/ 233212 w 262995"/>
                <a:gd name="connsiteY33" fmla="*/ 65594 h 174383"/>
                <a:gd name="connsiteX34" fmla="*/ 229304 w 262995"/>
                <a:gd name="connsiteY34" fmla="*/ 63890 h 174383"/>
                <a:gd name="connsiteX35" fmla="*/ 226949 w 262995"/>
                <a:gd name="connsiteY35" fmla="*/ 62588 h 174383"/>
                <a:gd name="connsiteX36" fmla="*/ 226197 w 262995"/>
                <a:gd name="connsiteY36" fmla="*/ 62187 h 174383"/>
                <a:gd name="connsiteX37" fmla="*/ 225796 w 262995"/>
                <a:gd name="connsiteY37" fmla="*/ 61435 h 174383"/>
                <a:gd name="connsiteX38" fmla="*/ 223140 w 262995"/>
                <a:gd name="connsiteY38" fmla="*/ 56274 h 174383"/>
                <a:gd name="connsiteX39" fmla="*/ 215473 w 262995"/>
                <a:gd name="connsiteY39" fmla="*/ 41942 h 174383"/>
                <a:gd name="connsiteX40" fmla="*/ 209210 w 262995"/>
                <a:gd name="connsiteY40" fmla="*/ 34275 h 174383"/>
                <a:gd name="connsiteX41" fmla="*/ 175436 w 262995"/>
                <a:gd name="connsiteY41" fmla="*/ 28463 h 174383"/>
                <a:gd name="connsiteX42" fmla="*/ 154038 w 262995"/>
                <a:gd name="connsiteY42" fmla="*/ 34376 h 174383"/>
                <a:gd name="connsiteX43" fmla="*/ 136650 w 262995"/>
                <a:gd name="connsiteY43" fmla="*/ 38986 h 174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62995" h="174383">
                  <a:moveTo>
                    <a:pt x="136700" y="39036"/>
                  </a:moveTo>
                  <a:cubicBezTo>
                    <a:pt x="127530" y="41942"/>
                    <a:pt x="115704" y="43846"/>
                    <a:pt x="105983" y="32471"/>
                  </a:cubicBezTo>
                  <a:cubicBezTo>
                    <a:pt x="105782" y="32221"/>
                    <a:pt x="104931" y="31820"/>
                    <a:pt x="104079" y="31469"/>
                  </a:cubicBezTo>
                  <a:cubicBezTo>
                    <a:pt x="103578" y="31269"/>
                    <a:pt x="103077" y="31018"/>
                    <a:pt x="102475" y="30718"/>
                  </a:cubicBezTo>
                  <a:lnTo>
                    <a:pt x="102375" y="30718"/>
                  </a:lnTo>
                  <a:cubicBezTo>
                    <a:pt x="94107" y="32722"/>
                    <a:pt x="84786" y="34977"/>
                    <a:pt x="75265" y="30868"/>
                  </a:cubicBezTo>
                  <a:lnTo>
                    <a:pt x="74614" y="30467"/>
                  </a:lnTo>
                  <a:cubicBezTo>
                    <a:pt x="69954" y="26659"/>
                    <a:pt x="67298" y="21297"/>
                    <a:pt x="64742" y="16085"/>
                  </a:cubicBezTo>
                  <a:cubicBezTo>
                    <a:pt x="60733" y="8018"/>
                    <a:pt x="57326" y="1002"/>
                    <a:pt x="47354" y="0"/>
                  </a:cubicBezTo>
                  <a:cubicBezTo>
                    <a:pt x="43896" y="1153"/>
                    <a:pt x="41341" y="3658"/>
                    <a:pt x="38585" y="6264"/>
                  </a:cubicBezTo>
                  <a:cubicBezTo>
                    <a:pt x="34927" y="9772"/>
                    <a:pt x="30818" y="13780"/>
                    <a:pt x="24203" y="14883"/>
                  </a:cubicBezTo>
                  <a:cubicBezTo>
                    <a:pt x="6765" y="17839"/>
                    <a:pt x="6464" y="19894"/>
                    <a:pt x="8769" y="37583"/>
                  </a:cubicBezTo>
                  <a:cubicBezTo>
                    <a:pt x="9070" y="40038"/>
                    <a:pt x="9571" y="42443"/>
                    <a:pt x="10022" y="44899"/>
                  </a:cubicBezTo>
                  <a:lnTo>
                    <a:pt x="10373" y="46753"/>
                  </a:lnTo>
                  <a:cubicBezTo>
                    <a:pt x="13680" y="64492"/>
                    <a:pt x="16987" y="82231"/>
                    <a:pt x="20445" y="100721"/>
                  </a:cubicBezTo>
                  <a:lnTo>
                    <a:pt x="20645" y="101824"/>
                  </a:lnTo>
                  <a:lnTo>
                    <a:pt x="0" y="131689"/>
                  </a:lnTo>
                  <a:cubicBezTo>
                    <a:pt x="1153" y="133744"/>
                    <a:pt x="2255" y="135748"/>
                    <a:pt x="3357" y="137703"/>
                  </a:cubicBezTo>
                  <a:cubicBezTo>
                    <a:pt x="6464" y="143315"/>
                    <a:pt x="9421" y="148627"/>
                    <a:pt x="12728" y="153588"/>
                  </a:cubicBezTo>
                  <a:cubicBezTo>
                    <a:pt x="14833" y="156795"/>
                    <a:pt x="17639" y="159250"/>
                    <a:pt x="19894" y="159901"/>
                  </a:cubicBezTo>
                  <a:cubicBezTo>
                    <a:pt x="23702" y="161004"/>
                    <a:pt x="27510" y="162106"/>
                    <a:pt x="31319" y="163259"/>
                  </a:cubicBezTo>
                  <a:cubicBezTo>
                    <a:pt x="47755" y="168119"/>
                    <a:pt x="64742" y="173181"/>
                    <a:pt x="83233" y="174383"/>
                  </a:cubicBezTo>
                  <a:lnTo>
                    <a:pt x="86139" y="169923"/>
                  </a:lnTo>
                  <a:cubicBezTo>
                    <a:pt x="93706" y="158147"/>
                    <a:pt x="104379" y="151433"/>
                    <a:pt x="118761" y="149328"/>
                  </a:cubicBezTo>
                  <a:cubicBezTo>
                    <a:pt x="122820" y="148727"/>
                    <a:pt x="126929" y="146672"/>
                    <a:pt x="131238" y="144468"/>
                  </a:cubicBezTo>
                  <a:cubicBezTo>
                    <a:pt x="133393" y="143365"/>
                    <a:pt x="135648" y="142213"/>
                    <a:pt x="137953" y="141210"/>
                  </a:cubicBezTo>
                  <a:lnTo>
                    <a:pt x="138955" y="140759"/>
                  </a:lnTo>
                  <a:lnTo>
                    <a:pt x="140008" y="141160"/>
                  </a:lnTo>
                  <a:cubicBezTo>
                    <a:pt x="157847" y="148075"/>
                    <a:pt x="176287" y="155241"/>
                    <a:pt x="194227" y="162156"/>
                  </a:cubicBezTo>
                  <a:lnTo>
                    <a:pt x="195630" y="160803"/>
                  </a:lnTo>
                  <a:cubicBezTo>
                    <a:pt x="205451" y="151383"/>
                    <a:pt x="206704" y="150180"/>
                    <a:pt x="216977" y="149930"/>
                  </a:cubicBezTo>
                  <a:cubicBezTo>
                    <a:pt x="235918" y="149479"/>
                    <a:pt x="247093" y="136901"/>
                    <a:pt x="256864" y="124073"/>
                  </a:cubicBezTo>
                  <a:cubicBezTo>
                    <a:pt x="262527" y="116606"/>
                    <a:pt x="264231" y="108088"/>
                    <a:pt x="262126" y="97164"/>
                  </a:cubicBezTo>
                  <a:cubicBezTo>
                    <a:pt x="258618" y="78673"/>
                    <a:pt x="249448" y="68651"/>
                    <a:pt x="233212" y="65594"/>
                  </a:cubicBezTo>
                  <a:cubicBezTo>
                    <a:pt x="231809" y="65344"/>
                    <a:pt x="230707" y="64692"/>
                    <a:pt x="229304" y="63890"/>
                  </a:cubicBezTo>
                  <a:cubicBezTo>
                    <a:pt x="228652" y="63490"/>
                    <a:pt x="227901" y="63089"/>
                    <a:pt x="226949" y="62588"/>
                  </a:cubicBezTo>
                  <a:lnTo>
                    <a:pt x="226197" y="62187"/>
                  </a:lnTo>
                  <a:lnTo>
                    <a:pt x="225796" y="61435"/>
                  </a:lnTo>
                  <a:cubicBezTo>
                    <a:pt x="224944" y="59781"/>
                    <a:pt x="224042" y="58078"/>
                    <a:pt x="223140" y="56274"/>
                  </a:cubicBezTo>
                  <a:cubicBezTo>
                    <a:pt x="220885" y="51814"/>
                    <a:pt x="218280" y="46753"/>
                    <a:pt x="215473" y="41942"/>
                  </a:cubicBezTo>
                  <a:cubicBezTo>
                    <a:pt x="213870" y="39186"/>
                    <a:pt x="211715" y="35478"/>
                    <a:pt x="209210" y="34275"/>
                  </a:cubicBezTo>
                  <a:cubicBezTo>
                    <a:pt x="198236" y="29014"/>
                    <a:pt x="187913" y="24053"/>
                    <a:pt x="175436" y="28463"/>
                  </a:cubicBezTo>
                  <a:cubicBezTo>
                    <a:pt x="168420" y="30968"/>
                    <a:pt x="161154" y="32722"/>
                    <a:pt x="154038" y="34376"/>
                  </a:cubicBezTo>
                  <a:cubicBezTo>
                    <a:pt x="148276" y="35729"/>
                    <a:pt x="142313" y="37182"/>
                    <a:pt x="136650" y="3898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62" name="Полилиния: фигура 61">
              <a:extLst>
                <a:ext uri="{FF2B5EF4-FFF2-40B4-BE49-F238E27FC236}">
                  <a16:creationId xmlns:a16="http://schemas.microsoft.com/office/drawing/2014/main" id="{7E10455F-B113-46FB-8B69-6AD3E7E8CD4A}"/>
                </a:ext>
              </a:extLst>
            </p:cNvPr>
            <p:cNvSpPr/>
            <p:nvPr/>
          </p:nvSpPr>
          <p:spPr>
            <a:xfrm>
              <a:off x="1056482" y="3252190"/>
              <a:ext cx="311239" cy="298343"/>
            </a:xfrm>
            <a:custGeom>
              <a:avLst/>
              <a:gdLst>
                <a:gd name="connsiteX0" fmla="*/ 77771 w 249566"/>
                <a:gd name="connsiteY0" fmla="*/ 10824 h 239225"/>
                <a:gd name="connsiteX1" fmla="*/ 76268 w 249566"/>
                <a:gd name="connsiteY1" fmla="*/ 11625 h 239225"/>
                <a:gd name="connsiteX2" fmla="*/ 60884 w 249566"/>
                <a:gd name="connsiteY2" fmla="*/ 0 h 239225"/>
                <a:gd name="connsiteX3" fmla="*/ 58328 w 249566"/>
                <a:gd name="connsiteY3" fmla="*/ 2055 h 239225"/>
                <a:gd name="connsiteX4" fmla="*/ 49759 w 249566"/>
                <a:gd name="connsiteY4" fmla="*/ 9170 h 239225"/>
                <a:gd name="connsiteX5" fmla="*/ 23151 w 249566"/>
                <a:gd name="connsiteY5" fmla="*/ 20144 h 239225"/>
                <a:gd name="connsiteX6" fmla="*/ 0 w 249566"/>
                <a:gd name="connsiteY6" fmla="*/ 46252 h 239225"/>
                <a:gd name="connsiteX7" fmla="*/ 3207 w 249566"/>
                <a:gd name="connsiteY7" fmla="*/ 52014 h 239225"/>
                <a:gd name="connsiteX8" fmla="*/ 12327 w 249566"/>
                <a:gd name="connsiteY8" fmla="*/ 67598 h 239225"/>
                <a:gd name="connsiteX9" fmla="*/ 19493 w 249566"/>
                <a:gd name="connsiteY9" fmla="*/ 77420 h 239225"/>
                <a:gd name="connsiteX10" fmla="*/ 27611 w 249566"/>
                <a:gd name="connsiteY10" fmla="*/ 88645 h 239225"/>
                <a:gd name="connsiteX11" fmla="*/ 32371 w 249566"/>
                <a:gd name="connsiteY11" fmla="*/ 102675 h 239225"/>
                <a:gd name="connsiteX12" fmla="*/ 32371 w 249566"/>
                <a:gd name="connsiteY12" fmla="*/ 121517 h 239225"/>
                <a:gd name="connsiteX13" fmla="*/ 31068 w 249566"/>
                <a:gd name="connsiteY13" fmla="*/ 134195 h 239225"/>
                <a:gd name="connsiteX14" fmla="*/ 30617 w 249566"/>
                <a:gd name="connsiteY14" fmla="*/ 137652 h 239225"/>
                <a:gd name="connsiteX15" fmla="*/ 55171 w 249566"/>
                <a:gd name="connsiteY15" fmla="*/ 147023 h 239225"/>
                <a:gd name="connsiteX16" fmla="*/ 58378 w 249566"/>
                <a:gd name="connsiteY16" fmla="*/ 146873 h 239225"/>
                <a:gd name="connsiteX17" fmla="*/ 84636 w 249566"/>
                <a:gd name="connsiteY17" fmla="*/ 163509 h 239225"/>
                <a:gd name="connsiteX18" fmla="*/ 109491 w 249566"/>
                <a:gd name="connsiteY18" fmla="*/ 184255 h 239225"/>
                <a:gd name="connsiteX19" fmla="*/ 150431 w 249566"/>
                <a:gd name="connsiteY19" fmla="*/ 202946 h 239225"/>
                <a:gd name="connsiteX20" fmla="*/ 161455 w 249566"/>
                <a:gd name="connsiteY20" fmla="*/ 208257 h 239225"/>
                <a:gd name="connsiteX21" fmla="*/ 206303 w 249566"/>
                <a:gd name="connsiteY21" fmla="*/ 239225 h 239225"/>
                <a:gd name="connsiteX22" fmla="*/ 225596 w 249566"/>
                <a:gd name="connsiteY22" fmla="*/ 212717 h 239225"/>
                <a:gd name="connsiteX23" fmla="*/ 242934 w 249566"/>
                <a:gd name="connsiteY23" fmla="*/ 220434 h 239225"/>
                <a:gd name="connsiteX24" fmla="*/ 244237 w 249566"/>
                <a:gd name="connsiteY24" fmla="*/ 198636 h 239225"/>
                <a:gd name="connsiteX25" fmla="*/ 240679 w 249566"/>
                <a:gd name="connsiteY25" fmla="*/ 194778 h 239225"/>
                <a:gd name="connsiteX26" fmla="*/ 233563 w 249566"/>
                <a:gd name="connsiteY26" fmla="*/ 185007 h 239225"/>
                <a:gd name="connsiteX27" fmla="*/ 205501 w 249566"/>
                <a:gd name="connsiteY27" fmla="*/ 157747 h 239225"/>
                <a:gd name="connsiteX28" fmla="*/ 203798 w 249566"/>
                <a:gd name="connsiteY28" fmla="*/ 156995 h 239225"/>
                <a:gd name="connsiteX29" fmla="*/ 203898 w 249566"/>
                <a:gd name="connsiteY29" fmla="*/ 155141 h 239225"/>
                <a:gd name="connsiteX30" fmla="*/ 192523 w 249566"/>
                <a:gd name="connsiteY30" fmla="*/ 115253 h 239225"/>
                <a:gd name="connsiteX31" fmla="*/ 186861 w 249566"/>
                <a:gd name="connsiteY31" fmla="*/ 98416 h 239225"/>
                <a:gd name="connsiteX32" fmla="*/ 186560 w 249566"/>
                <a:gd name="connsiteY32" fmla="*/ 96211 h 239225"/>
                <a:gd name="connsiteX33" fmla="*/ 184305 w 249566"/>
                <a:gd name="connsiteY33" fmla="*/ 74664 h 239225"/>
                <a:gd name="connsiteX34" fmla="*/ 183553 w 249566"/>
                <a:gd name="connsiteY34" fmla="*/ 66095 h 239225"/>
                <a:gd name="connsiteX35" fmla="*/ 143766 w 249566"/>
                <a:gd name="connsiteY35" fmla="*/ 46302 h 239225"/>
                <a:gd name="connsiteX36" fmla="*/ 140910 w 249566"/>
                <a:gd name="connsiteY36" fmla="*/ 20044 h 239225"/>
                <a:gd name="connsiteX37" fmla="*/ 77821 w 249566"/>
                <a:gd name="connsiteY37" fmla="*/ 10874 h 239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9566" h="239225">
                  <a:moveTo>
                    <a:pt x="77771" y="10824"/>
                  </a:moveTo>
                  <a:lnTo>
                    <a:pt x="76268" y="11625"/>
                  </a:lnTo>
                  <a:lnTo>
                    <a:pt x="60884" y="0"/>
                  </a:lnTo>
                  <a:cubicBezTo>
                    <a:pt x="60032" y="701"/>
                    <a:pt x="59180" y="1353"/>
                    <a:pt x="58328" y="2055"/>
                  </a:cubicBezTo>
                  <a:cubicBezTo>
                    <a:pt x="55322" y="4460"/>
                    <a:pt x="52465" y="6715"/>
                    <a:pt x="49759" y="9170"/>
                  </a:cubicBezTo>
                  <a:cubicBezTo>
                    <a:pt x="38635" y="19342"/>
                    <a:pt x="37583" y="19894"/>
                    <a:pt x="23151" y="20144"/>
                  </a:cubicBezTo>
                  <a:lnTo>
                    <a:pt x="0" y="46252"/>
                  </a:lnTo>
                  <a:cubicBezTo>
                    <a:pt x="1102" y="48206"/>
                    <a:pt x="2155" y="50110"/>
                    <a:pt x="3207" y="52014"/>
                  </a:cubicBezTo>
                  <a:cubicBezTo>
                    <a:pt x="6214" y="57526"/>
                    <a:pt x="9120" y="62688"/>
                    <a:pt x="12327" y="67598"/>
                  </a:cubicBezTo>
                  <a:cubicBezTo>
                    <a:pt x="14532" y="70956"/>
                    <a:pt x="17037" y="74263"/>
                    <a:pt x="19493" y="77420"/>
                  </a:cubicBezTo>
                  <a:cubicBezTo>
                    <a:pt x="22249" y="80978"/>
                    <a:pt x="25105" y="84686"/>
                    <a:pt x="27611" y="88645"/>
                  </a:cubicBezTo>
                  <a:cubicBezTo>
                    <a:pt x="30066" y="92503"/>
                    <a:pt x="31770" y="97514"/>
                    <a:pt x="32371" y="102675"/>
                  </a:cubicBezTo>
                  <a:cubicBezTo>
                    <a:pt x="33073" y="108989"/>
                    <a:pt x="32722" y="115353"/>
                    <a:pt x="32371" y="121517"/>
                  </a:cubicBezTo>
                  <a:cubicBezTo>
                    <a:pt x="32070" y="126127"/>
                    <a:pt x="31519" y="130386"/>
                    <a:pt x="31068" y="134195"/>
                  </a:cubicBezTo>
                  <a:cubicBezTo>
                    <a:pt x="30918" y="135397"/>
                    <a:pt x="30768" y="136550"/>
                    <a:pt x="30617" y="137652"/>
                  </a:cubicBezTo>
                  <a:cubicBezTo>
                    <a:pt x="36280" y="147674"/>
                    <a:pt x="44748" y="147825"/>
                    <a:pt x="55171" y="147023"/>
                  </a:cubicBezTo>
                  <a:cubicBezTo>
                    <a:pt x="56274" y="146923"/>
                    <a:pt x="57326" y="146873"/>
                    <a:pt x="58378" y="146873"/>
                  </a:cubicBezTo>
                  <a:cubicBezTo>
                    <a:pt x="70505" y="146873"/>
                    <a:pt x="79525" y="152585"/>
                    <a:pt x="84636" y="163509"/>
                  </a:cubicBezTo>
                  <a:cubicBezTo>
                    <a:pt x="89697" y="174333"/>
                    <a:pt x="98216" y="179595"/>
                    <a:pt x="109491" y="184255"/>
                  </a:cubicBezTo>
                  <a:cubicBezTo>
                    <a:pt x="122920" y="189767"/>
                    <a:pt x="136700" y="196031"/>
                    <a:pt x="150431" y="202946"/>
                  </a:cubicBezTo>
                  <a:cubicBezTo>
                    <a:pt x="154038" y="204750"/>
                    <a:pt x="157747" y="206504"/>
                    <a:pt x="161455" y="208257"/>
                  </a:cubicBezTo>
                  <a:cubicBezTo>
                    <a:pt x="177390" y="215774"/>
                    <a:pt x="193826" y="223491"/>
                    <a:pt x="206303" y="239225"/>
                  </a:cubicBezTo>
                  <a:lnTo>
                    <a:pt x="225596" y="212717"/>
                  </a:lnTo>
                  <a:lnTo>
                    <a:pt x="242934" y="220434"/>
                  </a:lnTo>
                  <a:cubicBezTo>
                    <a:pt x="251703" y="207807"/>
                    <a:pt x="251402" y="207456"/>
                    <a:pt x="244237" y="198636"/>
                  </a:cubicBezTo>
                  <a:cubicBezTo>
                    <a:pt x="243184" y="197333"/>
                    <a:pt x="241932" y="196031"/>
                    <a:pt x="240679" y="194778"/>
                  </a:cubicBezTo>
                  <a:cubicBezTo>
                    <a:pt x="237873" y="191872"/>
                    <a:pt x="234916" y="188865"/>
                    <a:pt x="233563" y="185007"/>
                  </a:cubicBezTo>
                  <a:cubicBezTo>
                    <a:pt x="229204" y="172880"/>
                    <a:pt x="220535" y="164461"/>
                    <a:pt x="205501" y="157747"/>
                  </a:cubicBezTo>
                  <a:lnTo>
                    <a:pt x="203798" y="156995"/>
                  </a:lnTo>
                  <a:lnTo>
                    <a:pt x="203898" y="155141"/>
                  </a:lnTo>
                  <a:cubicBezTo>
                    <a:pt x="205051" y="137252"/>
                    <a:pt x="201643" y="125325"/>
                    <a:pt x="192523" y="115253"/>
                  </a:cubicBezTo>
                  <a:cubicBezTo>
                    <a:pt x="188665" y="110994"/>
                    <a:pt x="187712" y="104329"/>
                    <a:pt x="186861" y="98416"/>
                  </a:cubicBezTo>
                  <a:lnTo>
                    <a:pt x="186560" y="96211"/>
                  </a:lnTo>
                  <a:cubicBezTo>
                    <a:pt x="185508" y="89146"/>
                    <a:pt x="184906" y="82130"/>
                    <a:pt x="184305" y="74664"/>
                  </a:cubicBezTo>
                  <a:cubicBezTo>
                    <a:pt x="184054" y="71858"/>
                    <a:pt x="183804" y="69052"/>
                    <a:pt x="183553" y="66095"/>
                  </a:cubicBezTo>
                  <a:lnTo>
                    <a:pt x="143766" y="46302"/>
                  </a:lnTo>
                  <a:lnTo>
                    <a:pt x="140910" y="20044"/>
                  </a:lnTo>
                  <a:cubicBezTo>
                    <a:pt x="121968" y="1403"/>
                    <a:pt x="101323" y="-1604"/>
                    <a:pt x="77821" y="1087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63" name="Полилиния: фигура 62">
              <a:extLst>
                <a:ext uri="{FF2B5EF4-FFF2-40B4-BE49-F238E27FC236}">
                  <a16:creationId xmlns:a16="http://schemas.microsoft.com/office/drawing/2014/main" id="{4A687A1E-1D2B-4E9A-BD18-3235EDA97719}"/>
                </a:ext>
              </a:extLst>
            </p:cNvPr>
            <p:cNvSpPr/>
            <p:nvPr/>
          </p:nvSpPr>
          <p:spPr>
            <a:xfrm>
              <a:off x="6590399" y="903714"/>
              <a:ext cx="229717" cy="278941"/>
            </a:xfrm>
            <a:custGeom>
              <a:avLst/>
              <a:gdLst>
                <a:gd name="connsiteX0" fmla="*/ 102525 w 184198"/>
                <a:gd name="connsiteY0" fmla="*/ 79252 h 223668"/>
                <a:gd name="connsiteX1" fmla="*/ 96662 w 184198"/>
                <a:gd name="connsiteY1" fmla="*/ 72587 h 223668"/>
                <a:gd name="connsiteX2" fmla="*/ 95460 w 184198"/>
                <a:gd name="connsiteY2" fmla="*/ 67877 h 223668"/>
                <a:gd name="connsiteX3" fmla="*/ 95460 w 184198"/>
                <a:gd name="connsiteY3" fmla="*/ 67677 h 223668"/>
                <a:gd name="connsiteX4" fmla="*/ 92103 w 184198"/>
                <a:gd name="connsiteY4" fmla="*/ 67677 h 223668"/>
                <a:gd name="connsiteX5" fmla="*/ 75416 w 184198"/>
                <a:gd name="connsiteY5" fmla="*/ 62014 h 223668"/>
                <a:gd name="connsiteX6" fmla="*/ 73913 w 184198"/>
                <a:gd name="connsiteY6" fmla="*/ 60360 h 223668"/>
                <a:gd name="connsiteX7" fmla="*/ 75265 w 184198"/>
                <a:gd name="connsiteY7" fmla="*/ 58607 h 223668"/>
                <a:gd name="connsiteX8" fmla="*/ 96662 w 184198"/>
                <a:gd name="connsiteY8" fmla="*/ 43423 h 223668"/>
                <a:gd name="connsiteX9" fmla="*/ 98116 w 184198"/>
                <a:gd name="connsiteY9" fmla="*/ 42772 h 223668"/>
                <a:gd name="connsiteX10" fmla="*/ 116756 w 184198"/>
                <a:gd name="connsiteY10" fmla="*/ 8497 h 223668"/>
                <a:gd name="connsiteX11" fmla="*/ 71858 w 184198"/>
                <a:gd name="connsiteY11" fmla="*/ 2884 h 223668"/>
                <a:gd name="connsiteX12" fmla="*/ 61986 w 184198"/>
                <a:gd name="connsiteY12" fmla="*/ 5239 h 223668"/>
                <a:gd name="connsiteX13" fmla="*/ 26558 w 184198"/>
                <a:gd name="connsiteY13" fmla="*/ 24331 h 223668"/>
                <a:gd name="connsiteX14" fmla="*/ 27962 w 184198"/>
                <a:gd name="connsiteY14" fmla="*/ 29543 h 223668"/>
                <a:gd name="connsiteX15" fmla="*/ 26208 w 184198"/>
                <a:gd name="connsiteY15" fmla="*/ 50589 h 223668"/>
                <a:gd name="connsiteX16" fmla="*/ 25757 w 184198"/>
                <a:gd name="connsiteY16" fmla="*/ 51190 h 223668"/>
                <a:gd name="connsiteX17" fmla="*/ 25055 w 184198"/>
                <a:gd name="connsiteY17" fmla="*/ 51441 h 223668"/>
                <a:gd name="connsiteX18" fmla="*/ 19342 w 184198"/>
                <a:gd name="connsiteY18" fmla="*/ 53495 h 223668"/>
                <a:gd name="connsiteX19" fmla="*/ 0 w 184198"/>
                <a:gd name="connsiteY19" fmla="*/ 69330 h 223668"/>
                <a:gd name="connsiteX20" fmla="*/ 451 w 184198"/>
                <a:gd name="connsiteY20" fmla="*/ 71685 h 223668"/>
                <a:gd name="connsiteX21" fmla="*/ 4159 w 184198"/>
                <a:gd name="connsiteY21" fmla="*/ 90477 h 223668"/>
                <a:gd name="connsiteX22" fmla="*/ 13680 w 184198"/>
                <a:gd name="connsiteY22" fmla="*/ 97592 h 223668"/>
                <a:gd name="connsiteX23" fmla="*/ 20896 w 184198"/>
                <a:gd name="connsiteY23" fmla="*/ 103004 h 223668"/>
                <a:gd name="connsiteX24" fmla="*/ 17589 w 184198"/>
                <a:gd name="connsiteY24" fmla="*/ 111222 h 223668"/>
                <a:gd name="connsiteX25" fmla="*/ 13480 w 184198"/>
                <a:gd name="connsiteY25" fmla="*/ 121445 h 223668"/>
                <a:gd name="connsiteX26" fmla="*/ 17088 w 184198"/>
                <a:gd name="connsiteY26" fmla="*/ 141338 h 223668"/>
                <a:gd name="connsiteX27" fmla="*/ 22349 w 184198"/>
                <a:gd name="connsiteY27" fmla="*/ 161132 h 223668"/>
                <a:gd name="connsiteX28" fmla="*/ 26007 w 184198"/>
                <a:gd name="connsiteY28" fmla="*/ 166293 h 223668"/>
                <a:gd name="connsiteX29" fmla="*/ 28012 w 184198"/>
                <a:gd name="connsiteY29" fmla="*/ 168598 h 223668"/>
                <a:gd name="connsiteX30" fmla="*/ 46101 w 184198"/>
                <a:gd name="connsiteY30" fmla="*/ 159929 h 223668"/>
                <a:gd name="connsiteX31" fmla="*/ 51413 w 184198"/>
                <a:gd name="connsiteY31" fmla="*/ 178520 h 223668"/>
                <a:gd name="connsiteX32" fmla="*/ 56324 w 184198"/>
                <a:gd name="connsiteY32" fmla="*/ 178270 h 223668"/>
                <a:gd name="connsiteX33" fmla="*/ 94959 w 184198"/>
                <a:gd name="connsiteY33" fmla="*/ 200318 h 223668"/>
                <a:gd name="connsiteX34" fmla="*/ 100822 w 184198"/>
                <a:gd name="connsiteY34" fmla="*/ 206281 h 223668"/>
                <a:gd name="connsiteX35" fmla="*/ 104880 w 184198"/>
                <a:gd name="connsiteY35" fmla="*/ 210240 h 223668"/>
                <a:gd name="connsiteX36" fmla="*/ 138755 w 184198"/>
                <a:gd name="connsiteY36" fmla="*/ 223118 h 223668"/>
                <a:gd name="connsiteX37" fmla="*/ 142463 w 184198"/>
                <a:gd name="connsiteY37" fmla="*/ 223619 h 223668"/>
                <a:gd name="connsiteX38" fmla="*/ 149128 w 184198"/>
                <a:gd name="connsiteY38" fmla="*/ 221264 h 223668"/>
                <a:gd name="connsiteX39" fmla="*/ 156344 w 184198"/>
                <a:gd name="connsiteY39" fmla="*/ 216203 h 223668"/>
                <a:gd name="connsiteX40" fmla="*/ 172479 w 184198"/>
                <a:gd name="connsiteY40" fmla="*/ 202022 h 223668"/>
                <a:gd name="connsiteX41" fmla="*/ 164161 w 184198"/>
                <a:gd name="connsiteY41" fmla="*/ 166694 h 223668"/>
                <a:gd name="connsiteX42" fmla="*/ 160302 w 184198"/>
                <a:gd name="connsiteY42" fmla="*/ 150208 h 223668"/>
                <a:gd name="connsiteX43" fmla="*/ 160753 w 184198"/>
                <a:gd name="connsiteY43" fmla="*/ 149356 h 223668"/>
                <a:gd name="connsiteX44" fmla="*/ 164512 w 184198"/>
                <a:gd name="connsiteY44" fmla="*/ 142391 h 223668"/>
                <a:gd name="connsiteX45" fmla="*/ 170725 w 184198"/>
                <a:gd name="connsiteY45" fmla="*/ 128811 h 223668"/>
                <a:gd name="connsiteX46" fmla="*/ 183503 w 184198"/>
                <a:gd name="connsiteY46" fmla="*/ 68829 h 223668"/>
                <a:gd name="connsiteX47" fmla="*/ 183102 w 184198"/>
                <a:gd name="connsiteY47" fmla="*/ 56803 h 223668"/>
                <a:gd name="connsiteX48" fmla="*/ 179444 w 184198"/>
                <a:gd name="connsiteY48" fmla="*/ 49437 h 223668"/>
                <a:gd name="connsiteX49" fmla="*/ 161656 w 184198"/>
                <a:gd name="connsiteY49" fmla="*/ 21325 h 223668"/>
                <a:gd name="connsiteX50" fmla="*/ 160803 w 184198"/>
                <a:gd name="connsiteY50" fmla="*/ 21575 h 223668"/>
                <a:gd name="connsiteX51" fmla="*/ 158248 w 184198"/>
                <a:gd name="connsiteY51" fmla="*/ 22477 h 223668"/>
                <a:gd name="connsiteX52" fmla="*/ 131739 w 184198"/>
                <a:gd name="connsiteY52" fmla="*/ 49837 h 223668"/>
                <a:gd name="connsiteX53" fmla="*/ 108990 w 184198"/>
                <a:gd name="connsiteY53" fmla="*/ 78200 h 223668"/>
                <a:gd name="connsiteX54" fmla="*/ 102475 w 184198"/>
                <a:gd name="connsiteY54" fmla="*/ 79402 h 22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184198" h="223668">
                  <a:moveTo>
                    <a:pt x="102525" y="79252"/>
                  </a:moveTo>
                  <a:cubicBezTo>
                    <a:pt x="100020" y="78450"/>
                    <a:pt x="98015" y="76195"/>
                    <a:pt x="96662" y="72587"/>
                  </a:cubicBezTo>
                  <a:cubicBezTo>
                    <a:pt x="96061" y="71034"/>
                    <a:pt x="95761" y="69430"/>
                    <a:pt x="95460" y="67877"/>
                  </a:cubicBezTo>
                  <a:cubicBezTo>
                    <a:pt x="95460" y="67827"/>
                    <a:pt x="95460" y="67727"/>
                    <a:pt x="95460" y="67677"/>
                  </a:cubicBezTo>
                  <a:cubicBezTo>
                    <a:pt x="94357" y="67677"/>
                    <a:pt x="93255" y="67677"/>
                    <a:pt x="92103" y="67677"/>
                  </a:cubicBezTo>
                  <a:cubicBezTo>
                    <a:pt x="86540" y="67677"/>
                    <a:pt x="80527" y="67677"/>
                    <a:pt x="75416" y="62014"/>
                  </a:cubicBezTo>
                  <a:lnTo>
                    <a:pt x="73913" y="60360"/>
                  </a:lnTo>
                  <a:lnTo>
                    <a:pt x="75265" y="58607"/>
                  </a:lnTo>
                  <a:cubicBezTo>
                    <a:pt x="81379" y="50539"/>
                    <a:pt x="89497" y="46781"/>
                    <a:pt x="96662" y="43423"/>
                  </a:cubicBezTo>
                  <a:lnTo>
                    <a:pt x="98116" y="42772"/>
                  </a:lnTo>
                  <a:cubicBezTo>
                    <a:pt x="111495" y="36558"/>
                    <a:pt x="117108" y="26236"/>
                    <a:pt x="116756" y="8497"/>
                  </a:cubicBezTo>
                  <a:cubicBezTo>
                    <a:pt x="104680" y="-573"/>
                    <a:pt x="90750" y="-2277"/>
                    <a:pt x="71858" y="2884"/>
                  </a:cubicBezTo>
                  <a:cubicBezTo>
                    <a:pt x="68651" y="3786"/>
                    <a:pt x="65293" y="4488"/>
                    <a:pt x="61986" y="5239"/>
                  </a:cubicBezTo>
                  <a:cubicBezTo>
                    <a:pt x="48106" y="8346"/>
                    <a:pt x="34977" y="11253"/>
                    <a:pt x="26558" y="24331"/>
                  </a:cubicBezTo>
                  <a:cubicBezTo>
                    <a:pt x="26859" y="25985"/>
                    <a:pt x="27410" y="27739"/>
                    <a:pt x="27962" y="29543"/>
                  </a:cubicBezTo>
                  <a:cubicBezTo>
                    <a:pt x="29866" y="35857"/>
                    <a:pt x="32020" y="42972"/>
                    <a:pt x="26208" y="50589"/>
                  </a:cubicBezTo>
                  <a:lnTo>
                    <a:pt x="25757" y="51190"/>
                  </a:lnTo>
                  <a:lnTo>
                    <a:pt x="25055" y="51441"/>
                  </a:lnTo>
                  <a:cubicBezTo>
                    <a:pt x="23201" y="52193"/>
                    <a:pt x="21297" y="52844"/>
                    <a:pt x="19342" y="53495"/>
                  </a:cubicBezTo>
                  <a:cubicBezTo>
                    <a:pt x="10924" y="56352"/>
                    <a:pt x="2957" y="59008"/>
                    <a:pt x="0" y="69330"/>
                  </a:cubicBezTo>
                  <a:lnTo>
                    <a:pt x="451" y="71685"/>
                  </a:lnTo>
                  <a:cubicBezTo>
                    <a:pt x="1704" y="78049"/>
                    <a:pt x="3007" y="84714"/>
                    <a:pt x="4159" y="90477"/>
                  </a:cubicBezTo>
                  <a:cubicBezTo>
                    <a:pt x="7717" y="93082"/>
                    <a:pt x="10774" y="95387"/>
                    <a:pt x="13680" y="97592"/>
                  </a:cubicBezTo>
                  <a:lnTo>
                    <a:pt x="20896" y="103004"/>
                  </a:lnTo>
                  <a:lnTo>
                    <a:pt x="17589" y="111222"/>
                  </a:lnTo>
                  <a:cubicBezTo>
                    <a:pt x="16136" y="114880"/>
                    <a:pt x="14833" y="118188"/>
                    <a:pt x="13480" y="121445"/>
                  </a:cubicBezTo>
                  <a:cubicBezTo>
                    <a:pt x="10623" y="128611"/>
                    <a:pt x="13580" y="134523"/>
                    <a:pt x="17088" y="141338"/>
                  </a:cubicBezTo>
                  <a:cubicBezTo>
                    <a:pt x="20144" y="147352"/>
                    <a:pt x="23351" y="153615"/>
                    <a:pt x="22349" y="161132"/>
                  </a:cubicBezTo>
                  <a:cubicBezTo>
                    <a:pt x="22199" y="162084"/>
                    <a:pt x="24704" y="164840"/>
                    <a:pt x="26007" y="166293"/>
                  </a:cubicBezTo>
                  <a:cubicBezTo>
                    <a:pt x="26709" y="167045"/>
                    <a:pt x="27360" y="167797"/>
                    <a:pt x="28012" y="168598"/>
                  </a:cubicBezTo>
                  <a:lnTo>
                    <a:pt x="46101" y="159929"/>
                  </a:lnTo>
                  <a:lnTo>
                    <a:pt x="51413" y="178520"/>
                  </a:lnTo>
                  <a:cubicBezTo>
                    <a:pt x="53117" y="178320"/>
                    <a:pt x="54720" y="178270"/>
                    <a:pt x="56324" y="178270"/>
                  </a:cubicBezTo>
                  <a:cubicBezTo>
                    <a:pt x="74213" y="178270"/>
                    <a:pt x="85588" y="189494"/>
                    <a:pt x="94959" y="200318"/>
                  </a:cubicBezTo>
                  <a:cubicBezTo>
                    <a:pt x="96763" y="202373"/>
                    <a:pt x="98717" y="204277"/>
                    <a:pt x="100822" y="206281"/>
                  </a:cubicBezTo>
                  <a:cubicBezTo>
                    <a:pt x="102174" y="207584"/>
                    <a:pt x="103577" y="208887"/>
                    <a:pt x="104880" y="210240"/>
                  </a:cubicBezTo>
                  <a:cubicBezTo>
                    <a:pt x="114051" y="219711"/>
                    <a:pt x="126027" y="221364"/>
                    <a:pt x="138755" y="223118"/>
                  </a:cubicBezTo>
                  <a:lnTo>
                    <a:pt x="142463" y="223619"/>
                  </a:lnTo>
                  <a:cubicBezTo>
                    <a:pt x="144217" y="223920"/>
                    <a:pt x="147123" y="222817"/>
                    <a:pt x="149128" y="221264"/>
                  </a:cubicBezTo>
                  <a:cubicBezTo>
                    <a:pt x="151483" y="219510"/>
                    <a:pt x="153938" y="217857"/>
                    <a:pt x="156344" y="216203"/>
                  </a:cubicBezTo>
                  <a:cubicBezTo>
                    <a:pt x="162658" y="211994"/>
                    <a:pt x="168620" y="207985"/>
                    <a:pt x="172479" y="202022"/>
                  </a:cubicBezTo>
                  <a:cubicBezTo>
                    <a:pt x="169623" y="189895"/>
                    <a:pt x="166867" y="178069"/>
                    <a:pt x="164161" y="166694"/>
                  </a:cubicBezTo>
                  <a:lnTo>
                    <a:pt x="160302" y="150208"/>
                  </a:lnTo>
                  <a:lnTo>
                    <a:pt x="160753" y="149356"/>
                  </a:lnTo>
                  <a:cubicBezTo>
                    <a:pt x="161956" y="146951"/>
                    <a:pt x="163259" y="144646"/>
                    <a:pt x="164512" y="142391"/>
                  </a:cubicBezTo>
                  <a:cubicBezTo>
                    <a:pt x="167117" y="137731"/>
                    <a:pt x="169623" y="133371"/>
                    <a:pt x="170725" y="128811"/>
                  </a:cubicBezTo>
                  <a:cubicBezTo>
                    <a:pt x="175887" y="108216"/>
                    <a:pt x="180146" y="86368"/>
                    <a:pt x="183503" y="68829"/>
                  </a:cubicBezTo>
                  <a:cubicBezTo>
                    <a:pt x="184556" y="63467"/>
                    <a:pt x="184405" y="59258"/>
                    <a:pt x="183102" y="56803"/>
                  </a:cubicBezTo>
                  <a:cubicBezTo>
                    <a:pt x="181849" y="54347"/>
                    <a:pt x="180647" y="51892"/>
                    <a:pt x="179444" y="49437"/>
                  </a:cubicBezTo>
                  <a:cubicBezTo>
                    <a:pt x="174584" y="39415"/>
                    <a:pt x="169523" y="29142"/>
                    <a:pt x="161656" y="21325"/>
                  </a:cubicBezTo>
                  <a:cubicBezTo>
                    <a:pt x="161355" y="21425"/>
                    <a:pt x="161054" y="21475"/>
                    <a:pt x="160803" y="21575"/>
                  </a:cubicBezTo>
                  <a:cubicBezTo>
                    <a:pt x="159801" y="21876"/>
                    <a:pt x="159000" y="22076"/>
                    <a:pt x="158248" y="22477"/>
                  </a:cubicBezTo>
                  <a:cubicBezTo>
                    <a:pt x="147474" y="28140"/>
                    <a:pt x="139056" y="36859"/>
                    <a:pt x="131739" y="49837"/>
                  </a:cubicBezTo>
                  <a:cubicBezTo>
                    <a:pt x="125877" y="60310"/>
                    <a:pt x="119813" y="71084"/>
                    <a:pt x="108990" y="78200"/>
                  </a:cubicBezTo>
                  <a:cubicBezTo>
                    <a:pt x="106233" y="80004"/>
                    <a:pt x="103929" y="79853"/>
                    <a:pt x="102475" y="7940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64" name="Полилиния: фигура 63">
              <a:extLst>
                <a:ext uri="{FF2B5EF4-FFF2-40B4-BE49-F238E27FC236}">
                  <a16:creationId xmlns:a16="http://schemas.microsoft.com/office/drawing/2014/main" id="{8D5349EA-891F-401B-8C43-FA2F08ED5DFC}"/>
                </a:ext>
              </a:extLst>
            </p:cNvPr>
            <p:cNvSpPr/>
            <p:nvPr/>
          </p:nvSpPr>
          <p:spPr>
            <a:xfrm>
              <a:off x="2331413" y="3407541"/>
              <a:ext cx="317025" cy="222715"/>
            </a:xfrm>
            <a:custGeom>
              <a:avLst/>
              <a:gdLst>
                <a:gd name="connsiteX0" fmla="*/ 108386 w 254205"/>
                <a:gd name="connsiteY0" fmla="*/ 174941 h 178583"/>
                <a:gd name="connsiteX1" fmla="*/ 124571 w 254205"/>
                <a:gd name="connsiteY1" fmla="*/ 177045 h 178583"/>
                <a:gd name="connsiteX2" fmla="*/ 140556 w 254205"/>
                <a:gd name="connsiteY2" fmla="*/ 173889 h 178583"/>
                <a:gd name="connsiteX3" fmla="*/ 163507 w 254205"/>
                <a:gd name="connsiteY3" fmla="*/ 165671 h 178583"/>
                <a:gd name="connsiteX4" fmla="*/ 169720 w 254205"/>
                <a:gd name="connsiteY4" fmla="*/ 163967 h 178583"/>
                <a:gd name="connsiteX5" fmla="*/ 177137 w 254205"/>
                <a:gd name="connsiteY5" fmla="*/ 163716 h 178583"/>
                <a:gd name="connsiteX6" fmla="*/ 187459 w 254205"/>
                <a:gd name="connsiteY6" fmla="*/ 163416 h 178583"/>
                <a:gd name="connsiteX7" fmla="*/ 221334 w 254205"/>
                <a:gd name="connsiteY7" fmla="*/ 174189 h 178583"/>
                <a:gd name="connsiteX8" fmla="*/ 243683 w 254205"/>
                <a:gd name="connsiteY8" fmla="*/ 173688 h 178583"/>
                <a:gd name="connsiteX9" fmla="*/ 252001 w 254205"/>
                <a:gd name="connsiteY9" fmla="*/ 165169 h 178583"/>
                <a:gd name="connsiteX10" fmla="*/ 254206 w 254205"/>
                <a:gd name="connsiteY10" fmla="*/ 162664 h 178583"/>
                <a:gd name="connsiteX11" fmla="*/ 253104 w 254205"/>
                <a:gd name="connsiteY11" fmla="*/ 156551 h 178583"/>
                <a:gd name="connsiteX12" fmla="*/ 250949 w 254205"/>
                <a:gd name="connsiteY12" fmla="*/ 143321 h 178583"/>
                <a:gd name="connsiteX13" fmla="*/ 249997 w 254205"/>
                <a:gd name="connsiteY13" fmla="*/ 128639 h 178583"/>
                <a:gd name="connsiteX14" fmla="*/ 249846 w 254205"/>
                <a:gd name="connsiteY14" fmla="*/ 125532 h 178583"/>
                <a:gd name="connsiteX15" fmla="*/ 234563 w 254205"/>
                <a:gd name="connsiteY15" fmla="*/ 112203 h 178583"/>
                <a:gd name="connsiteX16" fmla="*/ 234062 w 254205"/>
                <a:gd name="connsiteY16" fmla="*/ 106841 h 178583"/>
                <a:gd name="connsiteX17" fmla="*/ 233861 w 254205"/>
                <a:gd name="connsiteY17" fmla="*/ 104536 h 178583"/>
                <a:gd name="connsiteX18" fmla="*/ 236918 w 254205"/>
                <a:gd name="connsiteY18" fmla="*/ 94965 h 178583"/>
                <a:gd name="connsiteX19" fmla="*/ 238121 w 254205"/>
                <a:gd name="connsiteY19" fmla="*/ 86847 h 178583"/>
                <a:gd name="connsiteX20" fmla="*/ 229903 w 254205"/>
                <a:gd name="connsiteY20" fmla="*/ 88451 h 178583"/>
                <a:gd name="connsiteX21" fmla="*/ 218878 w 254205"/>
                <a:gd name="connsiteY21" fmla="*/ 93512 h 178583"/>
                <a:gd name="connsiteX22" fmla="*/ 217074 w 254205"/>
                <a:gd name="connsiteY22" fmla="*/ 93412 h 178583"/>
                <a:gd name="connsiteX23" fmla="*/ 216523 w 254205"/>
                <a:gd name="connsiteY23" fmla="*/ 91708 h 178583"/>
                <a:gd name="connsiteX24" fmla="*/ 196880 w 254205"/>
                <a:gd name="connsiteY24" fmla="*/ 72265 h 178583"/>
                <a:gd name="connsiteX25" fmla="*/ 188863 w 254205"/>
                <a:gd name="connsiteY25" fmla="*/ 67254 h 178583"/>
                <a:gd name="connsiteX26" fmla="*/ 172426 w 254205"/>
                <a:gd name="connsiteY26" fmla="*/ 75372 h 178583"/>
                <a:gd name="connsiteX27" fmla="*/ 171073 w 254205"/>
                <a:gd name="connsiteY27" fmla="*/ 73869 h 178583"/>
                <a:gd name="connsiteX28" fmla="*/ 126325 w 254205"/>
                <a:gd name="connsiteY28" fmla="*/ 56280 h 178583"/>
                <a:gd name="connsiteX29" fmla="*/ 124371 w 254205"/>
                <a:gd name="connsiteY29" fmla="*/ 56631 h 178583"/>
                <a:gd name="connsiteX30" fmla="*/ 123469 w 254205"/>
                <a:gd name="connsiteY30" fmla="*/ 54877 h 178583"/>
                <a:gd name="connsiteX31" fmla="*/ 82328 w 254205"/>
                <a:gd name="connsiteY31" fmla="*/ 9077 h 178583"/>
                <a:gd name="connsiteX32" fmla="*/ 43894 w 254205"/>
                <a:gd name="connsiteY32" fmla="*/ 708 h 178583"/>
                <a:gd name="connsiteX33" fmla="*/ 31116 w 254205"/>
                <a:gd name="connsiteY33" fmla="*/ 5218 h 178583"/>
                <a:gd name="connsiteX34" fmla="*/ 25604 w 254205"/>
                <a:gd name="connsiteY34" fmla="*/ 7623 h 178583"/>
                <a:gd name="connsiteX35" fmla="*/ 24752 w 254205"/>
                <a:gd name="connsiteY35" fmla="*/ 7924 h 178583"/>
                <a:gd name="connsiteX36" fmla="*/ 10871 w 254205"/>
                <a:gd name="connsiteY36" fmla="*/ 4166 h 178583"/>
                <a:gd name="connsiteX37" fmla="*/ 9769 w 254205"/>
                <a:gd name="connsiteY37" fmla="*/ 20802 h 178583"/>
                <a:gd name="connsiteX38" fmla="*/ 12475 w 254205"/>
                <a:gd name="connsiteY38" fmla="*/ 31426 h 178583"/>
                <a:gd name="connsiteX39" fmla="*/ 12475 w 254205"/>
                <a:gd name="connsiteY39" fmla="*/ 32829 h 178583"/>
                <a:gd name="connsiteX40" fmla="*/ 9569 w 254205"/>
                <a:gd name="connsiteY40" fmla="*/ 34933 h 178583"/>
                <a:gd name="connsiteX41" fmla="*/ 6111 w 254205"/>
                <a:gd name="connsiteY41" fmla="*/ 37439 h 178583"/>
                <a:gd name="connsiteX42" fmla="*/ 449 w 254205"/>
                <a:gd name="connsiteY42" fmla="*/ 51670 h 178583"/>
                <a:gd name="connsiteX43" fmla="*/ 2954 w 254205"/>
                <a:gd name="connsiteY43" fmla="*/ 64148 h 178583"/>
                <a:gd name="connsiteX44" fmla="*/ 3655 w 254205"/>
                <a:gd name="connsiteY44" fmla="*/ 68006 h 178583"/>
                <a:gd name="connsiteX45" fmla="*/ 7664 w 254205"/>
                <a:gd name="connsiteY45" fmla="*/ 68758 h 178583"/>
                <a:gd name="connsiteX46" fmla="*/ 20743 w 254205"/>
                <a:gd name="connsiteY46" fmla="*/ 73117 h 178583"/>
                <a:gd name="connsiteX47" fmla="*/ 50258 w 254205"/>
                <a:gd name="connsiteY47" fmla="*/ 83891 h 178583"/>
                <a:gd name="connsiteX48" fmla="*/ 52713 w 254205"/>
                <a:gd name="connsiteY48" fmla="*/ 84392 h 178583"/>
                <a:gd name="connsiteX49" fmla="*/ 68648 w 254205"/>
                <a:gd name="connsiteY49" fmla="*/ 88451 h 178583"/>
                <a:gd name="connsiteX50" fmla="*/ 76566 w 254205"/>
                <a:gd name="connsiteY50" fmla="*/ 90606 h 178583"/>
                <a:gd name="connsiteX51" fmla="*/ 78169 w 254205"/>
                <a:gd name="connsiteY51" fmla="*/ 91007 h 178583"/>
                <a:gd name="connsiteX52" fmla="*/ 78520 w 254205"/>
                <a:gd name="connsiteY52" fmla="*/ 92610 h 178583"/>
                <a:gd name="connsiteX53" fmla="*/ 87991 w 254205"/>
                <a:gd name="connsiteY53" fmla="*/ 120972 h 178583"/>
                <a:gd name="connsiteX54" fmla="*/ 99115 w 254205"/>
                <a:gd name="connsiteY54" fmla="*/ 160309 h 178583"/>
                <a:gd name="connsiteX55" fmla="*/ 108486 w 254205"/>
                <a:gd name="connsiteY55" fmla="*/ 175041 h 17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54205" h="178583">
                  <a:moveTo>
                    <a:pt x="108386" y="174941"/>
                  </a:moveTo>
                  <a:cubicBezTo>
                    <a:pt x="113547" y="178198"/>
                    <a:pt x="119460" y="179000"/>
                    <a:pt x="124571" y="177045"/>
                  </a:cubicBezTo>
                  <a:cubicBezTo>
                    <a:pt x="129783" y="175091"/>
                    <a:pt x="135245" y="174490"/>
                    <a:pt x="140556" y="173889"/>
                  </a:cubicBezTo>
                  <a:cubicBezTo>
                    <a:pt x="149125" y="172936"/>
                    <a:pt x="157193" y="172034"/>
                    <a:pt x="163507" y="165671"/>
                  </a:cubicBezTo>
                  <a:cubicBezTo>
                    <a:pt x="165160" y="164017"/>
                    <a:pt x="167766" y="164017"/>
                    <a:pt x="169720" y="163967"/>
                  </a:cubicBezTo>
                  <a:cubicBezTo>
                    <a:pt x="172326" y="163917"/>
                    <a:pt x="174731" y="163817"/>
                    <a:pt x="177137" y="163716"/>
                  </a:cubicBezTo>
                  <a:cubicBezTo>
                    <a:pt x="180544" y="163566"/>
                    <a:pt x="184002" y="163416"/>
                    <a:pt x="187459" y="163416"/>
                  </a:cubicBezTo>
                  <a:cubicBezTo>
                    <a:pt x="199235" y="163416"/>
                    <a:pt x="210911" y="165069"/>
                    <a:pt x="221334" y="174189"/>
                  </a:cubicBezTo>
                  <a:cubicBezTo>
                    <a:pt x="228249" y="180202"/>
                    <a:pt x="235715" y="180052"/>
                    <a:pt x="243683" y="173688"/>
                  </a:cubicBezTo>
                  <a:cubicBezTo>
                    <a:pt x="246790" y="171183"/>
                    <a:pt x="249596" y="167976"/>
                    <a:pt x="252001" y="165169"/>
                  </a:cubicBezTo>
                  <a:cubicBezTo>
                    <a:pt x="252753" y="164267"/>
                    <a:pt x="253505" y="163416"/>
                    <a:pt x="254206" y="162664"/>
                  </a:cubicBezTo>
                  <a:cubicBezTo>
                    <a:pt x="253805" y="160509"/>
                    <a:pt x="253454" y="158505"/>
                    <a:pt x="253104" y="156551"/>
                  </a:cubicBezTo>
                  <a:cubicBezTo>
                    <a:pt x="252202" y="151740"/>
                    <a:pt x="251400" y="147581"/>
                    <a:pt x="250949" y="143321"/>
                  </a:cubicBezTo>
                  <a:cubicBezTo>
                    <a:pt x="250398" y="138110"/>
                    <a:pt x="250147" y="132848"/>
                    <a:pt x="249997" y="128639"/>
                  </a:cubicBezTo>
                  <a:cubicBezTo>
                    <a:pt x="249997" y="127537"/>
                    <a:pt x="249897" y="126485"/>
                    <a:pt x="249846" y="125532"/>
                  </a:cubicBezTo>
                  <a:lnTo>
                    <a:pt x="234563" y="112203"/>
                  </a:lnTo>
                  <a:lnTo>
                    <a:pt x="234062" y="106841"/>
                  </a:lnTo>
                  <a:cubicBezTo>
                    <a:pt x="233911" y="105488"/>
                    <a:pt x="233861" y="104987"/>
                    <a:pt x="233861" y="104536"/>
                  </a:cubicBezTo>
                  <a:cubicBezTo>
                    <a:pt x="233761" y="101079"/>
                    <a:pt x="235415" y="97821"/>
                    <a:pt x="236918" y="94965"/>
                  </a:cubicBezTo>
                  <a:cubicBezTo>
                    <a:pt x="239323" y="90255"/>
                    <a:pt x="239824" y="88501"/>
                    <a:pt x="238121" y="86847"/>
                  </a:cubicBezTo>
                  <a:cubicBezTo>
                    <a:pt x="235515" y="84242"/>
                    <a:pt x="234212" y="84843"/>
                    <a:pt x="229903" y="88451"/>
                  </a:cubicBezTo>
                  <a:cubicBezTo>
                    <a:pt x="227046" y="90806"/>
                    <a:pt x="223539" y="93712"/>
                    <a:pt x="218878" y="93512"/>
                  </a:cubicBezTo>
                  <a:lnTo>
                    <a:pt x="217074" y="93412"/>
                  </a:lnTo>
                  <a:lnTo>
                    <a:pt x="216523" y="91708"/>
                  </a:lnTo>
                  <a:cubicBezTo>
                    <a:pt x="213316" y="82037"/>
                    <a:pt x="205349" y="77276"/>
                    <a:pt x="196880" y="72265"/>
                  </a:cubicBezTo>
                  <a:cubicBezTo>
                    <a:pt x="194224" y="70662"/>
                    <a:pt x="191468" y="69058"/>
                    <a:pt x="188863" y="67254"/>
                  </a:cubicBezTo>
                  <a:lnTo>
                    <a:pt x="172426" y="75372"/>
                  </a:lnTo>
                  <a:lnTo>
                    <a:pt x="171073" y="73869"/>
                  </a:lnTo>
                  <a:cubicBezTo>
                    <a:pt x="157193" y="58635"/>
                    <a:pt x="143413" y="53224"/>
                    <a:pt x="126325" y="56280"/>
                  </a:cubicBezTo>
                  <a:lnTo>
                    <a:pt x="124371" y="56631"/>
                  </a:lnTo>
                  <a:lnTo>
                    <a:pt x="123469" y="54877"/>
                  </a:lnTo>
                  <a:cubicBezTo>
                    <a:pt x="113697" y="36337"/>
                    <a:pt x="100619" y="21754"/>
                    <a:pt x="82328" y="9077"/>
                  </a:cubicBezTo>
                  <a:cubicBezTo>
                    <a:pt x="71104" y="1309"/>
                    <a:pt x="58526" y="-1447"/>
                    <a:pt x="43894" y="708"/>
                  </a:cubicBezTo>
                  <a:cubicBezTo>
                    <a:pt x="39534" y="1309"/>
                    <a:pt x="35275" y="3314"/>
                    <a:pt x="31116" y="5218"/>
                  </a:cubicBezTo>
                  <a:cubicBezTo>
                    <a:pt x="29212" y="6070"/>
                    <a:pt x="27408" y="6922"/>
                    <a:pt x="25604" y="7623"/>
                  </a:cubicBezTo>
                  <a:lnTo>
                    <a:pt x="24752" y="7924"/>
                  </a:lnTo>
                  <a:lnTo>
                    <a:pt x="10871" y="4166"/>
                  </a:lnTo>
                  <a:cubicBezTo>
                    <a:pt x="5510" y="9979"/>
                    <a:pt x="7414" y="14789"/>
                    <a:pt x="9769" y="20802"/>
                  </a:cubicBezTo>
                  <a:cubicBezTo>
                    <a:pt x="11122" y="24160"/>
                    <a:pt x="12475" y="27667"/>
                    <a:pt x="12475" y="31426"/>
                  </a:cubicBezTo>
                  <a:lnTo>
                    <a:pt x="12475" y="32829"/>
                  </a:lnTo>
                  <a:cubicBezTo>
                    <a:pt x="12475" y="32829"/>
                    <a:pt x="9569" y="34933"/>
                    <a:pt x="9569" y="34933"/>
                  </a:cubicBezTo>
                  <a:cubicBezTo>
                    <a:pt x="8416" y="35735"/>
                    <a:pt x="7263" y="36587"/>
                    <a:pt x="6111" y="37439"/>
                  </a:cubicBezTo>
                  <a:cubicBezTo>
                    <a:pt x="935" y="41413"/>
                    <a:pt x="-955" y="46158"/>
                    <a:pt x="449" y="51670"/>
                  </a:cubicBezTo>
                  <a:cubicBezTo>
                    <a:pt x="1501" y="55980"/>
                    <a:pt x="2252" y="60139"/>
                    <a:pt x="2954" y="64148"/>
                  </a:cubicBezTo>
                  <a:cubicBezTo>
                    <a:pt x="3155" y="65400"/>
                    <a:pt x="3405" y="66703"/>
                    <a:pt x="3655" y="68006"/>
                  </a:cubicBezTo>
                  <a:cubicBezTo>
                    <a:pt x="4958" y="68307"/>
                    <a:pt x="6311" y="68507"/>
                    <a:pt x="7664" y="68758"/>
                  </a:cubicBezTo>
                  <a:cubicBezTo>
                    <a:pt x="12274" y="69559"/>
                    <a:pt x="17035" y="70361"/>
                    <a:pt x="20743" y="73117"/>
                  </a:cubicBezTo>
                  <a:cubicBezTo>
                    <a:pt x="29613" y="79732"/>
                    <a:pt x="39635" y="81736"/>
                    <a:pt x="50258" y="83891"/>
                  </a:cubicBezTo>
                  <a:lnTo>
                    <a:pt x="52713" y="84392"/>
                  </a:lnTo>
                  <a:cubicBezTo>
                    <a:pt x="57975" y="85444"/>
                    <a:pt x="63186" y="86897"/>
                    <a:pt x="68648" y="88451"/>
                  </a:cubicBezTo>
                  <a:cubicBezTo>
                    <a:pt x="71204" y="89152"/>
                    <a:pt x="73810" y="89904"/>
                    <a:pt x="76566" y="90606"/>
                  </a:cubicBezTo>
                  <a:lnTo>
                    <a:pt x="78169" y="91007"/>
                  </a:lnTo>
                  <a:lnTo>
                    <a:pt x="78520" y="92610"/>
                  </a:lnTo>
                  <a:cubicBezTo>
                    <a:pt x="80575" y="102432"/>
                    <a:pt x="84333" y="111852"/>
                    <a:pt x="87991" y="120972"/>
                  </a:cubicBezTo>
                  <a:cubicBezTo>
                    <a:pt x="92902" y="133350"/>
                    <a:pt x="98013" y="146128"/>
                    <a:pt x="99115" y="160309"/>
                  </a:cubicBezTo>
                  <a:cubicBezTo>
                    <a:pt x="99566" y="166122"/>
                    <a:pt x="103074" y="171584"/>
                    <a:pt x="108486" y="17504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65" name="Полилиния: фигура 64">
              <a:extLst>
                <a:ext uri="{FF2B5EF4-FFF2-40B4-BE49-F238E27FC236}">
                  <a16:creationId xmlns:a16="http://schemas.microsoft.com/office/drawing/2014/main" id="{462E644E-7B77-427F-B4CF-3C59C9CF1685}"/>
                </a:ext>
              </a:extLst>
            </p:cNvPr>
            <p:cNvSpPr/>
            <p:nvPr/>
          </p:nvSpPr>
          <p:spPr>
            <a:xfrm>
              <a:off x="278689" y="3795619"/>
              <a:ext cx="260534" cy="287171"/>
            </a:xfrm>
            <a:custGeom>
              <a:avLst/>
              <a:gdLst>
                <a:gd name="connsiteX0" fmla="*/ 193475 w 208908"/>
                <a:gd name="connsiteY0" fmla="*/ 201153 h 230267"/>
                <a:gd name="connsiteX1" fmla="*/ 177390 w 208908"/>
                <a:gd name="connsiteY1" fmla="*/ 188575 h 230267"/>
                <a:gd name="connsiteX2" fmla="*/ 165614 w 208908"/>
                <a:gd name="connsiteY2" fmla="*/ 183113 h 230267"/>
                <a:gd name="connsiteX3" fmla="*/ 146823 w 208908"/>
                <a:gd name="connsiteY3" fmla="*/ 173943 h 230267"/>
                <a:gd name="connsiteX4" fmla="*/ 146221 w 208908"/>
                <a:gd name="connsiteY4" fmla="*/ 173192 h 230267"/>
                <a:gd name="connsiteX5" fmla="*/ 146221 w 208908"/>
                <a:gd name="connsiteY5" fmla="*/ 172240 h 230267"/>
                <a:gd name="connsiteX6" fmla="*/ 154991 w 208908"/>
                <a:gd name="connsiteY6" fmla="*/ 106645 h 230267"/>
                <a:gd name="connsiteX7" fmla="*/ 155993 w 208908"/>
                <a:gd name="connsiteY7" fmla="*/ 103789 h 230267"/>
                <a:gd name="connsiteX8" fmla="*/ 158548 w 208908"/>
                <a:gd name="connsiteY8" fmla="*/ 90059 h 230267"/>
                <a:gd name="connsiteX9" fmla="*/ 140609 w 208908"/>
                <a:gd name="connsiteY9" fmla="*/ 54380 h 230267"/>
                <a:gd name="connsiteX10" fmla="*/ 114101 w 208908"/>
                <a:gd name="connsiteY10" fmla="*/ 20205 h 230267"/>
                <a:gd name="connsiteX11" fmla="*/ 111295 w 208908"/>
                <a:gd name="connsiteY11" fmla="*/ 18401 h 230267"/>
                <a:gd name="connsiteX12" fmla="*/ 109491 w 208908"/>
                <a:gd name="connsiteY12" fmla="*/ 35790 h 230267"/>
                <a:gd name="connsiteX13" fmla="*/ 106484 w 208908"/>
                <a:gd name="connsiteY13" fmla="*/ 35038 h 230267"/>
                <a:gd name="connsiteX14" fmla="*/ 89647 w 208908"/>
                <a:gd name="connsiteY14" fmla="*/ 24816 h 230267"/>
                <a:gd name="connsiteX15" fmla="*/ 83433 w 208908"/>
                <a:gd name="connsiteY15" fmla="*/ 19754 h 230267"/>
                <a:gd name="connsiteX16" fmla="*/ 78974 w 208908"/>
                <a:gd name="connsiteY16" fmla="*/ 16598 h 230267"/>
                <a:gd name="connsiteX17" fmla="*/ 66296 w 208908"/>
                <a:gd name="connsiteY17" fmla="*/ 9331 h 230267"/>
                <a:gd name="connsiteX18" fmla="*/ 4259 w 208908"/>
                <a:gd name="connsiteY18" fmla="*/ 111 h 230267"/>
                <a:gd name="connsiteX19" fmla="*/ 3307 w 208908"/>
                <a:gd name="connsiteY19" fmla="*/ 111 h 230267"/>
                <a:gd name="connsiteX20" fmla="*/ 0 w 208908"/>
                <a:gd name="connsiteY20" fmla="*/ 813 h 230267"/>
                <a:gd name="connsiteX21" fmla="*/ 24153 w 208908"/>
                <a:gd name="connsiteY21" fmla="*/ 39147 h 230267"/>
                <a:gd name="connsiteX22" fmla="*/ 24253 w 208908"/>
                <a:gd name="connsiteY22" fmla="*/ 39347 h 230267"/>
                <a:gd name="connsiteX23" fmla="*/ 24955 w 208908"/>
                <a:gd name="connsiteY23" fmla="*/ 41001 h 230267"/>
                <a:gd name="connsiteX24" fmla="*/ 20946 w 208908"/>
                <a:gd name="connsiteY24" fmla="*/ 82893 h 230267"/>
                <a:gd name="connsiteX25" fmla="*/ 13530 w 208908"/>
                <a:gd name="connsiteY25" fmla="*/ 93968 h 230267"/>
                <a:gd name="connsiteX26" fmla="*/ 9471 w 208908"/>
                <a:gd name="connsiteY26" fmla="*/ 105894 h 230267"/>
                <a:gd name="connsiteX27" fmla="*/ 14482 w 208908"/>
                <a:gd name="connsiteY27" fmla="*/ 153097 h 230267"/>
                <a:gd name="connsiteX28" fmla="*/ 18290 w 208908"/>
                <a:gd name="connsiteY28" fmla="*/ 153649 h 230267"/>
                <a:gd name="connsiteX29" fmla="*/ 28613 w 208908"/>
                <a:gd name="connsiteY29" fmla="*/ 154551 h 230267"/>
                <a:gd name="connsiteX30" fmla="*/ 33975 w 208908"/>
                <a:gd name="connsiteY30" fmla="*/ 154350 h 230267"/>
                <a:gd name="connsiteX31" fmla="*/ 71257 w 208908"/>
                <a:gd name="connsiteY31" fmla="*/ 161766 h 230267"/>
                <a:gd name="connsiteX32" fmla="*/ 114301 w 208908"/>
                <a:gd name="connsiteY32" fmla="*/ 176649 h 230267"/>
                <a:gd name="connsiteX33" fmla="*/ 145620 w 208908"/>
                <a:gd name="connsiteY33" fmla="*/ 187473 h 230267"/>
                <a:gd name="connsiteX34" fmla="*/ 146071 w 208908"/>
                <a:gd name="connsiteY34" fmla="*/ 188626 h 230267"/>
                <a:gd name="connsiteX35" fmla="*/ 184756 w 208908"/>
                <a:gd name="connsiteY35" fmla="*/ 230267 h 230267"/>
                <a:gd name="connsiteX36" fmla="*/ 208909 w 208908"/>
                <a:gd name="connsiteY36" fmla="*/ 217740 h 230267"/>
                <a:gd name="connsiteX37" fmla="*/ 193375 w 208908"/>
                <a:gd name="connsiteY37" fmla="*/ 201153 h 23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08908" h="230267">
                  <a:moveTo>
                    <a:pt x="193475" y="201153"/>
                  </a:moveTo>
                  <a:cubicBezTo>
                    <a:pt x="187362" y="198146"/>
                    <a:pt x="181048" y="195040"/>
                    <a:pt x="177390" y="188575"/>
                  </a:cubicBezTo>
                  <a:cubicBezTo>
                    <a:pt x="175285" y="184867"/>
                    <a:pt x="171527" y="184065"/>
                    <a:pt x="165614" y="183113"/>
                  </a:cubicBezTo>
                  <a:cubicBezTo>
                    <a:pt x="159651" y="182111"/>
                    <a:pt x="152184" y="180908"/>
                    <a:pt x="146823" y="173943"/>
                  </a:cubicBezTo>
                  <a:lnTo>
                    <a:pt x="146221" y="173192"/>
                  </a:lnTo>
                  <a:lnTo>
                    <a:pt x="146221" y="172240"/>
                  </a:lnTo>
                  <a:cubicBezTo>
                    <a:pt x="146672" y="154300"/>
                    <a:pt x="147274" y="129746"/>
                    <a:pt x="154991" y="106645"/>
                  </a:cubicBezTo>
                  <a:cubicBezTo>
                    <a:pt x="155291" y="105693"/>
                    <a:pt x="155642" y="104741"/>
                    <a:pt x="155993" y="103789"/>
                  </a:cubicBezTo>
                  <a:cubicBezTo>
                    <a:pt x="157696" y="98928"/>
                    <a:pt x="159450" y="93867"/>
                    <a:pt x="158548" y="90059"/>
                  </a:cubicBezTo>
                  <a:cubicBezTo>
                    <a:pt x="155191" y="75677"/>
                    <a:pt x="151483" y="63100"/>
                    <a:pt x="140609" y="54380"/>
                  </a:cubicBezTo>
                  <a:cubicBezTo>
                    <a:pt x="127179" y="43557"/>
                    <a:pt x="118761" y="32683"/>
                    <a:pt x="114101" y="20205"/>
                  </a:cubicBezTo>
                  <a:cubicBezTo>
                    <a:pt x="113900" y="19805"/>
                    <a:pt x="112397" y="19003"/>
                    <a:pt x="111295" y="18401"/>
                  </a:cubicBezTo>
                  <a:lnTo>
                    <a:pt x="109491" y="35790"/>
                  </a:lnTo>
                  <a:lnTo>
                    <a:pt x="106484" y="35038"/>
                  </a:lnTo>
                  <a:cubicBezTo>
                    <a:pt x="99018" y="33134"/>
                    <a:pt x="94007" y="28724"/>
                    <a:pt x="89647" y="24816"/>
                  </a:cubicBezTo>
                  <a:cubicBezTo>
                    <a:pt x="87542" y="22962"/>
                    <a:pt x="85588" y="21208"/>
                    <a:pt x="83433" y="19754"/>
                  </a:cubicBezTo>
                  <a:cubicBezTo>
                    <a:pt x="81930" y="18752"/>
                    <a:pt x="80477" y="17650"/>
                    <a:pt x="78974" y="16598"/>
                  </a:cubicBezTo>
                  <a:cubicBezTo>
                    <a:pt x="74714" y="13491"/>
                    <a:pt x="70655" y="10484"/>
                    <a:pt x="66296" y="9331"/>
                  </a:cubicBezTo>
                  <a:cubicBezTo>
                    <a:pt x="45650" y="3920"/>
                    <a:pt x="25406" y="-791"/>
                    <a:pt x="4259" y="111"/>
                  </a:cubicBezTo>
                  <a:lnTo>
                    <a:pt x="3307" y="111"/>
                  </a:lnTo>
                  <a:cubicBezTo>
                    <a:pt x="1303" y="211"/>
                    <a:pt x="451" y="362"/>
                    <a:pt x="0" y="813"/>
                  </a:cubicBezTo>
                  <a:cubicBezTo>
                    <a:pt x="14281" y="14593"/>
                    <a:pt x="14782" y="15595"/>
                    <a:pt x="24153" y="39147"/>
                  </a:cubicBezTo>
                  <a:lnTo>
                    <a:pt x="24253" y="39347"/>
                  </a:lnTo>
                  <a:cubicBezTo>
                    <a:pt x="24454" y="39899"/>
                    <a:pt x="24654" y="40450"/>
                    <a:pt x="24955" y="41001"/>
                  </a:cubicBezTo>
                  <a:cubicBezTo>
                    <a:pt x="33824" y="56585"/>
                    <a:pt x="32471" y="70666"/>
                    <a:pt x="20946" y="82893"/>
                  </a:cubicBezTo>
                  <a:cubicBezTo>
                    <a:pt x="18240" y="85800"/>
                    <a:pt x="15735" y="89558"/>
                    <a:pt x="13530" y="93968"/>
                  </a:cubicBezTo>
                  <a:cubicBezTo>
                    <a:pt x="11626" y="97776"/>
                    <a:pt x="9471" y="102136"/>
                    <a:pt x="9471" y="105894"/>
                  </a:cubicBezTo>
                  <a:cubicBezTo>
                    <a:pt x="9471" y="120776"/>
                    <a:pt x="10172" y="136812"/>
                    <a:pt x="14482" y="153097"/>
                  </a:cubicBezTo>
                  <a:cubicBezTo>
                    <a:pt x="15785" y="153298"/>
                    <a:pt x="17037" y="153498"/>
                    <a:pt x="18290" y="153649"/>
                  </a:cubicBezTo>
                  <a:cubicBezTo>
                    <a:pt x="21948" y="154250"/>
                    <a:pt x="25406" y="154751"/>
                    <a:pt x="28613" y="154551"/>
                  </a:cubicBezTo>
                  <a:cubicBezTo>
                    <a:pt x="30417" y="154400"/>
                    <a:pt x="32221" y="154350"/>
                    <a:pt x="33975" y="154350"/>
                  </a:cubicBezTo>
                  <a:cubicBezTo>
                    <a:pt x="47705" y="154350"/>
                    <a:pt x="60433" y="158058"/>
                    <a:pt x="71257" y="161766"/>
                  </a:cubicBezTo>
                  <a:cubicBezTo>
                    <a:pt x="85438" y="166677"/>
                    <a:pt x="99669" y="171588"/>
                    <a:pt x="114301" y="176649"/>
                  </a:cubicBezTo>
                  <a:lnTo>
                    <a:pt x="145620" y="187473"/>
                  </a:lnTo>
                  <a:lnTo>
                    <a:pt x="146071" y="188626"/>
                  </a:lnTo>
                  <a:cubicBezTo>
                    <a:pt x="152635" y="205713"/>
                    <a:pt x="166015" y="220044"/>
                    <a:pt x="184756" y="230267"/>
                  </a:cubicBezTo>
                  <a:cubicBezTo>
                    <a:pt x="194076" y="225456"/>
                    <a:pt x="201843" y="221398"/>
                    <a:pt x="208909" y="217740"/>
                  </a:cubicBezTo>
                  <a:cubicBezTo>
                    <a:pt x="207756" y="208269"/>
                    <a:pt x="201042" y="204962"/>
                    <a:pt x="193375" y="20115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66" name="Полилиния: фигура 65">
              <a:extLst>
                <a:ext uri="{FF2B5EF4-FFF2-40B4-BE49-F238E27FC236}">
                  <a16:creationId xmlns:a16="http://schemas.microsoft.com/office/drawing/2014/main" id="{14110139-E750-4581-8689-6FD4BF5F1F07}"/>
                </a:ext>
              </a:extLst>
            </p:cNvPr>
            <p:cNvSpPr/>
            <p:nvPr/>
          </p:nvSpPr>
          <p:spPr>
            <a:xfrm>
              <a:off x="6795437" y="1085167"/>
              <a:ext cx="225936" cy="269846"/>
            </a:xfrm>
            <a:custGeom>
              <a:avLst/>
              <a:gdLst>
                <a:gd name="connsiteX0" fmla="*/ 2558 w 181166"/>
                <a:gd name="connsiteY0" fmla="*/ 194778 h 216375"/>
                <a:gd name="connsiteX1" fmla="*/ 12179 w 181166"/>
                <a:gd name="connsiteY1" fmla="*/ 216375 h 216375"/>
                <a:gd name="connsiteX2" fmla="*/ 42245 w 181166"/>
                <a:gd name="connsiteY2" fmla="*/ 194477 h 216375"/>
                <a:gd name="connsiteX3" fmla="*/ 69505 w 181166"/>
                <a:gd name="connsiteY3" fmla="*/ 183353 h 216375"/>
                <a:gd name="connsiteX4" fmla="*/ 72361 w 181166"/>
                <a:gd name="connsiteY4" fmla="*/ 183353 h 216375"/>
                <a:gd name="connsiteX5" fmla="*/ 96865 w 181166"/>
                <a:gd name="connsiteY5" fmla="*/ 181198 h 216375"/>
                <a:gd name="connsiteX6" fmla="*/ 144119 w 181166"/>
                <a:gd name="connsiteY6" fmla="*/ 165965 h 216375"/>
                <a:gd name="connsiteX7" fmla="*/ 164012 w 181166"/>
                <a:gd name="connsiteY7" fmla="*/ 159250 h 216375"/>
                <a:gd name="connsiteX8" fmla="*/ 174335 w 181166"/>
                <a:gd name="connsiteY8" fmla="*/ 150380 h 216375"/>
                <a:gd name="connsiteX9" fmla="*/ 178394 w 181166"/>
                <a:gd name="connsiteY9" fmla="*/ 104129 h 216375"/>
                <a:gd name="connsiteX10" fmla="*/ 176290 w 181166"/>
                <a:gd name="connsiteY10" fmla="*/ 101323 h 216375"/>
                <a:gd name="connsiteX11" fmla="*/ 175638 w 181166"/>
                <a:gd name="connsiteY11" fmla="*/ 100621 h 216375"/>
                <a:gd name="connsiteX12" fmla="*/ 153990 w 181166"/>
                <a:gd name="connsiteY12" fmla="*/ 100621 h 216375"/>
                <a:gd name="connsiteX13" fmla="*/ 154141 w 181166"/>
                <a:gd name="connsiteY13" fmla="*/ 97815 h 216375"/>
                <a:gd name="connsiteX14" fmla="*/ 131541 w 181166"/>
                <a:gd name="connsiteY14" fmla="*/ 50762 h 216375"/>
                <a:gd name="connsiteX15" fmla="*/ 130238 w 181166"/>
                <a:gd name="connsiteY15" fmla="*/ 51814 h 216375"/>
                <a:gd name="connsiteX16" fmla="*/ 125428 w 181166"/>
                <a:gd name="connsiteY16" fmla="*/ 56624 h 216375"/>
                <a:gd name="connsiteX17" fmla="*/ 112399 w 181166"/>
                <a:gd name="connsiteY17" fmla="*/ 79074 h 216375"/>
                <a:gd name="connsiteX18" fmla="*/ 109092 w 181166"/>
                <a:gd name="connsiteY18" fmla="*/ 84987 h 216375"/>
                <a:gd name="connsiteX19" fmla="*/ 94109 w 181166"/>
                <a:gd name="connsiteY19" fmla="*/ 90950 h 216375"/>
                <a:gd name="connsiteX20" fmla="*/ 87945 w 181166"/>
                <a:gd name="connsiteY20" fmla="*/ 78222 h 216375"/>
                <a:gd name="connsiteX21" fmla="*/ 93106 w 181166"/>
                <a:gd name="connsiteY21" fmla="*/ 59731 h 216375"/>
                <a:gd name="connsiteX22" fmla="*/ 100072 w 181166"/>
                <a:gd name="connsiteY22" fmla="*/ 40238 h 216375"/>
                <a:gd name="connsiteX23" fmla="*/ 110395 w 181166"/>
                <a:gd name="connsiteY23" fmla="*/ 10874 h 216375"/>
                <a:gd name="connsiteX24" fmla="*/ 111197 w 181166"/>
                <a:gd name="connsiteY24" fmla="*/ 4410 h 216375"/>
                <a:gd name="connsiteX25" fmla="*/ 102327 w 181166"/>
                <a:gd name="connsiteY25" fmla="*/ 0 h 216375"/>
                <a:gd name="connsiteX26" fmla="*/ 100573 w 181166"/>
                <a:gd name="connsiteY26" fmla="*/ 3758 h 216375"/>
                <a:gd name="connsiteX27" fmla="*/ 84037 w 181166"/>
                <a:gd name="connsiteY27" fmla="*/ 22299 h 216375"/>
                <a:gd name="connsiteX28" fmla="*/ 81381 w 181166"/>
                <a:gd name="connsiteY28" fmla="*/ 23451 h 216375"/>
                <a:gd name="connsiteX29" fmla="*/ 79527 w 181166"/>
                <a:gd name="connsiteY29" fmla="*/ 17990 h 216375"/>
                <a:gd name="connsiteX30" fmla="*/ 77974 w 181166"/>
                <a:gd name="connsiteY30" fmla="*/ 13530 h 216375"/>
                <a:gd name="connsiteX31" fmla="*/ 76269 w 181166"/>
                <a:gd name="connsiteY31" fmla="*/ 9922 h 216375"/>
                <a:gd name="connsiteX32" fmla="*/ 75919 w 181166"/>
                <a:gd name="connsiteY32" fmla="*/ 10072 h 216375"/>
                <a:gd name="connsiteX33" fmla="*/ 72361 w 181166"/>
                <a:gd name="connsiteY33" fmla="*/ 12077 h 216375"/>
                <a:gd name="connsiteX34" fmla="*/ 70607 w 181166"/>
                <a:gd name="connsiteY34" fmla="*/ 56524 h 216375"/>
                <a:gd name="connsiteX35" fmla="*/ 72361 w 181166"/>
                <a:gd name="connsiteY35" fmla="*/ 58779 h 216375"/>
                <a:gd name="connsiteX36" fmla="*/ 70006 w 181166"/>
                <a:gd name="connsiteY36" fmla="*/ 60383 h 216375"/>
                <a:gd name="connsiteX37" fmla="*/ 53770 w 181166"/>
                <a:gd name="connsiteY37" fmla="*/ 88695 h 216375"/>
                <a:gd name="connsiteX38" fmla="*/ 52718 w 181166"/>
                <a:gd name="connsiteY38" fmla="*/ 94307 h 216375"/>
                <a:gd name="connsiteX39" fmla="*/ 52016 w 181166"/>
                <a:gd name="connsiteY39" fmla="*/ 97264 h 216375"/>
                <a:gd name="connsiteX40" fmla="*/ 51666 w 181166"/>
                <a:gd name="connsiteY40" fmla="*/ 98917 h 216375"/>
                <a:gd name="connsiteX41" fmla="*/ 50012 w 181166"/>
                <a:gd name="connsiteY41" fmla="*/ 99318 h 216375"/>
                <a:gd name="connsiteX42" fmla="*/ 28715 w 181166"/>
                <a:gd name="connsiteY42" fmla="*/ 120615 h 216375"/>
                <a:gd name="connsiteX43" fmla="*/ 26159 w 181166"/>
                <a:gd name="connsiteY43" fmla="*/ 133193 h 216375"/>
                <a:gd name="connsiteX44" fmla="*/ 12730 w 181166"/>
                <a:gd name="connsiteY44" fmla="*/ 174233 h 216375"/>
                <a:gd name="connsiteX45" fmla="*/ 2808 w 181166"/>
                <a:gd name="connsiteY45" fmla="*/ 194678 h 21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81166" h="216375">
                  <a:moveTo>
                    <a:pt x="2558" y="194778"/>
                  </a:moveTo>
                  <a:cubicBezTo>
                    <a:pt x="-1702" y="206754"/>
                    <a:pt x="-1952" y="207506"/>
                    <a:pt x="12179" y="216375"/>
                  </a:cubicBezTo>
                  <a:cubicBezTo>
                    <a:pt x="23854" y="210913"/>
                    <a:pt x="33927" y="203547"/>
                    <a:pt x="42245" y="194477"/>
                  </a:cubicBezTo>
                  <a:cubicBezTo>
                    <a:pt x="49160" y="186911"/>
                    <a:pt x="57829" y="183403"/>
                    <a:pt x="69505" y="183353"/>
                  </a:cubicBezTo>
                  <a:lnTo>
                    <a:pt x="72361" y="183353"/>
                  </a:lnTo>
                  <a:cubicBezTo>
                    <a:pt x="80629" y="183353"/>
                    <a:pt x="89248" y="183353"/>
                    <a:pt x="96865" y="181198"/>
                  </a:cubicBezTo>
                  <a:cubicBezTo>
                    <a:pt x="112750" y="176638"/>
                    <a:pt x="128685" y="171226"/>
                    <a:pt x="144119" y="165965"/>
                  </a:cubicBezTo>
                  <a:cubicBezTo>
                    <a:pt x="150733" y="163710"/>
                    <a:pt x="157398" y="161455"/>
                    <a:pt x="164012" y="159250"/>
                  </a:cubicBezTo>
                  <a:cubicBezTo>
                    <a:pt x="169324" y="157496"/>
                    <a:pt x="172581" y="154640"/>
                    <a:pt x="174335" y="150380"/>
                  </a:cubicBezTo>
                  <a:cubicBezTo>
                    <a:pt x="181852" y="132140"/>
                    <a:pt x="183104" y="117859"/>
                    <a:pt x="178394" y="104129"/>
                  </a:cubicBezTo>
                  <a:cubicBezTo>
                    <a:pt x="178093" y="103227"/>
                    <a:pt x="177191" y="102325"/>
                    <a:pt x="176290" y="101323"/>
                  </a:cubicBezTo>
                  <a:cubicBezTo>
                    <a:pt x="176089" y="101072"/>
                    <a:pt x="175838" y="100822"/>
                    <a:pt x="175638" y="100621"/>
                  </a:cubicBezTo>
                  <a:lnTo>
                    <a:pt x="153990" y="100621"/>
                  </a:lnTo>
                  <a:lnTo>
                    <a:pt x="154141" y="97815"/>
                  </a:lnTo>
                  <a:cubicBezTo>
                    <a:pt x="155193" y="76618"/>
                    <a:pt x="147977" y="61585"/>
                    <a:pt x="131541" y="50762"/>
                  </a:cubicBezTo>
                  <a:cubicBezTo>
                    <a:pt x="131140" y="51112"/>
                    <a:pt x="130689" y="51463"/>
                    <a:pt x="130238" y="51814"/>
                  </a:cubicBezTo>
                  <a:cubicBezTo>
                    <a:pt x="128334" y="53367"/>
                    <a:pt x="126530" y="54871"/>
                    <a:pt x="125428" y="56624"/>
                  </a:cubicBezTo>
                  <a:cubicBezTo>
                    <a:pt x="120867" y="63940"/>
                    <a:pt x="116558" y="71657"/>
                    <a:pt x="112399" y="79074"/>
                  </a:cubicBezTo>
                  <a:lnTo>
                    <a:pt x="109092" y="84987"/>
                  </a:lnTo>
                  <a:cubicBezTo>
                    <a:pt x="105734" y="91050"/>
                    <a:pt x="99671" y="93455"/>
                    <a:pt x="94109" y="90950"/>
                  </a:cubicBezTo>
                  <a:cubicBezTo>
                    <a:pt x="89148" y="88745"/>
                    <a:pt x="86842" y="83985"/>
                    <a:pt x="87945" y="78222"/>
                  </a:cubicBezTo>
                  <a:cubicBezTo>
                    <a:pt x="88947" y="72760"/>
                    <a:pt x="90601" y="66897"/>
                    <a:pt x="93106" y="59731"/>
                  </a:cubicBezTo>
                  <a:cubicBezTo>
                    <a:pt x="95362" y="53217"/>
                    <a:pt x="97717" y="46753"/>
                    <a:pt x="100072" y="40238"/>
                  </a:cubicBezTo>
                  <a:cubicBezTo>
                    <a:pt x="103530" y="30617"/>
                    <a:pt x="107137" y="20695"/>
                    <a:pt x="110395" y="10874"/>
                  </a:cubicBezTo>
                  <a:cubicBezTo>
                    <a:pt x="111547" y="7466"/>
                    <a:pt x="111748" y="5512"/>
                    <a:pt x="111197" y="4410"/>
                  </a:cubicBezTo>
                  <a:cubicBezTo>
                    <a:pt x="110344" y="2806"/>
                    <a:pt x="107087" y="1503"/>
                    <a:pt x="102327" y="0"/>
                  </a:cubicBezTo>
                  <a:cubicBezTo>
                    <a:pt x="101726" y="1253"/>
                    <a:pt x="101124" y="2506"/>
                    <a:pt x="100573" y="3758"/>
                  </a:cubicBezTo>
                  <a:cubicBezTo>
                    <a:pt x="97566" y="10423"/>
                    <a:pt x="94109" y="17990"/>
                    <a:pt x="84037" y="22299"/>
                  </a:cubicBezTo>
                  <a:lnTo>
                    <a:pt x="81381" y="23451"/>
                  </a:lnTo>
                  <a:lnTo>
                    <a:pt x="79527" y="17990"/>
                  </a:lnTo>
                  <a:cubicBezTo>
                    <a:pt x="78975" y="16336"/>
                    <a:pt x="78525" y="14883"/>
                    <a:pt x="77974" y="13530"/>
                  </a:cubicBezTo>
                  <a:cubicBezTo>
                    <a:pt x="77472" y="12277"/>
                    <a:pt x="76871" y="11074"/>
                    <a:pt x="76269" y="9922"/>
                  </a:cubicBezTo>
                  <a:cubicBezTo>
                    <a:pt x="76170" y="9922"/>
                    <a:pt x="76019" y="10022"/>
                    <a:pt x="75919" y="10072"/>
                  </a:cubicBezTo>
                  <a:cubicBezTo>
                    <a:pt x="74516" y="10623"/>
                    <a:pt x="72812" y="11375"/>
                    <a:pt x="72361" y="12077"/>
                  </a:cubicBezTo>
                  <a:cubicBezTo>
                    <a:pt x="61186" y="30066"/>
                    <a:pt x="60635" y="43746"/>
                    <a:pt x="70607" y="56524"/>
                  </a:cubicBezTo>
                  <a:lnTo>
                    <a:pt x="72361" y="58779"/>
                  </a:lnTo>
                  <a:lnTo>
                    <a:pt x="70006" y="60383"/>
                  </a:lnTo>
                  <a:cubicBezTo>
                    <a:pt x="60234" y="67097"/>
                    <a:pt x="54823" y="76533"/>
                    <a:pt x="53770" y="88695"/>
                  </a:cubicBezTo>
                  <a:cubicBezTo>
                    <a:pt x="53620" y="90599"/>
                    <a:pt x="53219" y="92253"/>
                    <a:pt x="52718" y="94307"/>
                  </a:cubicBezTo>
                  <a:cubicBezTo>
                    <a:pt x="52517" y="95209"/>
                    <a:pt x="52267" y="96161"/>
                    <a:pt x="52016" y="97264"/>
                  </a:cubicBezTo>
                  <a:lnTo>
                    <a:pt x="51666" y="98917"/>
                  </a:lnTo>
                  <a:lnTo>
                    <a:pt x="50012" y="99318"/>
                  </a:lnTo>
                  <a:cubicBezTo>
                    <a:pt x="39889" y="101573"/>
                    <a:pt x="32724" y="108739"/>
                    <a:pt x="28715" y="120615"/>
                  </a:cubicBezTo>
                  <a:cubicBezTo>
                    <a:pt x="27212" y="125075"/>
                    <a:pt x="25759" y="129384"/>
                    <a:pt x="26159" y="133193"/>
                  </a:cubicBezTo>
                  <a:cubicBezTo>
                    <a:pt x="27863" y="149929"/>
                    <a:pt x="20697" y="162808"/>
                    <a:pt x="12730" y="174233"/>
                  </a:cubicBezTo>
                  <a:cubicBezTo>
                    <a:pt x="8972" y="179595"/>
                    <a:pt x="5765" y="186259"/>
                    <a:pt x="2808" y="19467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67" name="Полилиния: фигура 66">
              <a:extLst>
                <a:ext uri="{FF2B5EF4-FFF2-40B4-BE49-F238E27FC236}">
                  <a16:creationId xmlns:a16="http://schemas.microsoft.com/office/drawing/2014/main" id="{BBA4D834-7A8B-46F8-A6DA-6561A4220D0F}"/>
                </a:ext>
              </a:extLst>
            </p:cNvPr>
            <p:cNvSpPr/>
            <p:nvPr/>
          </p:nvSpPr>
          <p:spPr>
            <a:xfrm>
              <a:off x="6546216" y="652338"/>
              <a:ext cx="205162" cy="238915"/>
            </a:xfrm>
            <a:custGeom>
              <a:avLst/>
              <a:gdLst>
                <a:gd name="connsiteX0" fmla="*/ 0 w 164508"/>
                <a:gd name="connsiteY0" fmla="*/ 152285 h 191573"/>
                <a:gd name="connsiteX1" fmla="*/ 3608 w 164508"/>
                <a:gd name="connsiteY1" fmla="*/ 155842 h 191573"/>
                <a:gd name="connsiteX2" fmla="*/ 13079 w 164508"/>
                <a:gd name="connsiteY2" fmla="*/ 166265 h 191573"/>
                <a:gd name="connsiteX3" fmla="*/ 18440 w 164508"/>
                <a:gd name="connsiteY3" fmla="*/ 176438 h 191573"/>
                <a:gd name="connsiteX4" fmla="*/ 21497 w 164508"/>
                <a:gd name="connsiteY4" fmla="*/ 182902 h 191573"/>
                <a:gd name="connsiteX5" fmla="*/ 31219 w 164508"/>
                <a:gd name="connsiteY5" fmla="*/ 191270 h 191573"/>
                <a:gd name="connsiteX6" fmla="*/ 41592 w 164508"/>
                <a:gd name="connsiteY6" fmla="*/ 189015 h 191573"/>
                <a:gd name="connsiteX7" fmla="*/ 84887 w 164508"/>
                <a:gd name="connsiteY7" fmla="*/ 175285 h 191573"/>
                <a:gd name="connsiteX8" fmla="*/ 86991 w 164508"/>
                <a:gd name="connsiteY8" fmla="*/ 175085 h 191573"/>
                <a:gd name="connsiteX9" fmla="*/ 108238 w 164508"/>
                <a:gd name="connsiteY9" fmla="*/ 172529 h 191573"/>
                <a:gd name="connsiteX10" fmla="*/ 127680 w 164508"/>
                <a:gd name="connsiteY10" fmla="*/ 169071 h 191573"/>
                <a:gd name="connsiteX11" fmla="*/ 132842 w 164508"/>
                <a:gd name="connsiteY11" fmla="*/ 168119 h 191573"/>
                <a:gd name="connsiteX12" fmla="*/ 136751 w 164508"/>
                <a:gd name="connsiteY12" fmla="*/ 147324 h 191573"/>
                <a:gd name="connsiteX13" fmla="*/ 136650 w 164508"/>
                <a:gd name="connsiteY13" fmla="*/ 145971 h 191573"/>
                <a:gd name="connsiteX14" fmla="*/ 156494 w 164508"/>
                <a:gd name="connsiteY14" fmla="*/ 104129 h 191573"/>
                <a:gd name="connsiteX15" fmla="*/ 164462 w 164508"/>
                <a:gd name="connsiteY15" fmla="*/ 94909 h 191573"/>
                <a:gd name="connsiteX16" fmla="*/ 158198 w 164508"/>
                <a:gd name="connsiteY16" fmla="*/ 83483 h 191573"/>
                <a:gd name="connsiteX17" fmla="*/ 138454 w 164508"/>
                <a:gd name="connsiteY17" fmla="*/ 53217 h 191573"/>
                <a:gd name="connsiteX18" fmla="*/ 138454 w 164508"/>
                <a:gd name="connsiteY18" fmla="*/ 53217 h 191573"/>
                <a:gd name="connsiteX19" fmla="*/ 127981 w 164508"/>
                <a:gd name="connsiteY19" fmla="*/ 24303 h 191573"/>
                <a:gd name="connsiteX20" fmla="*/ 123221 w 164508"/>
                <a:gd name="connsiteY20" fmla="*/ 11074 h 191573"/>
                <a:gd name="connsiteX21" fmla="*/ 122369 w 164508"/>
                <a:gd name="connsiteY21" fmla="*/ 8418 h 191573"/>
                <a:gd name="connsiteX22" fmla="*/ 116055 w 164508"/>
                <a:gd name="connsiteY22" fmla="*/ 0 h 191573"/>
                <a:gd name="connsiteX23" fmla="*/ 88996 w 164508"/>
                <a:gd name="connsiteY23" fmla="*/ 22199 h 191573"/>
                <a:gd name="connsiteX24" fmla="*/ 77069 w 164508"/>
                <a:gd name="connsiteY24" fmla="*/ 28763 h 191573"/>
                <a:gd name="connsiteX25" fmla="*/ 72509 w 164508"/>
                <a:gd name="connsiteY25" fmla="*/ 31319 h 191573"/>
                <a:gd name="connsiteX26" fmla="*/ 67047 w 164508"/>
                <a:gd name="connsiteY26" fmla="*/ 34576 h 191573"/>
                <a:gd name="connsiteX27" fmla="*/ 58328 w 164508"/>
                <a:gd name="connsiteY27" fmla="*/ 40890 h 191573"/>
                <a:gd name="connsiteX28" fmla="*/ 29264 w 164508"/>
                <a:gd name="connsiteY28" fmla="*/ 66947 h 191573"/>
                <a:gd name="connsiteX29" fmla="*/ 30267 w 164508"/>
                <a:gd name="connsiteY29" fmla="*/ 68601 h 191573"/>
                <a:gd name="connsiteX30" fmla="*/ 34175 w 164508"/>
                <a:gd name="connsiteY30" fmla="*/ 76318 h 191573"/>
                <a:gd name="connsiteX31" fmla="*/ 34476 w 164508"/>
                <a:gd name="connsiteY31" fmla="*/ 77370 h 191573"/>
                <a:gd name="connsiteX32" fmla="*/ 35528 w 164508"/>
                <a:gd name="connsiteY32" fmla="*/ 91501 h 191573"/>
                <a:gd name="connsiteX33" fmla="*/ 32020 w 164508"/>
                <a:gd name="connsiteY33" fmla="*/ 99118 h 191573"/>
                <a:gd name="connsiteX34" fmla="*/ 5713 w 164508"/>
                <a:gd name="connsiteY34" fmla="*/ 130988 h 191573"/>
                <a:gd name="connsiteX35" fmla="*/ 5312 w 164508"/>
                <a:gd name="connsiteY35" fmla="*/ 132040 h 191573"/>
                <a:gd name="connsiteX36" fmla="*/ 5011 w 164508"/>
                <a:gd name="connsiteY36" fmla="*/ 132892 h 191573"/>
                <a:gd name="connsiteX37" fmla="*/ 8769 w 164508"/>
                <a:gd name="connsiteY37" fmla="*/ 146221 h 191573"/>
                <a:gd name="connsiteX38" fmla="*/ 50 w 164508"/>
                <a:gd name="connsiteY38" fmla="*/ 152385 h 1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64508" h="191573">
                  <a:moveTo>
                    <a:pt x="0" y="152285"/>
                  </a:moveTo>
                  <a:cubicBezTo>
                    <a:pt x="1253" y="153537"/>
                    <a:pt x="2455" y="154740"/>
                    <a:pt x="3608" y="155842"/>
                  </a:cubicBezTo>
                  <a:cubicBezTo>
                    <a:pt x="7316" y="159500"/>
                    <a:pt x="10523" y="162657"/>
                    <a:pt x="13079" y="166265"/>
                  </a:cubicBezTo>
                  <a:cubicBezTo>
                    <a:pt x="15334" y="169422"/>
                    <a:pt x="16887" y="173030"/>
                    <a:pt x="18440" y="176438"/>
                  </a:cubicBezTo>
                  <a:cubicBezTo>
                    <a:pt x="19393" y="178643"/>
                    <a:pt x="20395" y="180797"/>
                    <a:pt x="21497" y="182902"/>
                  </a:cubicBezTo>
                  <a:cubicBezTo>
                    <a:pt x="23953" y="187362"/>
                    <a:pt x="27410" y="190318"/>
                    <a:pt x="31219" y="191270"/>
                  </a:cubicBezTo>
                  <a:cubicBezTo>
                    <a:pt x="34526" y="192072"/>
                    <a:pt x="38134" y="191270"/>
                    <a:pt x="41592" y="189015"/>
                  </a:cubicBezTo>
                  <a:cubicBezTo>
                    <a:pt x="56023" y="179394"/>
                    <a:pt x="71557" y="176688"/>
                    <a:pt x="84887" y="175285"/>
                  </a:cubicBezTo>
                  <a:lnTo>
                    <a:pt x="86991" y="175085"/>
                  </a:lnTo>
                  <a:cubicBezTo>
                    <a:pt x="94007" y="174383"/>
                    <a:pt x="101223" y="173632"/>
                    <a:pt x="108238" y="172529"/>
                  </a:cubicBezTo>
                  <a:cubicBezTo>
                    <a:pt x="114953" y="171477"/>
                    <a:pt x="121718" y="170224"/>
                    <a:pt x="127680" y="169071"/>
                  </a:cubicBezTo>
                  <a:lnTo>
                    <a:pt x="132842" y="168119"/>
                  </a:lnTo>
                  <a:cubicBezTo>
                    <a:pt x="137753" y="160803"/>
                    <a:pt x="137252" y="154239"/>
                    <a:pt x="136751" y="147324"/>
                  </a:cubicBezTo>
                  <a:lnTo>
                    <a:pt x="136650" y="145971"/>
                  </a:lnTo>
                  <a:cubicBezTo>
                    <a:pt x="135598" y="131339"/>
                    <a:pt x="137101" y="114953"/>
                    <a:pt x="156494" y="104129"/>
                  </a:cubicBezTo>
                  <a:cubicBezTo>
                    <a:pt x="159851" y="102225"/>
                    <a:pt x="164010" y="99118"/>
                    <a:pt x="164462" y="94909"/>
                  </a:cubicBezTo>
                  <a:cubicBezTo>
                    <a:pt x="164963" y="90499"/>
                    <a:pt x="161305" y="86239"/>
                    <a:pt x="158198" y="83483"/>
                  </a:cubicBezTo>
                  <a:cubicBezTo>
                    <a:pt x="149579" y="75817"/>
                    <a:pt x="143315" y="66195"/>
                    <a:pt x="138454" y="53217"/>
                  </a:cubicBezTo>
                  <a:lnTo>
                    <a:pt x="138454" y="53217"/>
                  </a:lnTo>
                  <a:cubicBezTo>
                    <a:pt x="134897" y="43596"/>
                    <a:pt x="131439" y="33925"/>
                    <a:pt x="127981" y="24303"/>
                  </a:cubicBezTo>
                  <a:lnTo>
                    <a:pt x="123221" y="11074"/>
                  </a:lnTo>
                  <a:cubicBezTo>
                    <a:pt x="122920" y="10222"/>
                    <a:pt x="122619" y="9320"/>
                    <a:pt x="122369" y="8418"/>
                  </a:cubicBezTo>
                  <a:cubicBezTo>
                    <a:pt x="121267" y="4710"/>
                    <a:pt x="120365" y="1704"/>
                    <a:pt x="116055" y="0"/>
                  </a:cubicBezTo>
                  <a:cubicBezTo>
                    <a:pt x="110242" y="11375"/>
                    <a:pt x="99468" y="16887"/>
                    <a:pt x="88996" y="22199"/>
                  </a:cubicBezTo>
                  <a:cubicBezTo>
                    <a:pt x="84987" y="24253"/>
                    <a:pt x="80878" y="26358"/>
                    <a:pt x="77069" y="28763"/>
                  </a:cubicBezTo>
                  <a:cubicBezTo>
                    <a:pt x="75616" y="29715"/>
                    <a:pt x="74063" y="30517"/>
                    <a:pt x="72509" y="31319"/>
                  </a:cubicBezTo>
                  <a:cubicBezTo>
                    <a:pt x="70555" y="32371"/>
                    <a:pt x="68651" y="33373"/>
                    <a:pt x="67047" y="34576"/>
                  </a:cubicBezTo>
                  <a:cubicBezTo>
                    <a:pt x="64191" y="36731"/>
                    <a:pt x="61285" y="38785"/>
                    <a:pt x="58328" y="40890"/>
                  </a:cubicBezTo>
                  <a:cubicBezTo>
                    <a:pt x="47955" y="48256"/>
                    <a:pt x="37282" y="55873"/>
                    <a:pt x="29264" y="66947"/>
                  </a:cubicBezTo>
                  <a:cubicBezTo>
                    <a:pt x="29615" y="67498"/>
                    <a:pt x="29966" y="68050"/>
                    <a:pt x="30267" y="68601"/>
                  </a:cubicBezTo>
                  <a:cubicBezTo>
                    <a:pt x="31770" y="71006"/>
                    <a:pt x="33373" y="73461"/>
                    <a:pt x="34175" y="76318"/>
                  </a:cubicBezTo>
                  <a:lnTo>
                    <a:pt x="34476" y="77370"/>
                  </a:lnTo>
                  <a:cubicBezTo>
                    <a:pt x="35829" y="81830"/>
                    <a:pt x="37532" y="87442"/>
                    <a:pt x="35528" y="91501"/>
                  </a:cubicBezTo>
                  <a:cubicBezTo>
                    <a:pt x="34326" y="94007"/>
                    <a:pt x="33173" y="96562"/>
                    <a:pt x="32020" y="99118"/>
                  </a:cubicBezTo>
                  <a:cubicBezTo>
                    <a:pt x="26408" y="111645"/>
                    <a:pt x="20595" y="124624"/>
                    <a:pt x="5713" y="130988"/>
                  </a:cubicBezTo>
                  <a:cubicBezTo>
                    <a:pt x="5562" y="131289"/>
                    <a:pt x="5412" y="131739"/>
                    <a:pt x="5312" y="132040"/>
                  </a:cubicBezTo>
                  <a:cubicBezTo>
                    <a:pt x="5212" y="132341"/>
                    <a:pt x="5111" y="132591"/>
                    <a:pt x="5011" y="132892"/>
                  </a:cubicBezTo>
                  <a:lnTo>
                    <a:pt x="8769" y="146221"/>
                  </a:lnTo>
                  <a:lnTo>
                    <a:pt x="50" y="152385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68" name="Полилиния: фигура 67">
              <a:extLst>
                <a:ext uri="{FF2B5EF4-FFF2-40B4-BE49-F238E27FC236}">
                  <a16:creationId xmlns:a16="http://schemas.microsoft.com/office/drawing/2014/main" id="{6EF35B19-B059-410B-9330-1CD38B05D839}"/>
                </a:ext>
              </a:extLst>
            </p:cNvPr>
            <p:cNvSpPr/>
            <p:nvPr/>
          </p:nvSpPr>
          <p:spPr>
            <a:xfrm>
              <a:off x="10785609" y="810884"/>
              <a:ext cx="128057" cy="179606"/>
            </a:xfrm>
            <a:custGeom>
              <a:avLst/>
              <a:gdLst>
                <a:gd name="connsiteX0" fmla="*/ 32400 w 102682"/>
                <a:gd name="connsiteY0" fmla="*/ 144016 h 144016"/>
                <a:gd name="connsiteX1" fmla="*/ 41871 w 102682"/>
                <a:gd name="connsiteY1" fmla="*/ 123120 h 144016"/>
                <a:gd name="connsiteX2" fmla="*/ 44377 w 102682"/>
                <a:gd name="connsiteY2" fmla="*/ 115654 h 144016"/>
                <a:gd name="connsiteX3" fmla="*/ 63469 w 102682"/>
                <a:gd name="connsiteY3" fmla="*/ 93305 h 144016"/>
                <a:gd name="connsiteX4" fmla="*/ 68279 w 102682"/>
                <a:gd name="connsiteY4" fmla="*/ 90799 h 144016"/>
                <a:gd name="connsiteX5" fmla="*/ 71587 w 102682"/>
                <a:gd name="connsiteY5" fmla="*/ 88996 h 144016"/>
                <a:gd name="connsiteX6" fmla="*/ 86920 w 102682"/>
                <a:gd name="connsiteY6" fmla="*/ 69954 h 144016"/>
                <a:gd name="connsiteX7" fmla="*/ 97042 w 102682"/>
                <a:gd name="connsiteY7" fmla="*/ 45249 h 144016"/>
                <a:gd name="connsiteX8" fmla="*/ 95539 w 102682"/>
                <a:gd name="connsiteY8" fmla="*/ 501 h 144016"/>
                <a:gd name="connsiteX9" fmla="*/ 84415 w 102682"/>
                <a:gd name="connsiteY9" fmla="*/ 251 h 144016"/>
                <a:gd name="connsiteX10" fmla="*/ 72138 w 102682"/>
                <a:gd name="connsiteY10" fmla="*/ 0 h 144016"/>
                <a:gd name="connsiteX11" fmla="*/ 57255 w 102682"/>
                <a:gd name="connsiteY11" fmla="*/ 802 h 144016"/>
                <a:gd name="connsiteX12" fmla="*/ 25285 w 102682"/>
                <a:gd name="connsiteY12" fmla="*/ 23602 h 144016"/>
                <a:gd name="connsiteX13" fmla="*/ 17568 w 102682"/>
                <a:gd name="connsiteY13" fmla="*/ 34175 h 144016"/>
                <a:gd name="connsiteX14" fmla="*/ 2485 w 102682"/>
                <a:gd name="connsiteY14" fmla="*/ 59882 h 144016"/>
                <a:gd name="connsiteX15" fmla="*/ 13509 w 102682"/>
                <a:gd name="connsiteY15" fmla="*/ 130888 h 144016"/>
                <a:gd name="connsiteX16" fmla="*/ 32400 w 102682"/>
                <a:gd name="connsiteY16" fmla="*/ 143966 h 144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2682" h="144016">
                  <a:moveTo>
                    <a:pt x="32400" y="144016"/>
                  </a:moveTo>
                  <a:cubicBezTo>
                    <a:pt x="37261" y="137703"/>
                    <a:pt x="39616" y="130286"/>
                    <a:pt x="41871" y="123120"/>
                  </a:cubicBezTo>
                  <a:cubicBezTo>
                    <a:pt x="42673" y="120615"/>
                    <a:pt x="43475" y="118109"/>
                    <a:pt x="44377" y="115654"/>
                  </a:cubicBezTo>
                  <a:cubicBezTo>
                    <a:pt x="47233" y="107737"/>
                    <a:pt x="52044" y="98116"/>
                    <a:pt x="63469" y="93305"/>
                  </a:cubicBezTo>
                  <a:cubicBezTo>
                    <a:pt x="65072" y="92654"/>
                    <a:pt x="66626" y="91752"/>
                    <a:pt x="68279" y="90799"/>
                  </a:cubicBezTo>
                  <a:cubicBezTo>
                    <a:pt x="69382" y="90198"/>
                    <a:pt x="70434" y="89547"/>
                    <a:pt x="71587" y="88996"/>
                  </a:cubicBezTo>
                  <a:cubicBezTo>
                    <a:pt x="80957" y="84185"/>
                    <a:pt x="85367" y="78673"/>
                    <a:pt x="86920" y="69954"/>
                  </a:cubicBezTo>
                  <a:cubicBezTo>
                    <a:pt x="88574" y="60733"/>
                    <a:pt x="93184" y="51914"/>
                    <a:pt x="97042" y="45249"/>
                  </a:cubicBezTo>
                  <a:cubicBezTo>
                    <a:pt x="105010" y="31469"/>
                    <a:pt x="104559" y="17589"/>
                    <a:pt x="95539" y="501"/>
                  </a:cubicBezTo>
                  <a:cubicBezTo>
                    <a:pt x="91831" y="501"/>
                    <a:pt x="88123" y="351"/>
                    <a:pt x="84415" y="251"/>
                  </a:cubicBezTo>
                  <a:cubicBezTo>
                    <a:pt x="80256" y="150"/>
                    <a:pt x="76147" y="0"/>
                    <a:pt x="72138" y="0"/>
                  </a:cubicBezTo>
                  <a:cubicBezTo>
                    <a:pt x="67127" y="0"/>
                    <a:pt x="62166" y="200"/>
                    <a:pt x="57255" y="802"/>
                  </a:cubicBezTo>
                  <a:cubicBezTo>
                    <a:pt x="40468" y="2906"/>
                    <a:pt x="30045" y="10373"/>
                    <a:pt x="25285" y="23602"/>
                  </a:cubicBezTo>
                  <a:cubicBezTo>
                    <a:pt x="24634" y="25406"/>
                    <a:pt x="22228" y="31419"/>
                    <a:pt x="17568" y="34175"/>
                  </a:cubicBezTo>
                  <a:cubicBezTo>
                    <a:pt x="7746" y="39938"/>
                    <a:pt x="5191" y="49609"/>
                    <a:pt x="2485" y="59882"/>
                  </a:cubicBezTo>
                  <a:cubicBezTo>
                    <a:pt x="-4380" y="85688"/>
                    <a:pt x="4188" y="109090"/>
                    <a:pt x="13509" y="130888"/>
                  </a:cubicBezTo>
                  <a:cubicBezTo>
                    <a:pt x="16516" y="137853"/>
                    <a:pt x="22679" y="142162"/>
                    <a:pt x="32400" y="14396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69" name="Полилиния: фигура 68">
              <a:extLst>
                <a:ext uri="{FF2B5EF4-FFF2-40B4-BE49-F238E27FC236}">
                  <a16:creationId xmlns:a16="http://schemas.microsoft.com/office/drawing/2014/main" id="{C70C5F54-4868-42B7-AA5D-CE631C7643BC}"/>
                </a:ext>
              </a:extLst>
            </p:cNvPr>
            <p:cNvSpPr/>
            <p:nvPr/>
          </p:nvSpPr>
          <p:spPr>
            <a:xfrm>
              <a:off x="8964961" y="1368084"/>
              <a:ext cx="213269" cy="95437"/>
            </a:xfrm>
            <a:custGeom>
              <a:avLst/>
              <a:gdLst>
                <a:gd name="connsiteX0" fmla="*/ 3208 w 171009"/>
                <a:gd name="connsiteY0" fmla="*/ 48450 h 76526"/>
                <a:gd name="connsiteX1" fmla="*/ 17640 w 171009"/>
                <a:gd name="connsiteY1" fmla="*/ 63282 h 76526"/>
                <a:gd name="connsiteX2" fmla="*/ 45250 w 171009"/>
                <a:gd name="connsiteY2" fmla="*/ 69346 h 76526"/>
                <a:gd name="connsiteX3" fmla="*/ 75166 w 171009"/>
                <a:gd name="connsiteY3" fmla="*/ 75860 h 76526"/>
                <a:gd name="connsiteX4" fmla="*/ 90149 w 171009"/>
                <a:gd name="connsiteY4" fmla="*/ 75559 h 76526"/>
                <a:gd name="connsiteX5" fmla="*/ 163209 w 171009"/>
                <a:gd name="connsiteY5" fmla="*/ 34870 h 76526"/>
                <a:gd name="connsiteX6" fmla="*/ 168721 w 171009"/>
                <a:gd name="connsiteY6" fmla="*/ 7359 h 76526"/>
                <a:gd name="connsiteX7" fmla="*/ 160854 w 171009"/>
                <a:gd name="connsiteY7" fmla="*/ 5706 h 76526"/>
                <a:gd name="connsiteX8" fmla="*/ 140159 w 171009"/>
                <a:gd name="connsiteY8" fmla="*/ 1246 h 76526"/>
                <a:gd name="connsiteX9" fmla="*/ 108289 w 171009"/>
                <a:gd name="connsiteY9" fmla="*/ 12170 h 76526"/>
                <a:gd name="connsiteX10" fmla="*/ 100521 w 171009"/>
                <a:gd name="connsiteY10" fmla="*/ 20739 h 76526"/>
                <a:gd name="connsiteX11" fmla="*/ 97014 w 171009"/>
                <a:gd name="connsiteY11" fmla="*/ 24096 h 76526"/>
                <a:gd name="connsiteX12" fmla="*/ 95962 w 171009"/>
                <a:gd name="connsiteY12" fmla="*/ 25199 h 76526"/>
                <a:gd name="connsiteX13" fmla="*/ 94458 w 171009"/>
                <a:gd name="connsiteY13" fmla="*/ 24848 h 76526"/>
                <a:gd name="connsiteX14" fmla="*/ 69754 w 171009"/>
                <a:gd name="connsiteY14" fmla="*/ 11468 h 76526"/>
                <a:gd name="connsiteX15" fmla="*/ 56926 w 171009"/>
                <a:gd name="connsiteY15" fmla="*/ 7059 h 76526"/>
                <a:gd name="connsiteX16" fmla="*/ 36681 w 171009"/>
                <a:gd name="connsiteY16" fmla="*/ 15277 h 76526"/>
                <a:gd name="connsiteX17" fmla="*/ 35929 w 171009"/>
                <a:gd name="connsiteY17" fmla="*/ 19837 h 76526"/>
                <a:gd name="connsiteX18" fmla="*/ 18792 w 171009"/>
                <a:gd name="connsiteY18" fmla="*/ 42587 h 76526"/>
                <a:gd name="connsiteX19" fmla="*/ 17690 w 171009"/>
                <a:gd name="connsiteY19" fmla="*/ 42787 h 76526"/>
                <a:gd name="connsiteX20" fmla="*/ 401 w 171009"/>
                <a:gd name="connsiteY20" fmla="*/ 31112 h 76526"/>
                <a:gd name="connsiteX21" fmla="*/ 1604 w 171009"/>
                <a:gd name="connsiteY21" fmla="*/ 42336 h 76526"/>
                <a:gd name="connsiteX22" fmla="*/ 3158 w 171009"/>
                <a:gd name="connsiteY22" fmla="*/ 48500 h 76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1009" h="76526">
                  <a:moveTo>
                    <a:pt x="3208" y="48450"/>
                  </a:moveTo>
                  <a:cubicBezTo>
                    <a:pt x="4360" y="56968"/>
                    <a:pt x="8820" y="61528"/>
                    <a:pt x="17640" y="63282"/>
                  </a:cubicBezTo>
                  <a:cubicBezTo>
                    <a:pt x="26860" y="65136"/>
                    <a:pt x="36080" y="67241"/>
                    <a:pt x="45250" y="69346"/>
                  </a:cubicBezTo>
                  <a:cubicBezTo>
                    <a:pt x="55022" y="71550"/>
                    <a:pt x="65144" y="73856"/>
                    <a:pt x="75166" y="75860"/>
                  </a:cubicBezTo>
                  <a:cubicBezTo>
                    <a:pt x="80327" y="76862"/>
                    <a:pt x="85789" y="76712"/>
                    <a:pt x="90149" y="75559"/>
                  </a:cubicBezTo>
                  <a:cubicBezTo>
                    <a:pt x="119262" y="67492"/>
                    <a:pt x="144869" y="58873"/>
                    <a:pt x="163209" y="34870"/>
                  </a:cubicBezTo>
                  <a:cubicBezTo>
                    <a:pt x="171377" y="24146"/>
                    <a:pt x="172981" y="16329"/>
                    <a:pt x="168721" y="7359"/>
                  </a:cubicBezTo>
                  <a:lnTo>
                    <a:pt x="160854" y="5706"/>
                  </a:lnTo>
                  <a:cubicBezTo>
                    <a:pt x="153237" y="4102"/>
                    <a:pt x="146673" y="2699"/>
                    <a:pt x="140159" y="1246"/>
                  </a:cubicBezTo>
                  <a:cubicBezTo>
                    <a:pt x="125025" y="-2111"/>
                    <a:pt x="115204" y="1246"/>
                    <a:pt x="108289" y="12170"/>
                  </a:cubicBezTo>
                  <a:cubicBezTo>
                    <a:pt x="106184" y="15477"/>
                    <a:pt x="103328" y="18133"/>
                    <a:pt x="100521" y="20739"/>
                  </a:cubicBezTo>
                  <a:cubicBezTo>
                    <a:pt x="99319" y="21841"/>
                    <a:pt x="98116" y="22944"/>
                    <a:pt x="97014" y="24096"/>
                  </a:cubicBezTo>
                  <a:lnTo>
                    <a:pt x="95962" y="25199"/>
                  </a:lnTo>
                  <a:lnTo>
                    <a:pt x="94458" y="24848"/>
                  </a:lnTo>
                  <a:cubicBezTo>
                    <a:pt x="82833" y="22142"/>
                    <a:pt x="75216" y="17983"/>
                    <a:pt x="69754" y="11468"/>
                  </a:cubicBezTo>
                  <a:cubicBezTo>
                    <a:pt x="66397" y="7510"/>
                    <a:pt x="62137" y="7109"/>
                    <a:pt x="56926" y="7059"/>
                  </a:cubicBezTo>
                  <a:cubicBezTo>
                    <a:pt x="49259" y="6858"/>
                    <a:pt x="42945" y="9514"/>
                    <a:pt x="36681" y="15277"/>
                  </a:cubicBezTo>
                  <a:cubicBezTo>
                    <a:pt x="36381" y="16730"/>
                    <a:pt x="36180" y="18233"/>
                    <a:pt x="35929" y="19837"/>
                  </a:cubicBezTo>
                  <a:cubicBezTo>
                    <a:pt x="34677" y="28255"/>
                    <a:pt x="32973" y="39731"/>
                    <a:pt x="18792" y="42587"/>
                  </a:cubicBezTo>
                  <a:lnTo>
                    <a:pt x="17690" y="42787"/>
                  </a:lnTo>
                  <a:lnTo>
                    <a:pt x="401" y="31112"/>
                  </a:lnTo>
                  <a:cubicBezTo>
                    <a:pt x="-601" y="35120"/>
                    <a:pt x="452" y="38678"/>
                    <a:pt x="1604" y="42336"/>
                  </a:cubicBezTo>
                  <a:cubicBezTo>
                    <a:pt x="2205" y="44341"/>
                    <a:pt x="2857" y="46395"/>
                    <a:pt x="3158" y="4850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70" name="Полилиния: фигура 69">
              <a:extLst>
                <a:ext uri="{FF2B5EF4-FFF2-40B4-BE49-F238E27FC236}">
                  <a16:creationId xmlns:a16="http://schemas.microsoft.com/office/drawing/2014/main" id="{62327AF8-39D5-4366-A3C3-934D3F655D43}"/>
                </a:ext>
              </a:extLst>
            </p:cNvPr>
            <p:cNvSpPr/>
            <p:nvPr/>
          </p:nvSpPr>
          <p:spPr>
            <a:xfrm>
              <a:off x="8840037" y="1772468"/>
              <a:ext cx="151302" cy="109552"/>
            </a:xfrm>
            <a:custGeom>
              <a:avLst/>
              <a:gdLst>
                <a:gd name="connsiteX0" fmla="*/ 14181 w 121321"/>
                <a:gd name="connsiteY0" fmla="*/ 40340 h 87844"/>
                <a:gd name="connsiteX1" fmla="*/ 2956 w 121321"/>
                <a:gd name="connsiteY1" fmla="*/ 82032 h 87844"/>
                <a:gd name="connsiteX2" fmla="*/ 351 w 121321"/>
                <a:gd name="connsiteY2" fmla="*/ 86792 h 87844"/>
                <a:gd name="connsiteX3" fmla="*/ 0 w 121321"/>
                <a:gd name="connsiteY3" fmla="*/ 87544 h 87844"/>
                <a:gd name="connsiteX4" fmla="*/ 351 w 121321"/>
                <a:gd name="connsiteY4" fmla="*/ 87845 h 87844"/>
                <a:gd name="connsiteX5" fmla="*/ 6163 w 121321"/>
                <a:gd name="connsiteY5" fmla="*/ 85189 h 87844"/>
                <a:gd name="connsiteX6" fmla="*/ 21848 w 121321"/>
                <a:gd name="connsiteY6" fmla="*/ 77772 h 87844"/>
                <a:gd name="connsiteX7" fmla="*/ 47655 w 121321"/>
                <a:gd name="connsiteY7" fmla="*/ 71258 h 87844"/>
                <a:gd name="connsiteX8" fmla="*/ 69653 w 121321"/>
                <a:gd name="connsiteY8" fmla="*/ 68602 h 87844"/>
                <a:gd name="connsiteX9" fmla="*/ 94257 w 121321"/>
                <a:gd name="connsiteY9" fmla="*/ 65696 h 87844"/>
                <a:gd name="connsiteX10" fmla="*/ 120064 w 121321"/>
                <a:gd name="connsiteY10" fmla="*/ 43246 h 87844"/>
                <a:gd name="connsiteX11" fmla="*/ 116656 w 121321"/>
                <a:gd name="connsiteY11" fmla="*/ 29717 h 87844"/>
                <a:gd name="connsiteX12" fmla="*/ 101874 w 121321"/>
                <a:gd name="connsiteY12" fmla="*/ 20096 h 87844"/>
                <a:gd name="connsiteX13" fmla="*/ 87142 w 121321"/>
                <a:gd name="connsiteY13" fmla="*/ 10525 h 87844"/>
                <a:gd name="connsiteX14" fmla="*/ 48607 w 121321"/>
                <a:gd name="connsiteY14" fmla="*/ 102 h 87844"/>
                <a:gd name="connsiteX15" fmla="*/ 17038 w 121321"/>
                <a:gd name="connsiteY15" fmla="*/ 20948 h 87844"/>
                <a:gd name="connsiteX16" fmla="*/ 14281 w 121321"/>
                <a:gd name="connsiteY16" fmla="*/ 40340 h 87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1321" h="87844">
                  <a:moveTo>
                    <a:pt x="14181" y="40340"/>
                  </a:moveTo>
                  <a:cubicBezTo>
                    <a:pt x="14983" y="55824"/>
                    <a:pt x="11325" y="69454"/>
                    <a:pt x="2956" y="82032"/>
                  </a:cubicBezTo>
                  <a:cubicBezTo>
                    <a:pt x="2005" y="83485"/>
                    <a:pt x="1203" y="85088"/>
                    <a:pt x="351" y="86792"/>
                  </a:cubicBezTo>
                  <a:cubicBezTo>
                    <a:pt x="250" y="87043"/>
                    <a:pt x="100" y="87293"/>
                    <a:pt x="0" y="87544"/>
                  </a:cubicBezTo>
                  <a:cubicBezTo>
                    <a:pt x="100" y="87644"/>
                    <a:pt x="200" y="87744"/>
                    <a:pt x="351" y="87845"/>
                  </a:cubicBezTo>
                  <a:cubicBezTo>
                    <a:pt x="2255" y="86942"/>
                    <a:pt x="4209" y="86091"/>
                    <a:pt x="6163" y="85189"/>
                  </a:cubicBezTo>
                  <a:cubicBezTo>
                    <a:pt x="11375" y="82834"/>
                    <a:pt x="16737" y="80378"/>
                    <a:pt x="21848" y="77772"/>
                  </a:cubicBezTo>
                  <a:cubicBezTo>
                    <a:pt x="30617" y="73212"/>
                    <a:pt x="39837" y="71909"/>
                    <a:pt x="47655" y="71258"/>
                  </a:cubicBezTo>
                  <a:cubicBezTo>
                    <a:pt x="54971" y="70657"/>
                    <a:pt x="62437" y="69604"/>
                    <a:pt x="69653" y="68602"/>
                  </a:cubicBezTo>
                  <a:cubicBezTo>
                    <a:pt x="77671" y="67450"/>
                    <a:pt x="85988" y="66297"/>
                    <a:pt x="94257" y="65696"/>
                  </a:cubicBezTo>
                  <a:cubicBezTo>
                    <a:pt x="106985" y="64794"/>
                    <a:pt x="114702" y="58079"/>
                    <a:pt x="120064" y="43246"/>
                  </a:cubicBezTo>
                  <a:cubicBezTo>
                    <a:pt x="122419" y="36682"/>
                    <a:pt x="121567" y="33224"/>
                    <a:pt x="116656" y="29717"/>
                  </a:cubicBezTo>
                  <a:cubicBezTo>
                    <a:pt x="111896" y="26309"/>
                    <a:pt x="106784" y="23152"/>
                    <a:pt x="101874" y="20096"/>
                  </a:cubicBezTo>
                  <a:cubicBezTo>
                    <a:pt x="96963" y="17089"/>
                    <a:pt x="91902" y="13982"/>
                    <a:pt x="87142" y="10525"/>
                  </a:cubicBezTo>
                  <a:cubicBezTo>
                    <a:pt x="75966" y="2507"/>
                    <a:pt x="63589" y="1104"/>
                    <a:pt x="48607" y="102"/>
                  </a:cubicBezTo>
                  <a:cubicBezTo>
                    <a:pt x="33223" y="-901"/>
                    <a:pt x="23501" y="5464"/>
                    <a:pt x="17038" y="20948"/>
                  </a:cubicBezTo>
                  <a:cubicBezTo>
                    <a:pt x="14883" y="26209"/>
                    <a:pt x="13881" y="33074"/>
                    <a:pt x="14281" y="4034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71" name="Полилиния: фигура 70">
              <a:extLst>
                <a:ext uri="{FF2B5EF4-FFF2-40B4-BE49-F238E27FC236}">
                  <a16:creationId xmlns:a16="http://schemas.microsoft.com/office/drawing/2014/main" id="{A9EE1983-9CB0-480A-9F77-14C95E100D24}"/>
                </a:ext>
              </a:extLst>
            </p:cNvPr>
            <p:cNvSpPr/>
            <p:nvPr/>
          </p:nvSpPr>
          <p:spPr>
            <a:xfrm>
              <a:off x="3737199" y="1912788"/>
              <a:ext cx="109656" cy="88300"/>
            </a:xfrm>
            <a:custGeom>
              <a:avLst/>
              <a:gdLst>
                <a:gd name="connsiteX0" fmla="*/ 3558 w 87927"/>
                <a:gd name="connsiteY0" fmla="*/ 50444 h 70803"/>
                <a:gd name="connsiteX1" fmla="*/ 19894 w 87927"/>
                <a:gd name="connsiteY1" fmla="*/ 65878 h 70803"/>
                <a:gd name="connsiteX2" fmla="*/ 21297 w 87927"/>
                <a:gd name="connsiteY2" fmla="*/ 66028 h 70803"/>
                <a:gd name="connsiteX3" fmla="*/ 29866 w 87927"/>
                <a:gd name="connsiteY3" fmla="*/ 67832 h 70803"/>
                <a:gd name="connsiteX4" fmla="*/ 73311 w 87927"/>
                <a:gd name="connsiteY4" fmla="*/ 60416 h 70803"/>
                <a:gd name="connsiteX5" fmla="*/ 73762 w 87927"/>
                <a:gd name="connsiteY5" fmla="*/ 60166 h 70803"/>
                <a:gd name="connsiteX6" fmla="*/ 87392 w 87927"/>
                <a:gd name="connsiteY6" fmla="*/ 44882 h 70803"/>
                <a:gd name="connsiteX7" fmla="*/ 77721 w 87927"/>
                <a:gd name="connsiteY7" fmla="*/ 12461 h 70803"/>
                <a:gd name="connsiteX8" fmla="*/ 73712 w 87927"/>
                <a:gd name="connsiteY8" fmla="*/ 5495 h 70803"/>
                <a:gd name="connsiteX9" fmla="*/ 60683 w 87927"/>
                <a:gd name="connsiteY9" fmla="*/ 685 h 70803"/>
                <a:gd name="connsiteX10" fmla="*/ 54520 w 87927"/>
                <a:gd name="connsiteY10" fmla="*/ 434 h 70803"/>
                <a:gd name="connsiteX11" fmla="*/ 17739 w 87927"/>
                <a:gd name="connsiteY11" fmla="*/ 14916 h 70803"/>
                <a:gd name="connsiteX12" fmla="*/ 5312 w 87927"/>
                <a:gd name="connsiteY12" fmla="*/ 28195 h 70803"/>
                <a:gd name="connsiteX13" fmla="*/ 0 w 87927"/>
                <a:gd name="connsiteY13" fmla="*/ 33457 h 70803"/>
                <a:gd name="connsiteX14" fmla="*/ 1203 w 87927"/>
                <a:gd name="connsiteY14" fmla="*/ 39169 h 70803"/>
                <a:gd name="connsiteX15" fmla="*/ 3458 w 87927"/>
                <a:gd name="connsiteY15" fmla="*/ 50444 h 70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7927" h="70803">
                  <a:moveTo>
                    <a:pt x="3558" y="50444"/>
                  </a:moveTo>
                  <a:cubicBezTo>
                    <a:pt x="5061" y="59915"/>
                    <a:pt x="10273" y="64776"/>
                    <a:pt x="19894" y="65878"/>
                  </a:cubicBezTo>
                  <a:lnTo>
                    <a:pt x="21297" y="66028"/>
                  </a:lnTo>
                  <a:cubicBezTo>
                    <a:pt x="24153" y="66329"/>
                    <a:pt x="27110" y="66630"/>
                    <a:pt x="29866" y="67832"/>
                  </a:cubicBezTo>
                  <a:cubicBezTo>
                    <a:pt x="45700" y="74998"/>
                    <a:pt x="59130" y="67883"/>
                    <a:pt x="73311" y="60416"/>
                  </a:cubicBezTo>
                  <a:lnTo>
                    <a:pt x="73762" y="60166"/>
                  </a:lnTo>
                  <a:cubicBezTo>
                    <a:pt x="81780" y="55956"/>
                    <a:pt x="86240" y="50945"/>
                    <a:pt x="87392" y="44882"/>
                  </a:cubicBezTo>
                  <a:cubicBezTo>
                    <a:pt x="89747" y="32655"/>
                    <a:pt x="83934" y="22833"/>
                    <a:pt x="77721" y="12461"/>
                  </a:cubicBezTo>
                  <a:cubicBezTo>
                    <a:pt x="76368" y="10156"/>
                    <a:pt x="74965" y="7851"/>
                    <a:pt x="73712" y="5495"/>
                  </a:cubicBezTo>
                  <a:cubicBezTo>
                    <a:pt x="71156" y="885"/>
                    <a:pt x="67047" y="785"/>
                    <a:pt x="60683" y="685"/>
                  </a:cubicBezTo>
                  <a:cubicBezTo>
                    <a:pt x="58629" y="635"/>
                    <a:pt x="56575" y="685"/>
                    <a:pt x="54520" y="434"/>
                  </a:cubicBezTo>
                  <a:cubicBezTo>
                    <a:pt x="38735" y="-1520"/>
                    <a:pt x="27060" y="3090"/>
                    <a:pt x="17739" y="14916"/>
                  </a:cubicBezTo>
                  <a:cubicBezTo>
                    <a:pt x="14031" y="19626"/>
                    <a:pt x="9772" y="23786"/>
                    <a:pt x="5312" y="28195"/>
                  </a:cubicBezTo>
                  <a:cubicBezTo>
                    <a:pt x="3608" y="29899"/>
                    <a:pt x="1804" y="31653"/>
                    <a:pt x="0" y="33457"/>
                  </a:cubicBezTo>
                  <a:cubicBezTo>
                    <a:pt x="451" y="35511"/>
                    <a:pt x="852" y="37415"/>
                    <a:pt x="1203" y="39169"/>
                  </a:cubicBezTo>
                  <a:cubicBezTo>
                    <a:pt x="2105" y="43328"/>
                    <a:pt x="2856" y="46886"/>
                    <a:pt x="3458" y="5044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72" name="Полилиния: фигура 71">
              <a:extLst>
                <a:ext uri="{FF2B5EF4-FFF2-40B4-BE49-F238E27FC236}">
                  <a16:creationId xmlns:a16="http://schemas.microsoft.com/office/drawing/2014/main" id="{26AC9E18-5FF4-4BA4-ABBD-3C8CD2D8B706}"/>
                </a:ext>
              </a:extLst>
            </p:cNvPr>
            <p:cNvSpPr/>
            <p:nvPr/>
          </p:nvSpPr>
          <p:spPr>
            <a:xfrm>
              <a:off x="5010128" y="152515"/>
              <a:ext cx="181520" cy="85928"/>
            </a:xfrm>
            <a:custGeom>
              <a:avLst/>
              <a:gdLst>
                <a:gd name="connsiteX0" fmla="*/ 14783 w 145551"/>
                <a:gd name="connsiteY0" fmla="*/ 67248 h 68901"/>
                <a:gd name="connsiteX1" fmla="*/ 15584 w 145551"/>
                <a:gd name="connsiteY1" fmla="*/ 67649 h 68901"/>
                <a:gd name="connsiteX2" fmla="*/ 18841 w 145551"/>
                <a:gd name="connsiteY2" fmla="*/ 68901 h 68901"/>
                <a:gd name="connsiteX3" fmla="*/ 21547 w 145551"/>
                <a:gd name="connsiteY3" fmla="*/ 67899 h 68901"/>
                <a:gd name="connsiteX4" fmla="*/ 24604 w 145551"/>
                <a:gd name="connsiteY4" fmla="*/ 66646 h 68901"/>
                <a:gd name="connsiteX5" fmla="*/ 29866 w 145551"/>
                <a:gd name="connsiteY5" fmla="*/ 65644 h 68901"/>
                <a:gd name="connsiteX6" fmla="*/ 31619 w 145551"/>
                <a:gd name="connsiteY6" fmla="*/ 65394 h 68901"/>
                <a:gd name="connsiteX7" fmla="*/ 35729 w 145551"/>
                <a:gd name="connsiteY7" fmla="*/ 64792 h 68901"/>
                <a:gd name="connsiteX8" fmla="*/ 33824 w 145551"/>
                <a:gd name="connsiteY8" fmla="*/ 50561 h 68901"/>
                <a:gd name="connsiteX9" fmla="*/ 33423 w 145551"/>
                <a:gd name="connsiteY9" fmla="*/ 47605 h 68901"/>
                <a:gd name="connsiteX10" fmla="*/ 36380 w 145551"/>
                <a:gd name="connsiteY10" fmla="*/ 47504 h 68901"/>
                <a:gd name="connsiteX11" fmla="*/ 77420 w 145551"/>
                <a:gd name="connsiteY11" fmla="*/ 54420 h 68901"/>
                <a:gd name="connsiteX12" fmla="*/ 129384 w 145551"/>
                <a:gd name="connsiteY12" fmla="*/ 44297 h 68901"/>
                <a:gd name="connsiteX13" fmla="*/ 145420 w 145551"/>
                <a:gd name="connsiteY13" fmla="*/ 43345 h 68901"/>
                <a:gd name="connsiteX14" fmla="*/ 138003 w 145551"/>
                <a:gd name="connsiteY14" fmla="*/ 32872 h 68901"/>
                <a:gd name="connsiteX15" fmla="*/ 127280 w 145551"/>
                <a:gd name="connsiteY15" fmla="*/ 22048 h 68901"/>
                <a:gd name="connsiteX16" fmla="*/ 126879 w 145551"/>
                <a:gd name="connsiteY16" fmla="*/ 20545 h 68901"/>
                <a:gd name="connsiteX17" fmla="*/ 139907 w 145551"/>
                <a:gd name="connsiteY17" fmla="*/ 7416 h 68901"/>
                <a:gd name="connsiteX18" fmla="*/ 131539 w 145551"/>
                <a:gd name="connsiteY18" fmla="*/ 0 h 68901"/>
                <a:gd name="connsiteX19" fmla="*/ 108088 w 145551"/>
                <a:gd name="connsiteY19" fmla="*/ 19994 h 68901"/>
                <a:gd name="connsiteX20" fmla="*/ 105181 w 145551"/>
                <a:gd name="connsiteY20" fmla="*/ 23852 h 68901"/>
                <a:gd name="connsiteX21" fmla="*/ 103628 w 145551"/>
                <a:gd name="connsiteY21" fmla="*/ 25306 h 68901"/>
                <a:gd name="connsiteX22" fmla="*/ 103077 w 145551"/>
                <a:gd name="connsiteY22" fmla="*/ 25857 h 68901"/>
                <a:gd name="connsiteX23" fmla="*/ 102325 w 145551"/>
                <a:gd name="connsiteY23" fmla="*/ 26057 h 68901"/>
                <a:gd name="connsiteX24" fmla="*/ 62437 w 145551"/>
                <a:gd name="connsiteY24" fmla="*/ 27561 h 68901"/>
                <a:gd name="connsiteX25" fmla="*/ 55923 w 145551"/>
                <a:gd name="connsiteY25" fmla="*/ 27110 h 68901"/>
                <a:gd name="connsiteX26" fmla="*/ 42944 w 145551"/>
                <a:gd name="connsiteY26" fmla="*/ 35378 h 68901"/>
                <a:gd name="connsiteX27" fmla="*/ 36129 w 145551"/>
                <a:gd name="connsiteY27" fmla="*/ 37633 h 68901"/>
                <a:gd name="connsiteX28" fmla="*/ 34526 w 145551"/>
                <a:gd name="connsiteY28" fmla="*/ 39086 h 68901"/>
                <a:gd name="connsiteX29" fmla="*/ 21998 w 145551"/>
                <a:gd name="connsiteY29" fmla="*/ 44398 h 68901"/>
                <a:gd name="connsiteX30" fmla="*/ 13229 w 145551"/>
                <a:gd name="connsiteY30" fmla="*/ 36179 h 68901"/>
                <a:gd name="connsiteX31" fmla="*/ 11726 w 145551"/>
                <a:gd name="connsiteY31" fmla="*/ 33073 h 68901"/>
                <a:gd name="connsiteX32" fmla="*/ 6915 w 145551"/>
                <a:gd name="connsiteY32" fmla="*/ 29665 h 68901"/>
                <a:gd name="connsiteX33" fmla="*/ 802 w 145551"/>
                <a:gd name="connsiteY33" fmla="*/ 33474 h 68901"/>
                <a:gd name="connsiteX34" fmla="*/ 0 w 145551"/>
                <a:gd name="connsiteY34" fmla="*/ 37482 h 68901"/>
                <a:gd name="connsiteX35" fmla="*/ 0 w 145551"/>
                <a:gd name="connsiteY35" fmla="*/ 38084 h 68901"/>
                <a:gd name="connsiteX36" fmla="*/ 14783 w 145551"/>
                <a:gd name="connsiteY36" fmla="*/ 44949 h 68901"/>
                <a:gd name="connsiteX37" fmla="*/ 14783 w 145551"/>
                <a:gd name="connsiteY37" fmla="*/ 67148 h 6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45551" h="68901">
                  <a:moveTo>
                    <a:pt x="14783" y="67248"/>
                  </a:moveTo>
                  <a:cubicBezTo>
                    <a:pt x="15033" y="67398"/>
                    <a:pt x="15334" y="67498"/>
                    <a:pt x="15584" y="67649"/>
                  </a:cubicBezTo>
                  <a:cubicBezTo>
                    <a:pt x="16837" y="68300"/>
                    <a:pt x="18040" y="68901"/>
                    <a:pt x="18841" y="68901"/>
                  </a:cubicBezTo>
                  <a:cubicBezTo>
                    <a:pt x="19493" y="68901"/>
                    <a:pt x="20545" y="68400"/>
                    <a:pt x="21547" y="67899"/>
                  </a:cubicBezTo>
                  <a:cubicBezTo>
                    <a:pt x="22550" y="67398"/>
                    <a:pt x="23602" y="66947"/>
                    <a:pt x="24604" y="66646"/>
                  </a:cubicBezTo>
                  <a:cubicBezTo>
                    <a:pt x="26358" y="66145"/>
                    <a:pt x="28162" y="65895"/>
                    <a:pt x="29866" y="65644"/>
                  </a:cubicBezTo>
                  <a:lnTo>
                    <a:pt x="31619" y="65394"/>
                  </a:lnTo>
                  <a:cubicBezTo>
                    <a:pt x="32973" y="65193"/>
                    <a:pt x="34275" y="64993"/>
                    <a:pt x="35729" y="64792"/>
                  </a:cubicBezTo>
                  <a:cubicBezTo>
                    <a:pt x="35127" y="60082"/>
                    <a:pt x="34526" y="55722"/>
                    <a:pt x="33824" y="50561"/>
                  </a:cubicBezTo>
                  <a:lnTo>
                    <a:pt x="33423" y="47605"/>
                  </a:lnTo>
                  <a:lnTo>
                    <a:pt x="36380" y="47504"/>
                  </a:lnTo>
                  <a:cubicBezTo>
                    <a:pt x="49609" y="47003"/>
                    <a:pt x="63590" y="47104"/>
                    <a:pt x="77420" y="54420"/>
                  </a:cubicBezTo>
                  <a:cubicBezTo>
                    <a:pt x="93856" y="45951"/>
                    <a:pt x="111896" y="45099"/>
                    <a:pt x="129384" y="44297"/>
                  </a:cubicBezTo>
                  <a:cubicBezTo>
                    <a:pt x="134646" y="44047"/>
                    <a:pt x="140108" y="43796"/>
                    <a:pt x="145420" y="43345"/>
                  </a:cubicBezTo>
                  <a:cubicBezTo>
                    <a:pt x="146271" y="37232"/>
                    <a:pt x="142914" y="35478"/>
                    <a:pt x="138003" y="32872"/>
                  </a:cubicBezTo>
                  <a:cubicBezTo>
                    <a:pt x="133744" y="30617"/>
                    <a:pt x="128883" y="28062"/>
                    <a:pt x="127280" y="22048"/>
                  </a:cubicBezTo>
                  <a:lnTo>
                    <a:pt x="126879" y="20545"/>
                  </a:lnTo>
                  <a:lnTo>
                    <a:pt x="139907" y="7416"/>
                  </a:lnTo>
                  <a:lnTo>
                    <a:pt x="131539" y="0"/>
                  </a:lnTo>
                  <a:cubicBezTo>
                    <a:pt x="112647" y="2656"/>
                    <a:pt x="112547" y="3007"/>
                    <a:pt x="108088" y="19994"/>
                  </a:cubicBezTo>
                  <a:cubicBezTo>
                    <a:pt x="107636" y="21748"/>
                    <a:pt x="106434" y="22750"/>
                    <a:pt x="105181" y="23852"/>
                  </a:cubicBezTo>
                  <a:cubicBezTo>
                    <a:pt x="104680" y="24253"/>
                    <a:pt x="104179" y="24754"/>
                    <a:pt x="103628" y="25306"/>
                  </a:cubicBezTo>
                  <a:lnTo>
                    <a:pt x="103077" y="25857"/>
                  </a:lnTo>
                  <a:lnTo>
                    <a:pt x="102325" y="26057"/>
                  </a:lnTo>
                  <a:cubicBezTo>
                    <a:pt x="90950" y="28763"/>
                    <a:pt x="78272" y="29264"/>
                    <a:pt x="62437" y="27561"/>
                  </a:cubicBezTo>
                  <a:cubicBezTo>
                    <a:pt x="59280" y="27210"/>
                    <a:pt x="57126" y="27160"/>
                    <a:pt x="55923" y="27110"/>
                  </a:cubicBezTo>
                  <a:cubicBezTo>
                    <a:pt x="53267" y="33724"/>
                    <a:pt x="47354" y="34676"/>
                    <a:pt x="42944" y="35378"/>
                  </a:cubicBezTo>
                  <a:cubicBezTo>
                    <a:pt x="40239" y="35779"/>
                    <a:pt x="37733" y="36179"/>
                    <a:pt x="36129" y="37633"/>
                  </a:cubicBezTo>
                  <a:cubicBezTo>
                    <a:pt x="35578" y="38134"/>
                    <a:pt x="35077" y="38635"/>
                    <a:pt x="34526" y="39086"/>
                  </a:cubicBezTo>
                  <a:cubicBezTo>
                    <a:pt x="31619" y="41892"/>
                    <a:pt x="28012" y="45350"/>
                    <a:pt x="21998" y="44398"/>
                  </a:cubicBezTo>
                  <a:cubicBezTo>
                    <a:pt x="16286" y="43496"/>
                    <a:pt x="14532" y="39286"/>
                    <a:pt x="13229" y="36179"/>
                  </a:cubicBezTo>
                  <a:cubicBezTo>
                    <a:pt x="12728" y="35027"/>
                    <a:pt x="12277" y="33925"/>
                    <a:pt x="11726" y="33073"/>
                  </a:cubicBezTo>
                  <a:cubicBezTo>
                    <a:pt x="10724" y="31569"/>
                    <a:pt x="9070" y="29715"/>
                    <a:pt x="6915" y="29665"/>
                  </a:cubicBezTo>
                  <a:cubicBezTo>
                    <a:pt x="5061" y="29465"/>
                    <a:pt x="2806" y="30918"/>
                    <a:pt x="802" y="33474"/>
                  </a:cubicBezTo>
                  <a:cubicBezTo>
                    <a:pt x="250" y="34175"/>
                    <a:pt x="100" y="35979"/>
                    <a:pt x="0" y="37482"/>
                  </a:cubicBezTo>
                  <a:cubicBezTo>
                    <a:pt x="0" y="37683"/>
                    <a:pt x="0" y="37883"/>
                    <a:pt x="0" y="38084"/>
                  </a:cubicBezTo>
                  <a:lnTo>
                    <a:pt x="14783" y="44949"/>
                  </a:lnTo>
                  <a:lnTo>
                    <a:pt x="14783" y="6714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73" name="Полилиния: фигура 72">
              <a:extLst>
                <a:ext uri="{FF2B5EF4-FFF2-40B4-BE49-F238E27FC236}">
                  <a16:creationId xmlns:a16="http://schemas.microsoft.com/office/drawing/2014/main" id="{4B6D3609-705C-4767-8A2C-0CD9FDB578CC}"/>
                </a:ext>
              </a:extLst>
            </p:cNvPr>
            <p:cNvSpPr/>
            <p:nvPr/>
          </p:nvSpPr>
          <p:spPr>
            <a:xfrm>
              <a:off x="5428656" y="363618"/>
              <a:ext cx="98080" cy="78706"/>
            </a:xfrm>
            <a:custGeom>
              <a:avLst/>
              <a:gdLst>
                <a:gd name="connsiteX0" fmla="*/ 20638 w 78645"/>
                <a:gd name="connsiteY0" fmla="*/ 60533 h 63110"/>
                <a:gd name="connsiteX1" fmla="*/ 26751 w 78645"/>
                <a:gd name="connsiteY1" fmla="*/ 63089 h 63110"/>
                <a:gd name="connsiteX2" fmla="*/ 77312 w 78645"/>
                <a:gd name="connsiteY2" fmla="*/ 27911 h 63110"/>
                <a:gd name="connsiteX3" fmla="*/ 77663 w 78645"/>
                <a:gd name="connsiteY3" fmla="*/ 27009 h 63110"/>
                <a:gd name="connsiteX4" fmla="*/ 77914 w 78645"/>
                <a:gd name="connsiteY4" fmla="*/ 26358 h 63110"/>
                <a:gd name="connsiteX5" fmla="*/ 77513 w 78645"/>
                <a:gd name="connsiteY5" fmla="*/ 18390 h 63110"/>
                <a:gd name="connsiteX6" fmla="*/ 72802 w 78645"/>
                <a:gd name="connsiteY6" fmla="*/ 15684 h 63110"/>
                <a:gd name="connsiteX7" fmla="*/ 72802 w 78645"/>
                <a:gd name="connsiteY7" fmla="*/ 15684 h 63110"/>
                <a:gd name="connsiteX8" fmla="*/ 36773 w 78645"/>
                <a:gd name="connsiteY8" fmla="*/ 3057 h 63110"/>
                <a:gd name="connsiteX9" fmla="*/ 27252 w 78645"/>
                <a:gd name="connsiteY9" fmla="*/ 601 h 63110"/>
                <a:gd name="connsiteX10" fmla="*/ 23394 w 78645"/>
                <a:gd name="connsiteY10" fmla="*/ 0 h 63110"/>
                <a:gd name="connsiteX11" fmla="*/ 13672 w 78645"/>
                <a:gd name="connsiteY11" fmla="*/ 12828 h 63110"/>
                <a:gd name="connsiteX12" fmla="*/ 42 w 78645"/>
                <a:gd name="connsiteY12" fmla="*/ 42293 h 63110"/>
                <a:gd name="connsiteX13" fmla="*/ 3500 w 78645"/>
                <a:gd name="connsiteY13" fmla="*/ 43646 h 63110"/>
                <a:gd name="connsiteX14" fmla="*/ 20588 w 78645"/>
                <a:gd name="connsiteY14" fmla="*/ 60583 h 63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645" h="63110">
                  <a:moveTo>
                    <a:pt x="20638" y="60533"/>
                  </a:moveTo>
                  <a:cubicBezTo>
                    <a:pt x="21239" y="61385"/>
                    <a:pt x="25398" y="63339"/>
                    <a:pt x="26751" y="63089"/>
                  </a:cubicBezTo>
                  <a:cubicBezTo>
                    <a:pt x="47396" y="58929"/>
                    <a:pt x="64384" y="47053"/>
                    <a:pt x="77312" y="27911"/>
                  </a:cubicBezTo>
                  <a:cubicBezTo>
                    <a:pt x="77412" y="27761"/>
                    <a:pt x="77563" y="27360"/>
                    <a:pt x="77663" y="27009"/>
                  </a:cubicBezTo>
                  <a:lnTo>
                    <a:pt x="77914" y="26358"/>
                  </a:lnTo>
                  <a:cubicBezTo>
                    <a:pt x="79016" y="23452"/>
                    <a:pt x="78866" y="20495"/>
                    <a:pt x="77513" y="18390"/>
                  </a:cubicBezTo>
                  <a:cubicBezTo>
                    <a:pt x="76510" y="16787"/>
                    <a:pt x="74857" y="15885"/>
                    <a:pt x="72802" y="15684"/>
                  </a:cubicBezTo>
                  <a:lnTo>
                    <a:pt x="72802" y="15684"/>
                  </a:lnTo>
                  <a:cubicBezTo>
                    <a:pt x="58621" y="14632"/>
                    <a:pt x="46645" y="8719"/>
                    <a:pt x="36773" y="3057"/>
                  </a:cubicBezTo>
                  <a:cubicBezTo>
                    <a:pt x="34268" y="1604"/>
                    <a:pt x="30860" y="1102"/>
                    <a:pt x="27252" y="601"/>
                  </a:cubicBezTo>
                  <a:cubicBezTo>
                    <a:pt x="26000" y="401"/>
                    <a:pt x="24697" y="200"/>
                    <a:pt x="23394" y="0"/>
                  </a:cubicBezTo>
                  <a:cubicBezTo>
                    <a:pt x="20588" y="4660"/>
                    <a:pt x="17080" y="8769"/>
                    <a:pt x="13672" y="12828"/>
                  </a:cubicBezTo>
                  <a:cubicBezTo>
                    <a:pt x="6356" y="21497"/>
                    <a:pt x="-609" y="29715"/>
                    <a:pt x="42" y="42293"/>
                  </a:cubicBezTo>
                  <a:cubicBezTo>
                    <a:pt x="1195" y="42794"/>
                    <a:pt x="2348" y="43245"/>
                    <a:pt x="3500" y="43646"/>
                  </a:cubicBezTo>
                  <a:cubicBezTo>
                    <a:pt x="10766" y="46452"/>
                    <a:pt x="18984" y="49609"/>
                    <a:pt x="20588" y="6058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74" name="Полилиния: фигура 73">
              <a:extLst>
                <a:ext uri="{FF2B5EF4-FFF2-40B4-BE49-F238E27FC236}">
                  <a16:creationId xmlns:a16="http://schemas.microsoft.com/office/drawing/2014/main" id="{454A467F-4B88-42D0-9EAE-8A6BBFD9B115}"/>
                </a:ext>
              </a:extLst>
            </p:cNvPr>
            <p:cNvSpPr/>
            <p:nvPr/>
          </p:nvSpPr>
          <p:spPr>
            <a:xfrm>
              <a:off x="6501351" y="896313"/>
              <a:ext cx="71607" cy="61993"/>
            </a:xfrm>
            <a:custGeom>
              <a:avLst/>
              <a:gdLst>
                <a:gd name="connsiteX0" fmla="*/ 4756 w 57418"/>
                <a:gd name="connsiteY0" fmla="*/ 22900 h 49709"/>
                <a:gd name="connsiteX1" fmla="*/ 29711 w 57418"/>
                <a:gd name="connsiteY1" fmla="*/ 49709 h 49709"/>
                <a:gd name="connsiteX2" fmla="*/ 34772 w 57418"/>
                <a:gd name="connsiteY2" fmla="*/ 48707 h 49709"/>
                <a:gd name="connsiteX3" fmla="*/ 48052 w 57418"/>
                <a:gd name="connsiteY3" fmla="*/ 45300 h 49709"/>
                <a:gd name="connsiteX4" fmla="*/ 56921 w 57418"/>
                <a:gd name="connsiteY4" fmla="*/ 34225 h 49709"/>
                <a:gd name="connsiteX5" fmla="*/ 53163 w 57418"/>
                <a:gd name="connsiteY5" fmla="*/ 18290 h 49709"/>
                <a:gd name="connsiteX6" fmla="*/ 19238 w 57418"/>
                <a:gd name="connsiteY6" fmla="*/ 1954 h 49709"/>
                <a:gd name="connsiteX7" fmla="*/ 12523 w 57418"/>
                <a:gd name="connsiteY7" fmla="*/ 200 h 49709"/>
                <a:gd name="connsiteX8" fmla="*/ 11070 w 57418"/>
                <a:gd name="connsiteY8" fmla="*/ 0 h 49709"/>
                <a:gd name="connsiteX9" fmla="*/ 998 w 57418"/>
                <a:gd name="connsiteY9" fmla="*/ 7717 h 49709"/>
                <a:gd name="connsiteX10" fmla="*/ 4756 w 57418"/>
                <a:gd name="connsiteY10" fmla="*/ 22900 h 49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418" h="49709">
                  <a:moveTo>
                    <a:pt x="4756" y="22900"/>
                  </a:moveTo>
                  <a:cubicBezTo>
                    <a:pt x="18537" y="29164"/>
                    <a:pt x="26304" y="37482"/>
                    <a:pt x="29711" y="49709"/>
                  </a:cubicBezTo>
                  <a:cubicBezTo>
                    <a:pt x="31465" y="49358"/>
                    <a:pt x="33119" y="49008"/>
                    <a:pt x="34772" y="48707"/>
                  </a:cubicBezTo>
                  <a:cubicBezTo>
                    <a:pt x="39733" y="47755"/>
                    <a:pt x="44043" y="46953"/>
                    <a:pt x="48052" y="45300"/>
                  </a:cubicBezTo>
                  <a:cubicBezTo>
                    <a:pt x="52461" y="43496"/>
                    <a:pt x="55718" y="39487"/>
                    <a:pt x="56921" y="34225"/>
                  </a:cubicBezTo>
                  <a:cubicBezTo>
                    <a:pt x="58274" y="28463"/>
                    <a:pt x="56821" y="22349"/>
                    <a:pt x="53163" y="18290"/>
                  </a:cubicBezTo>
                  <a:cubicBezTo>
                    <a:pt x="44143" y="8268"/>
                    <a:pt x="32066" y="5211"/>
                    <a:pt x="19238" y="1954"/>
                  </a:cubicBezTo>
                  <a:cubicBezTo>
                    <a:pt x="16983" y="1403"/>
                    <a:pt x="14778" y="802"/>
                    <a:pt x="12523" y="200"/>
                  </a:cubicBezTo>
                  <a:cubicBezTo>
                    <a:pt x="12073" y="50"/>
                    <a:pt x="11571" y="0"/>
                    <a:pt x="11070" y="0"/>
                  </a:cubicBezTo>
                  <a:cubicBezTo>
                    <a:pt x="7111" y="0"/>
                    <a:pt x="2401" y="3909"/>
                    <a:pt x="998" y="7717"/>
                  </a:cubicBezTo>
                  <a:cubicBezTo>
                    <a:pt x="-1056" y="13279"/>
                    <a:pt x="-4" y="20746"/>
                    <a:pt x="4756" y="2290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75" name="Полилиния: фигура 74">
              <a:extLst>
                <a:ext uri="{FF2B5EF4-FFF2-40B4-BE49-F238E27FC236}">
                  <a16:creationId xmlns:a16="http://schemas.microsoft.com/office/drawing/2014/main" id="{75550DD0-A97A-4125-B1B0-02DE68836347}"/>
                </a:ext>
              </a:extLst>
            </p:cNvPr>
            <p:cNvSpPr/>
            <p:nvPr/>
          </p:nvSpPr>
          <p:spPr>
            <a:xfrm>
              <a:off x="5562195" y="372586"/>
              <a:ext cx="89131" cy="60394"/>
            </a:xfrm>
            <a:custGeom>
              <a:avLst/>
              <a:gdLst>
                <a:gd name="connsiteX0" fmla="*/ 16486 w 71469"/>
                <a:gd name="connsiteY0" fmla="*/ 47429 h 48427"/>
                <a:gd name="connsiteX1" fmla="*/ 16486 w 71469"/>
                <a:gd name="connsiteY1" fmla="*/ 47429 h 48427"/>
                <a:gd name="connsiteX2" fmla="*/ 24804 w 71469"/>
                <a:gd name="connsiteY2" fmla="*/ 47930 h 48427"/>
                <a:gd name="connsiteX3" fmla="*/ 44949 w 71469"/>
                <a:gd name="connsiteY3" fmla="*/ 45424 h 48427"/>
                <a:gd name="connsiteX4" fmla="*/ 71457 w 71469"/>
                <a:gd name="connsiteY4" fmla="*/ 6439 h 48427"/>
                <a:gd name="connsiteX5" fmla="*/ 69102 w 71469"/>
                <a:gd name="connsiteY5" fmla="*/ 877 h 48427"/>
                <a:gd name="connsiteX6" fmla="*/ 62387 w 71469"/>
                <a:gd name="connsiteY6" fmla="*/ 2380 h 48427"/>
                <a:gd name="connsiteX7" fmla="*/ 52816 w 71469"/>
                <a:gd name="connsiteY7" fmla="*/ 13204 h 48427"/>
                <a:gd name="connsiteX8" fmla="*/ 48707 w 71469"/>
                <a:gd name="connsiteY8" fmla="*/ 17864 h 48427"/>
                <a:gd name="connsiteX9" fmla="*/ 47905 w 71469"/>
                <a:gd name="connsiteY9" fmla="*/ 18064 h 48427"/>
                <a:gd name="connsiteX10" fmla="*/ 31269 w 71469"/>
                <a:gd name="connsiteY10" fmla="*/ 20169 h 48427"/>
                <a:gd name="connsiteX11" fmla="*/ 0 w 71469"/>
                <a:gd name="connsiteY11" fmla="*/ 36655 h 48427"/>
                <a:gd name="connsiteX12" fmla="*/ 16386 w 71469"/>
                <a:gd name="connsiteY12" fmla="*/ 47429 h 48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469" h="48427">
                  <a:moveTo>
                    <a:pt x="16486" y="47429"/>
                  </a:moveTo>
                  <a:lnTo>
                    <a:pt x="16486" y="47429"/>
                  </a:lnTo>
                  <a:cubicBezTo>
                    <a:pt x="19292" y="47429"/>
                    <a:pt x="22098" y="47679"/>
                    <a:pt x="24804" y="47930"/>
                  </a:cubicBezTo>
                  <a:cubicBezTo>
                    <a:pt x="32020" y="48581"/>
                    <a:pt x="38885" y="49233"/>
                    <a:pt x="44949" y="45424"/>
                  </a:cubicBezTo>
                  <a:cubicBezTo>
                    <a:pt x="61535" y="35052"/>
                    <a:pt x="70204" y="22274"/>
                    <a:pt x="71457" y="6439"/>
                  </a:cubicBezTo>
                  <a:cubicBezTo>
                    <a:pt x="71607" y="4685"/>
                    <a:pt x="70405" y="1879"/>
                    <a:pt x="69102" y="877"/>
                  </a:cubicBezTo>
                  <a:cubicBezTo>
                    <a:pt x="66346" y="-1328"/>
                    <a:pt x="63489" y="1177"/>
                    <a:pt x="62387" y="2380"/>
                  </a:cubicBezTo>
                  <a:cubicBezTo>
                    <a:pt x="59080" y="6038"/>
                    <a:pt x="55822" y="9796"/>
                    <a:pt x="52816" y="13204"/>
                  </a:cubicBezTo>
                  <a:lnTo>
                    <a:pt x="48707" y="17864"/>
                  </a:lnTo>
                  <a:lnTo>
                    <a:pt x="47905" y="18064"/>
                  </a:lnTo>
                  <a:cubicBezTo>
                    <a:pt x="42493" y="19417"/>
                    <a:pt x="36781" y="19818"/>
                    <a:pt x="31269" y="20169"/>
                  </a:cubicBezTo>
                  <a:cubicBezTo>
                    <a:pt x="17589" y="21071"/>
                    <a:pt x="5712" y="21873"/>
                    <a:pt x="0" y="36655"/>
                  </a:cubicBezTo>
                  <a:cubicBezTo>
                    <a:pt x="4810" y="44172"/>
                    <a:pt x="9771" y="47379"/>
                    <a:pt x="16386" y="4742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76" name="Полилиния: фигура 75">
              <a:extLst>
                <a:ext uri="{FF2B5EF4-FFF2-40B4-BE49-F238E27FC236}">
                  <a16:creationId xmlns:a16="http://schemas.microsoft.com/office/drawing/2014/main" id="{49373878-A909-4CAF-B48C-12F6571887E0}"/>
                </a:ext>
              </a:extLst>
            </p:cNvPr>
            <p:cNvSpPr/>
            <p:nvPr/>
          </p:nvSpPr>
          <p:spPr>
            <a:xfrm>
              <a:off x="5193368" y="1902956"/>
              <a:ext cx="64994" cy="50157"/>
            </a:xfrm>
            <a:custGeom>
              <a:avLst/>
              <a:gdLst>
                <a:gd name="connsiteX0" fmla="*/ 5655 w 52115"/>
                <a:gd name="connsiteY0" fmla="*/ 34726 h 40218"/>
                <a:gd name="connsiteX1" fmla="*/ 5655 w 52115"/>
                <a:gd name="connsiteY1" fmla="*/ 34726 h 40218"/>
                <a:gd name="connsiteX2" fmla="*/ 50203 w 52115"/>
                <a:gd name="connsiteY2" fmla="*/ 33273 h 40218"/>
                <a:gd name="connsiteX3" fmla="*/ 48099 w 52115"/>
                <a:gd name="connsiteY3" fmla="*/ 0 h 40218"/>
                <a:gd name="connsiteX4" fmla="*/ 4252 w 52115"/>
                <a:gd name="connsiteY4" fmla="*/ 15534 h 40218"/>
                <a:gd name="connsiteX5" fmla="*/ 3501 w 52115"/>
                <a:gd name="connsiteY5" fmla="*/ 15935 h 40218"/>
                <a:gd name="connsiteX6" fmla="*/ 43 w 52115"/>
                <a:gd name="connsiteY6" fmla="*/ 24855 h 40218"/>
                <a:gd name="connsiteX7" fmla="*/ 5605 w 52115"/>
                <a:gd name="connsiteY7" fmla="*/ 34726 h 4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115" h="40218">
                  <a:moveTo>
                    <a:pt x="5655" y="34726"/>
                  </a:moveTo>
                  <a:lnTo>
                    <a:pt x="5655" y="34726"/>
                  </a:lnTo>
                  <a:cubicBezTo>
                    <a:pt x="20488" y="40238"/>
                    <a:pt x="35070" y="44247"/>
                    <a:pt x="50203" y="33273"/>
                  </a:cubicBezTo>
                  <a:cubicBezTo>
                    <a:pt x="53010" y="13329"/>
                    <a:pt x="53060" y="12277"/>
                    <a:pt x="48099" y="0"/>
                  </a:cubicBezTo>
                  <a:cubicBezTo>
                    <a:pt x="32214" y="451"/>
                    <a:pt x="17983" y="8118"/>
                    <a:pt x="4252" y="15534"/>
                  </a:cubicBezTo>
                  <a:lnTo>
                    <a:pt x="3501" y="15935"/>
                  </a:lnTo>
                  <a:cubicBezTo>
                    <a:pt x="594" y="17489"/>
                    <a:pt x="-207" y="21547"/>
                    <a:pt x="43" y="24855"/>
                  </a:cubicBezTo>
                  <a:cubicBezTo>
                    <a:pt x="394" y="29565"/>
                    <a:pt x="2649" y="33624"/>
                    <a:pt x="5605" y="3472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77" name="Полилиния: фигура 76">
              <a:extLst>
                <a:ext uri="{FF2B5EF4-FFF2-40B4-BE49-F238E27FC236}">
                  <a16:creationId xmlns:a16="http://schemas.microsoft.com/office/drawing/2014/main" id="{1D25B565-E8B8-43B3-B5C2-A2789DCA1720}"/>
                </a:ext>
              </a:extLst>
            </p:cNvPr>
            <p:cNvSpPr/>
            <p:nvPr/>
          </p:nvSpPr>
          <p:spPr>
            <a:xfrm>
              <a:off x="10508401" y="1541293"/>
              <a:ext cx="62642" cy="47424"/>
            </a:xfrm>
            <a:custGeom>
              <a:avLst/>
              <a:gdLst>
                <a:gd name="connsiteX0" fmla="*/ 28030 w 50229"/>
                <a:gd name="connsiteY0" fmla="*/ 37894 h 38027"/>
                <a:gd name="connsiteX1" fmla="*/ 50229 w 50229"/>
                <a:gd name="connsiteY1" fmla="*/ 20807 h 38027"/>
                <a:gd name="connsiteX2" fmla="*/ 13449 w 50229"/>
                <a:gd name="connsiteY2" fmla="*/ 6926 h 38027"/>
                <a:gd name="connsiteX3" fmla="*/ 12897 w 50229"/>
                <a:gd name="connsiteY3" fmla="*/ 7227 h 38027"/>
                <a:gd name="connsiteX4" fmla="*/ 10993 w 50229"/>
                <a:gd name="connsiteY4" fmla="*/ 8029 h 38027"/>
                <a:gd name="connsiteX5" fmla="*/ 219 w 50229"/>
                <a:gd name="connsiteY5" fmla="*/ 25217 h 38027"/>
                <a:gd name="connsiteX6" fmla="*/ 28080 w 50229"/>
                <a:gd name="connsiteY6" fmla="*/ 37894 h 38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229" h="38027">
                  <a:moveTo>
                    <a:pt x="28030" y="37894"/>
                  </a:moveTo>
                  <a:cubicBezTo>
                    <a:pt x="35146" y="36942"/>
                    <a:pt x="42262" y="31530"/>
                    <a:pt x="50229" y="20807"/>
                  </a:cubicBezTo>
                  <a:cubicBezTo>
                    <a:pt x="37451" y="-4048"/>
                    <a:pt x="37000" y="-3847"/>
                    <a:pt x="13449" y="6926"/>
                  </a:cubicBezTo>
                  <a:lnTo>
                    <a:pt x="12897" y="7227"/>
                  </a:lnTo>
                  <a:cubicBezTo>
                    <a:pt x="12296" y="7528"/>
                    <a:pt x="11644" y="7828"/>
                    <a:pt x="10993" y="8029"/>
                  </a:cubicBezTo>
                  <a:cubicBezTo>
                    <a:pt x="2424" y="10534"/>
                    <a:pt x="-933" y="15846"/>
                    <a:pt x="219" y="25217"/>
                  </a:cubicBezTo>
                  <a:cubicBezTo>
                    <a:pt x="10793" y="33685"/>
                    <a:pt x="19612" y="38947"/>
                    <a:pt x="28080" y="3789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78" name="Полилиния: фигура 77">
              <a:extLst>
                <a:ext uri="{FF2B5EF4-FFF2-40B4-BE49-F238E27FC236}">
                  <a16:creationId xmlns:a16="http://schemas.microsoft.com/office/drawing/2014/main" id="{D789C228-D3B8-4890-B48A-42CE6292B05D}"/>
                </a:ext>
              </a:extLst>
            </p:cNvPr>
            <p:cNvSpPr/>
            <p:nvPr/>
          </p:nvSpPr>
          <p:spPr>
            <a:xfrm>
              <a:off x="7372380" y="2043880"/>
              <a:ext cx="52220" cy="58935"/>
            </a:xfrm>
            <a:custGeom>
              <a:avLst/>
              <a:gdLst>
                <a:gd name="connsiteX0" fmla="*/ 12928 w 41872"/>
                <a:gd name="connsiteY0" fmla="*/ 41892 h 47257"/>
                <a:gd name="connsiteX1" fmla="*/ 15734 w 41872"/>
                <a:gd name="connsiteY1" fmla="*/ 43646 h 47257"/>
                <a:gd name="connsiteX2" fmla="*/ 15734 w 41872"/>
                <a:gd name="connsiteY2" fmla="*/ 43646 h 47257"/>
                <a:gd name="connsiteX3" fmla="*/ 29114 w 41872"/>
                <a:gd name="connsiteY3" fmla="*/ 46953 h 47257"/>
                <a:gd name="connsiteX4" fmla="*/ 39787 w 41872"/>
                <a:gd name="connsiteY4" fmla="*/ 38184 h 47257"/>
                <a:gd name="connsiteX5" fmla="*/ 39336 w 41872"/>
                <a:gd name="connsiteY5" fmla="*/ 26458 h 47257"/>
                <a:gd name="connsiteX6" fmla="*/ 34075 w 41872"/>
                <a:gd name="connsiteY6" fmla="*/ 21096 h 47257"/>
                <a:gd name="connsiteX7" fmla="*/ 14281 w 41872"/>
                <a:gd name="connsiteY7" fmla="*/ 2105 h 47257"/>
                <a:gd name="connsiteX8" fmla="*/ 7266 w 41872"/>
                <a:gd name="connsiteY8" fmla="*/ 301 h 47257"/>
                <a:gd name="connsiteX9" fmla="*/ 4760 w 41872"/>
                <a:gd name="connsiteY9" fmla="*/ 0 h 47257"/>
                <a:gd name="connsiteX10" fmla="*/ 0 w 41872"/>
                <a:gd name="connsiteY10" fmla="*/ 29665 h 47257"/>
                <a:gd name="connsiteX11" fmla="*/ 12978 w 41872"/>
                <a:gd name="connsiteY11" fmla="*/ 41892 h 47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872" h="47257">
                  <a:moveTo>
                    <a:pt x="12928" y="41892"/>
                  </a:moveTo>
                  <a:cubicBezTo>
                    <a:pt x="13880" y="42493"/>
                    <a:pt x="14832" y="43045"/>
                    <a:pt x="15734" y="43646"/>
                  </a:cubicBezTo>
                  <a:lnTo>
                    <a:pt x="15734" y="43646"/>
                  </a:lnTo>
                  <a:cubicBezTo>
                    <a:pt x="20595" y="46753"/>
                    <a:pt x="25105" y="47855"/>
                    <a:pt x="29114" y="46953"/>
                  </a:cubicBezTo>
                  <a:cubicBezTo>
                    <a:pt x="33173" y="46051"/>
                    <a:pt x="36730" y="43095"/>
                    <a:pt x="39787" y="38184"/>
                  </a:cubicBezTo>
                  <a:cubicBezTo>
                    <a:pt x="43646" y="31970"/>
                    <a:pt x="41341" y="28513"/>
                    <a:pt x="39336" y="26458"/>
                  </a:cubicBezTo>
                  <a:cubicBezTo>
                    <a:pt x="37583" y="24654"/>
                    <a:pt x="35828" y="22900"/>
                    <a:pt x="34075" y="21096"/>
                  </a:cubicBezTo>
                  <a:cubicBezTo>
                    <a:pt x="27761" y="14632"/>
                    <a:pt x="21196" y="7967"/>
                    <a:pt x="14281" y="2105"/>
                  </a:cubicBezTo>
                  <a:cubicBezTo>
                    <a:pt x="12928" y="952"/>
                    <a:pt x="10172" y="651"/>
                    <a:pt x="7266" y="301"/>
                  </a:cubicBezTo>
                  <a:cubicBezTo>
                    <a:pt x="6464" y="200"/>
                    <a:pt x="5612" y="100"/>
                    <a:pt x="4760" y="0"/>
                  </a:cubicBezTo>
                  <a:lnTo>
                    <a:pt x="0" y="29665"/>
                  </a:lnTo>
                  <a:cubicBezTo>
                    <a:pt x="2555" y="35528"/>
                    <a:pt x="7666" y="38635"/>
                    <a:pt x="12978" y="4189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79" name="Полилиния: фигура 78">
              <a:extLst>
                <a:ext uri="{FF2B5EF4-FFF2-40B4-BE49-F238E27FC236}">
                  <a16:creationId xmlns:a16="http://schemas.microsoft.com/office/drawing/2014/main" id="{63A40865-DAE8-4168-8D61-2140EEED4808}"/>
                </a:ext>
              </a:extLst>
            </p:cNvPr>
            <p:cNvSpPr/>
            <p:nvPr/>
          </p:nvSpPr>
          <p:spPr>
            <a:xfrm>
              <a:off x="7270676" y="2151055"/>
              <a:ext cx="63147" cy="36620"/>
            </a:xfrm>
            <a:custGeom>
              <a:avLst/>
              <a:gdLst>
                <a:gd name="connsiteX0" fmla="*/ 45873 w 50634"/>
                <a:gd name="connsiteY0" fmla="*/ 3207 h 29364"/>
                <a:gd name="connsiteX1" fmla="*/ 32242 w 50634"/>
                <a:gd name="connsiteY1" fmla="*/ 2155 h 29364"/>
                <a:gd name="connsiteX2" fmla="*/ 32242 w 50634"/>
                <a:gd name="connsiteY2" fmla="*/ 2155 h 29364"/>
                <a:gd name="connsiteX3" fmla="*/ 23974 w 50634"/>
                <a:gd name="connsiteY3" fmla="*/ 0 h 29364"/>
                <a:gd name="connsiteX4" fmla="*/ 7237 w 50634"/>
                <a:gd name="connsiteY4" fmla="*/ 7817 h 29364"/>
                <a:gd name="connsiteX5" fmla="*/ 5183 w 50634"/>
                <a:gd name="connsiteY5" fmla="*/ 9321 h 29364"/>
                <a:gd name="connsiteX6" fmla="*/ 923 w 50634"/>
                <a:gd name="connsiteY6" fmla="*/ 25506 h 29364"/>
                <a:gd name="connsiteX7" fmla="*/ 4581 w 50634"/>
                <a:gd name="connsiteY7" fmla="*/ 29365 h 29364"/>
                <a:gd name="connsiteX8" fmla="*/ 43517 w 50634"/>
                <a:gd name="connsiteY8" fmla="*/ 15183 h 29364"/>
                <a:gd name="connsiteX9" fmla="*/ 44469 w 50634"/>
                <a:gd name="connsiteY9" fmla="*/ 14281 h 29364"/>
                <a:gd name="connsiteX10" fmla="*/ 50583 w 50634"/>
                <a:gd name="connsiteY10" fmla="*/ 2856 h 29364"/>
                <a:gd name="connsiteX11" fmla="*/ 45922 w 50634"/>
                <a:gd name="connsiteY11" fmla="*/ 3207 h 29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634" h="29364">
                  <a:moveTo>
                    <a:pt x="45873" y="3207"/>
                  </a:moveTo>
                  <a:cubicBezTo>
                    <a:pt x="40911" y="3658"/>
                    <a:pt x="36201" y="4059"/>
                    <a:pt x="32242" y="2155"/>
                  </a:cubicBezTo>
                  <a:lnTo>
                    <a:pt x="32242" y="2155"/>
                  </a:lnTo>
                  <a:cubicBezTo>
                    <a:pt x="29236" y="651"/>
                    <a:pt x="26479" y="0"/>
                    <a:pt x="23974" y="0"/>
                  </a:cubicBezTo>
                  <a:cubicBezTo>
                    <a:pt x="17861" y="0"/>
                    <a:pt x="12800" y="3708"/>
                    <a:pt x="7237" y="7817"/>
                  </a:cubicBezTo>
                  <a:lnTo>
                    <a:pt x="5183" y="9321"/>
                  </a:lnTo>
                  <a:cubicBezTo>
                    <a:pt x="222" y="12878"/>
                    <a:pt x="-1131" y="18040"/>
                    <a:pt x="923" y="25506"/>
                  </a:cubicBezTo>
                  <a:cubicBezTo>
                    <a:pt x="1325" y="26959"/>
                    <a:pt x="3680" y="29164"/>
                    <a:pt x="4581" y="29365"/>
                  </a:cubicBezTo>
                  <a:cubicBezTo>
                    <a:pt x="16658" y="28713"/>
                    <a:pt x="32192" y="26508"/>
                    <a:pt x="43517" y="15183"/>
                  </a:cubicBezTo>
                  <a:lnTo>
                    <a:pt x="44469" y="14281"/>
                  </a:lnTo>
                  <a:cubicBezTo>
                    <a:pt x="47877" y="10974"/>
                    <a:pt x="51084" y="7817"/>
                    <a:pt x="50583" y="2856"/>
                  </a:cubicBezTo>
                  <a:cubicBezTo>
                    <a:pt x="48979" y="2906"/>
                    <a:pt x="47426" y="3057"/>
                    <a:pt x="45922" y="320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80" name="Полилиния: фигура 79">
              <a:extLst>
                <a:ext uri="{FF2B5EF4-FFF2-40B4-BE49-F238E27FC236}">
                  <a16:creationId xmlns:a16="http://schemas.microsoft.com/office/drawing/2014/main" id="{87B5B167-135D-4DA0-B7E6-9D2C789D850C}"/>
                </a:ext>
              </a:extLst>
            </p:cNvPr>
            <p:cNvSpPr/>
            <p:nvPr/>
          </p:nvSpPr>
          <p:spPr>
            <a:xfrm>
              <a:off x="5339530" y="222320"/>
              <a:ext cx="42065" cy="82734"/>
            </a:xfrm>
            <a:custGeom>
              <a:avLst/>
              <a:gdLst>
                <a:gd name="connsiteX0" fmla="*/ 33022 w 33730"/>
                <a:gd name="connsiteY0" fmla="*/ 66246 h 66340"/>
                <a:gd name="connsiteX1" fmla="*/ 751 w 33730"/>
                <a:gd name="connsiteY1" fmla="*/ 0 h 66340"/>
                <a:gd name="connsiteX2" fmla="*/ 651 w 33730"/>
                <a:gd name="connsiteY2" fmla="*/ 150 h 66340"/>
                <a:gd name="connsiteX3" fmla="*/ 0 w 33730"/>
                <a:gd name="connsiteY3" fmla="*/ 1153 h 66340"/>
                <a:gd name="connsiteX4" fmla="*/ 2004 w 33730"/>
                <a:gd name="connsiteY4" fmla="*/ 6765 h 66340"/>
                <a:gd name="connsiteX5" fmla="*/ 21798 w 33730"/>
                <a:gd name="connsiteY5" fmla="*/ 59531 h 66340"/>
                <a:gd name="connsiteX6" fmla="*/ 32972 w 33730"/>
                <a:gd name="connsiteY6" fmla="*/ 66296 h 66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730" h="66340">
                  <a:moveTo>
                    <a:pt x="33022" y="66246"/>
                  </a:moveTo>
                  <a:cubicBezTo>
                    <a:pt x="36580" y="41341"/>
                    <a:pt x="26859" y="21297"/>
                    <a:pt x="751" y="0"/>
                  </a:cubicBezTo>
                  <a:cubicBezTo>
                    <a:pt x="751" y="0"/>
                    <a:pt x="702" y="100"/>
                    <a:pt x="651" y="150"/>
                  </a:cubicBezTo>
                  <a:cubicBezTo>
                    <a:pt x="451" y="501"/>
                    <a:pt x="200" y="852"/>
                    <a:pt x="0" y="1153"/>
                  </a:cubicBezTo>
                  <a:lnTo>
                    <a:pt x="2004" y="6765"/>
                  </a:lnTo>
                  <a:cubicBezTo>
                    <a:pt x="8318" y="24153"/>
                    <a:pt x="14832" y="42092"/>
                    <a:pt x="21798" y="59531"/>
                  </a:cubicBezTo>
                  <a:cubicBezTo>
                    <a:pt x="23201" y="62988"/>
                    <a:pt x="26258" y="66797"/>
                    <a:pt x="32972" y="6629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81" name="Полилиния: фигура 80">
              <a:extLst>
                <a:ext uri="{FF2B5EF4-FFF2-40B4-BE49-F238E27FC236}">
                  <a16:creationId xmlns:a16="http://schemas.microsoft.com/office/drawing/2014/main" id="{3FF50AF4-3BE5-47DD-9B0B-51FD747E455E}"/>
                </a:ext>
              </a:extLst>
            </p:cNvPr>
            <p:cNvSpPr/>
            <p:nvPr/>
          </p:nvSpPr>
          <p:spPr>
            <a:xfrm>
              <a:off x="11320214" y="5685184"/>
              <a:ext cx="37245" cy="78116"/>
            </a:xfrm>
            <a:custGeom>
              <a:avLst/>
              <a:gdLst>
                <a:gd name="connsiteX0" fmla="*/ 10724 w 29865"/>
                <a:gd name="connsiteY0" fmla="*/ 26909 h 62637"/>
                <a:gd name="connsiteX1" fmla="*/ 9270 w 29865"/>
                <a:gd name="connsiteY1" fmla="*/ 29665 h 62637"/>
                <a:gd name="connsiteX2" fmla="*/ 7416 w 29865"/>
                <a:gd name="connsiteY2" fmla="*/ 33173 h 62637"/>
                <a:gd name="connsiteX3" fmla="*/ 2556 w 29865"/>
                <a:gd name="connsiteY3" fmla="*/ 43997 h 62637"/>
                <a:gd name="connsiteX4" fmla="*/ 0 w 29865"/>
                <a:gd name="connsiteY4" fmla="*/ 61635 h 62637"/>
                <a:gd name="connsiteX5" fmla="*/ 0 w 29865"/>
                <a:gd name="connsiteY5" fmla="*/ 61635 h 62637"/>
                <a:gd name="connsiteX6" fmla="*/ 1002 w 29865"/>
                <a:gd name="connsiteY6" fmla="*/ 62638 h 62637"/>
                <a:gd name="connsiteX7" fmla="*/ 1052 w 29865"/>
                <a:gd name="connsiteY7" fmla="*/ 62538 h 62637"/>
                <a:gd name="connsiteX8" fmla="*/ 2556 w 29865"/>
                <a:gd name="connsiteY8" fmla="*/ 60333 h 62637"/>
                <a:gd name="connsiteX9" fmla="*/ 15634 w 29865"/>
                <a:gd name="connsiteY9" fmla="*/ 31720 h 62637"/>
                <a:gd name="connsiteX10" fmla="*/ 29865 w 29865"/>
                <a:gd name="connsiteY10" fmla="*/ 0 h 62637"/>
                <a:gd name="connsiteX11" fmla="*/ 14281 w 29865"/>
                <a:gd name="connsiteY11" fmla="*/ 0 h 62637"/>
                <a:gd name="connsiteX12" fmla="*/ 10673 w 29865"/>
                <a:gd name="connsiteY12" fmla="*/ 26909 h 6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65" h="62637">
                  <a:moveTo>
                    <a:pt x="10724" y="26909"/>
                  </a:moveTo>
                  <a:lnTo>
                    <a:pt x="9270" y="29665"/>
                  </a:lnTo>
                  <a:cubicBezTo>
                    <a:pt x="8669" y="30818"/>
                    <a:pt x="8068" y="32020"/>
                    <a:pt x="7416" y="33173"/>
                  </a:cubicBezTo>
                  <a:cubicBezTo>
                    <a:pt x="5462" y="36831"/>
                    <a:pt x="3608" y="40339"/>
                    <a:pt x="2556" y="43997"/>
                  </a:cubicBezTo>
                  <a:cubicBezTo>
                    <a:pt x="952" y="49509"/>
                    <a:pt x="451" y="55472"/>
                    <a:pt x="0" y="61635"/>
                  </a:cubicBezTo>
                  <a:cubicBezTo>
                    <a:pt x="0" y="61635"/>
                    <a:pt x="0" y="61635"/>
                    <a:pt x="0" y="61635"/>
                  </a:cubicBezTo>
                  <a:cubicBezTo>
                    <a:pt x="100" y="61635"/>
                    <a:pt x="551" y="62137"/>
                    <a:pt x="1002" y="62638"/>
                  </a:cubicBezTo>
                  <a:cubicBezTo>
                    <a:pt x="1002" y="62638"/>
                    <a:pt x="1002" y="62587"/>
                    <a:pt x="1052" y="62538"/>
                  </a:cubicBezTo>
                  <a:cubicBezTo>
                    <a:pt x="1653" y="61786"/>
                    <a:pt x="2455" y="60733"/>
                    <a:pt x="2556" y="60333"/>
                  </a:cubicBezTo>
                  <a:cubicBezTo>
                    <a:pt x="2506" y="48657"/>
                    <a:pt x="6765" y="39286"/>
                    <a:pt x="15634" y="31720"/>
                  </a:cubicBezTo>
                  <a:cubicBezTo>
                    <a:pt x="24253" y="24353"/>
                    <a:pt x="27110" y="14282"/>
                    <a:pt x="29865" y="0"/>
                  </a:cubicBezTo>
                  <a:lnTo>
                    <a:pt x="14281" y="0"/>
                  </a:lnTo>
                  <a:cubicBezTo>
                    <a:pt x="19242" y="10523"/>
                    <a:pt x="14732" y="19142"/>
                    <a:pt x="10673" y="2690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82" name="Полилиния: фигура 81">
              <a:extLst>
                <a:ext uri="{FF2B5EF4-FFF2-40B4-BE49-F238E27FC236}">
                  <a16:creationId xmlns:a16="http://schemas.microsoft.com/office/drawing/2014/main" id="{5A90D94A-059D-465A-B006-E8A435CCEC9B}"/>
                </a:ext>
              </a:extLst>
            </p:cNvPr>
            <p:cNvSpPr/>
            <p:nvPr/>
          </p:nvSpPr>
          <p:spPr>
            <a:xfrm>
              <a:off x="11448110" y="3094896"/>
              <a:ext cx="23569" cy="70116"/>
            </a:xfrm>
            <a:custGeom>
              <a:avLst/>
              <a:gdLst>
                <a:gd name="connsiteX0" fmla="*/ 16960 w 18899"/>
                <a:gd name="connsiteY0" fmla="*/ 8567 h 56222"/>
                <a:gd name="connsiteX1" fmla="*/ 3129 w 18899"/>
                <a:gd name="connsiteY1" fmla="*/ 450 h 56222"/>
                <a:gd name="connsiteX2" fmla="*/ 1776 w 18899"/>
                <a:gd name="connsiteY2" fmla="*/ 56222 h 56222"/>
                <a:gd name="connsiteX3" fmla="*/ 2228 w 18899"/>
                <a:gd name="connsiteY3" fmla="*/ 55871 h 56222"/>
                <a:gd name="connsiteX4" fmla="*/ 16709 w 18899"/>
                <a:gd name="connsiteY4" fmla="*/ 18840 h 56222"/>
                <a:gd name="connsiteX5" fmla="*/ 17461 w 18899"/>
                <a:gd name="connsiteY5" fmla="*/ 9219 h 56222"/>
                <a:gd name="connsiteX6" fmla="*/ 16960 w 18899"/>
                <a:gd name="connsiteY6" fmla="*/ 8517 h 5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99" h="56222">
                  <a:moveTo>
                    <a:pt x="16960" y="8567"/>
                  </a:moveTo>
                  <a:cubicBezTo>
                    <a:pt x="12399" y="2454"/>
                    <a:pt x="9192" y="-1354"/>
                    <a:pt x="3129" y="450"/>
                  </a:cubicBezTo>
                  <a:cubicBezTo>
                    <a:pt x="-529" y="15483"/>
                    <a:pt x="-980" y="35527"/>
                    <a:pt x="1776" y="56222"/>
                  </a:cubicBezTo>
                  <a:cubicBezTo>
                    <a:pt x="1977" y="56122"/>
                    <a:pt x="2127" y="55972"/>
                    <a:pt x="2228" y="55871"/>
                  </a:cubicBezTo>
                  <a:cubicBezTo>
                    <a:pt x="3430" y="44847"/>
                    <a:pt x="6236" y="30716"/>
                    <a:pt x="16709" y="18840"/>
                  </a:cubicBezTo>
                  <a:cubicBezTo>
                    <a:pt x="18713" y="16585"/>
                    <a:pt x="20066" y="12727"/>
                    <a:pt x="17461" y="9219"/>
                  </a:cubicBezTo>
                  <a:lnTo>
                    <a:pt x="16960" y="8517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83" name="Полилиния: фигура 82">
              <a:extLst>
                <a:ext uri="{FF2B5EF4-FFF2-40B4-BE49-F238E27FC236}">
                  <a16:creationId xmlns:a16="http://schemas.microsoft.com/office/drawing/2014/main" id="{7FE34FE7-3A3F-42D8-9970-61DCFA8F1E56}"/>
                </a:ext>
              </a:extLst>
            </p:cNvPr>
            <p:cNvSpPr/>
            <p:nvPr/>
          </p:nvSpPr>
          <p:spPr>
            <a:xfrm>
              <a:off x="5334824" y="402880"/>
              <a:ext cx="47202" cy="31668"/>
            </a:xfrm>
            <a:custGeom>
              <a:avLst/>
              <a:gdLst>
                <a:gd name="connsiteX0" fmla="*/ 1770 w 37849"/>
                <a:gd name="connsiteY0" fmla="*/ 1291 h 25393"/>
                <a:gd name="connsiteX1" fmla="*/ 2371 w 37849"/>
                <a:gd name="connsiteY1" fmla="*/ 25393 h 25393"/>
                <a:gd name="connsiteX2" fmla="*/ 10339 w 37849"/>
                <a:gd name="connsiteY2" fmla="*/ 14219 h 25393"/>
                <a:gd name="connsiteX3" fmla="*/ 11842 w 37849"/>
                <a:gd name="connsiteY3" fmla="*/ 14319 h 25393"/>
                <a:gd name="connsiteX4" fmla="*/ 18657 w 37849"/>
                <a:gd name="connsiteY4" fmla="*/ 14820 h 25393"/>
                <a:gd name="connsiteX5" fmla="*/ 33189 w 37849"/>
                <a:gd name="connsiteY5" fmla="*/ 15522 h 25393"/>
                <a:gd name="connsiteX6" fmla="*/ 37850 w 37849"/>
                <a:gd name="connsiteY6" fmla="*/ 10611 h 25393"/>
                <a:gd name="connsiteX7" fmla="*/ 35995 w 37849"/>
                <a:gd name="connsiteY7" fmla="*/ 5349 h 25393"/>
                <a:gd name="connsiteX8" fmla="*/ 1770 w 37849"/>
                <a:gd name="connsiteY8" fmla="*/ 1291 h 25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849" h="25393">
                  <a:moveTo>
                    <a:pt x="1770" y="1291"/>
                  </a:moveTo>
                  <a:cubicBezTo>
                    <a:pt x="-936" y="19029"/>
                    <a:pt x="-385" y="23640"/>
                    <a:pt x="2371" y="25393"/>
                  </a:cubicBezTo>
                  <a:lnTo>
                    <a:pt x="10339" y="14219"/>
                  </a:lnTo>
                  <a:lnTo>
                    <a:pt x="11842" y="14319"/>
                  </a:lnTo>
                  <a:cubicBezTo>
                    <a:pt x="14197" y="14469"/>
                    <a:pt x="16452" y="14620"/>
                    <a:pt x="18657" y="14820"/>
                  </a:cubicBezTo>
                  <a:cubicBezTo>
                    <a:pt x="23718" y="15221"/>
                    <a:pt x="28479" y="15572"/>
                    <a:pt x="33189" y="15522"/>
                  </a:cubicBezTo>
                  <a:cubicBezTo>
                    <a:pt x="35945" y="15522"/>
                    <a:pt x="37850" y="13467"/>
                    <a:pt x="37850" y="10611"/>
                  </a:cubicBezTo>
                  <a:cubicBezTo>
                    <a:pt x="37850" y="8607"/>
                    <a:pt x="36697" y="5851"/>
                    <a:pt x="35995" y="5349"/>
                  </a:cubicBezTo>
                  <a:cubicBezTo>
                    <a:pt x="24570" y="1391"/>
                    <a:pt x="13246" y="-1917"/>
                    <a:pt x="1770" y="129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84" name="Полилиния: фигура 83">
              <a:extLst>
                <a:ext uri="{FF2B5EF4-FFF2-40B4-BE49-F238E27FC236}">
                  <a16:creationId xmlns:a16="http://schemas.microsoft.com/office/drawing/2014/main" id="{601EDA7C-D66B-47F5-A823-F632523D1AB8}"/>
                </a:ext>
              </a:extLst>
            </p:cNvPr>
            <p:cNvSpPr/>
            <p:nvPr/>
          </p:nvSpPr>
          <p:spPr>
            <a:xfrm>
              <a:off x="11605746" y="4589549"/>
              <a:ext cx="22784" cy="85303"/>
            </a:xfrm>
            <a:custGeom>
              <a:avLst/>
              <a:gdLst>
                <a:gd name="connsiteX0" fmla="*/ 14331 w 18269"/>
                <a:gd name="connsiteY0" fmla="*/ 18190 h 68400"/>
                <a:gd name="connsiteX1" fmla="*/ 9872 w 18269"/>
                <a:gd name="connsiteY1" fmla="*/ 47053 h 68400"/>
                <a:gd name="connsiteX2" fmla="*/ 2305 w 18269"/>
                <a:gd name="connsiteY2" fmla="*/ 62788 h 68400"/>
                <a:gd name="connsiteX3" fmla="*/ 0 w 18269"/>
                <a:gd name="connsiteY3" fmla="*/ 67799 h 68400"/>
                <a:gd name="connsiteX4" fmla="*/ 852 w 18269"/>
                <a:gd name="connsiteY4" fmla="*/ 68400 h 68400"/>
                <a:gd name="connsiteX5" fmla="*/ 17438 w 18269"/>
                <a:gd name="connsiteY5" fmla="*/ 31619 h 68400"/>
                <a:gd name="connsiteX6" fmla="*/ 11626 w 18269"/>
                <a:gd name="connsiteY6" fmla="*/ 0 h 68400"/>
                <a:gd name="connsiteX7" fmla="*/ 11776 w 18269"/>
                <a:gd name="connsiteY7" fmla="*/ 702 h 68400"/>
                <a:gd name="connsiteX8" fmla="*/ 14382 w 18269"/>
                <a:gd name="connsiteY8" fmla="*/ 18190 h 6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69" h="68400">
                  <a:moveTo>
                    <a:pt x="14331" y="18190"/>
                  </a:moveTo>
                  <a:cubicBezTo>
                    <a:pt x="15334" y="30166"/>
                    <a:pt x="13981" y="39036"/>
                    <a:pt x="9872" y="47053"/>
                  </a:cubicBezTo>
                  <a:cubicBezTo>
                    <a:pt x="7216" y="52215"/>
                    <a:pt x="4711" y="57627"/>
                    <a:pt x="2305" y="62788"/>
                  </a:cubicBezTo>
                  <a:cubicBezTo>
                    <a:pt x="1554" y="64442"/>
                    <a:pt x="752" y="66095"/>
                    <a:pt x="0" y="67799"/>
                  </a:cubicBezTo>
                  <a:lnTo>
                    <a:pt x="852" y="68400"/>
                  </a:lnTo>
                  <a:cubicBezTo>
                    <a:pt x="12628" y="60082"/>
                    <a:pt x="15434" y="46252"/>
                    <a:pt x="17438" y="31619"/>
                  </a:cubicBezTo>
                  <a:cubicBezTo>
                    <a:pt x="18791" y="21597"/>
                    <a:pt x="19443" y="10323"/>
                    <a:pt x="11626" y="0"/>
                  </a:cubicBezTo>
                  <a:cubicBezTo>
                    <a:pt x="11626" y="251"/>
                    <a:pt x="11726" y="501"/>
                    <a:pt x="11776" y="702"/>
                  </a:cubicBezTo>
                  <a:cubicBezTo>
                    <a:pt x="12929" y="7066"/>
                    <a:pt x="13931" y="12528"/>
                    <a:pt x="14382" y="1819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85" name="Полилиния: фигура 84">
              <a:extLst>
                <a:ext uri="{FF2B5EF4-FFF2-40B4-BE49-F238E27FC236}">
                  <a16:creationId xmlns:a16="http://schemas.microsoft.com/office/drawing/2014/main" id="{649F2B05-5326-431A-A0C4-FBEFB0602152}"/>
                </a:ext>
              </a:extLst>
            </p:cNvPr>
            <p:cNvSpPr/>
            <p:nvPr/>
          </p:nvSpPr>
          <p:spPr>
            <a:xfrm>
              <a:off x="5514449" y="2185817"/>
              <a:ext cx="35978" cy="24971"/>
            </a:xfrm>
            <a:custGeom>
              <a:avLst/>
              <a:gdLst>
                <a:gd name="connsiteX0" fmla="*/ 16035 w 28849"/>
                <a:gd name="connsiteY0" fmla="*/ 19180 h 20023"/>
                <a:gd name="connsiteX1" fmla="*/ 16937 w 28849"/>
                <a:gd name="connsiteY1" fmla="*/ 19481 h 20023"/>
                <a:gd name="connsiteX2" fmla="*/ 27310 w 28849"/>
                <a:gd name="connsiteY2" fmla="*/ 15372 h 20023"/>
                <a:gd name="connsiteX3" fmla="*/ 26157 w 28849"/>
                <a:gd name="connsiteY3" fmla="*/ 1541 h 20023"/>
                <a:gd name="connsiteX4" fmla="*/ 22249 w 28849"/>
                <a:gd name="connsiteY4" fmla="*/ 38 h 20023"/>
                <a:gd name="connsiteX5" fmla="*/ 19794 w 28849"/>
                <a:gd name="connsiteY5" fmla="*/ 740 h 20023"/>
                <a:gd name="connsiteX6" fmla="*/ 0 w 28849"/>
                <a:gd name="connsiteY6" fmla="*/ 9709 h 20023"/>
                <a:gd name="connsiteX7" fmla="*/ 16035 w 28849"/>
                <a:gd name="connsiteY7" fmla="*/ 19180 h 20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49" h="20023">
                  <a:moveTo>
                    <a:pt x="16035" y="19180"/>
                  </a:moveTo>
                  <a:lnTo>
                    <a:pt x="16937" y="19481"/>
                  </a:lnTo>
                  <a:cubicBezTo>
                    <a:pt x="21046" y="20984"/>
                    <a:pt x="25356" y="19280"/>
                    <a:pt x="27310" y="15372"/>
                  </a:cubicBezTo>
                  <a:cubicBezTo>
                    <a:pt x="29765" y="10511"/>
                    <a:pt x="29214" y="3897"/>
                    <a:pt x="26157" y="1541"/>
                  </a:cubicBezTo>
                  <a:cubicBezTo>
                    <a:pt x="24754" y="439"/>
                    <a:pt x="22850" y="-162"/>
                    <a:pt x="22249" y="38"/>
                  </a:cubicBezTo>
                  <a:lnTo>
                    <a:pt x="19794" y="740"/>
                  </a:lnTo>
                  <a:cubicBezTo>
                    <a:pt x="12678" y="2794"/>
                    <a:pt x="5913" y="4749"/>
                    <a:pt x="0" y="9709"/>
                  </a:cubicBezTo>
                  <a:cubicBezTo>
                    <a:pt x="4309" y="14921"/>
                    <a:pt x="10022" y="17025"/>
                    <a:pt x="16035" y="1918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86" name="Полилиния: фигура 85">
              <a:extLst>
                <a:ext uri="{FF2B5EF4-FFF2-40B4-BE49-F238E27FC236}">
                  <a16:creationId xmlns:a16="http://schemas.microsoft.com/office/drawing/2014/main" id="{976D4DF1-5664-4C36-8A58-E566DA29D5D5}"/>
                </a:ext>
              </a:extLst>
            </p:cNvPr>
            <p:cNvSpPr/>
            <p:nvPr/>
          </p:nvSpPr>
          <p:spPr>
            <a:xfrm>
              <a:off x="10272323" y="4707037"/>
              <a:ext cx="37430" cy="31934"/>
            </a:xfrm>
            <a:custGeom>
              <a:avLst/>
              <a:gdLst>
                <a:gd name="connsiteX0" fmla="*/ 27661 w 30013"/>
                <a:gd name="connsiteY0" fmla="*/ 12628 h 25606"/>
                <a:gd name="connsiteX1" fmla="*/ 12377 w 30013"/>
                <a:gd name="connsiteY1" fmla="*/ 1553 h 25606"/>
                <a:gd name="connsiteX2" fmla="*/ 9822 w 30013"/>
                <a:gd name="connsiteY2" fmla="*/ 0 h 25606"/>
                <a:gd name="connsiteX3" fmla="*/ 6414 w 30013"/>
                <a:gd name="connsiteY3" fmla="*/ 1804 h 25606"/>
                <a:gd name="connsiteX4" fmla="*/ 6414 w 30013"/>
                <a:gd name="connsiteY4" fmla="*/ 1804 h 25606"/>
                <a:gd name="connsiteX5" fmla="*/ 601 w 30013"/>
                <a:gd name="connsiteY5" fmla="*/ 7266 h 25606"/>
                <a:gd name="connsiteX6" fmla="*/ 0 w 30013"/>
                <a:gd name="connsiteY6" fmla="*/ 7867 h 25606"/>
                <a:gd name="connsiteX7" fmla="*/ 1954 w 30013"/>
                <a:gd name="connsiteY7" fmla="*/ 9320 h 25606"/>
                <a:gd name="connsiteX8" fmla="*/ 28062 w 30013"/>
                <a:gd name="connsiteY8" fmla="*/ 25606 h 25606"/>
                <a:gd name="connsiteX9" fmla="*/ 27711 w 30013"/>
                <a:gd name="connsiteY9" fmla="*/ 12628 h 25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013" h="25606">
                  <a:moveTo>
                    <a:pt x="27661" y="12628"/>
                  </a:moveTo>
                  <a:cubicBezTo>
                    <a:pt x="23602" y="8168"/>
                    <a:pt x="17890" y="4810"/>
                    <a:pt x="12377" y="1553"/>
                  </a:cubicBezTo>
                  <a:lnTo>
                    <a:pt x="9822" y="0"/>
                  </a:lnTo>
                  <a:cubicBezTo>
                    <a:pt x="9120" y="150"/>
                    <a:pt x="7567" y="902"/>
                    <a:pt x="6414" y="1804"/>
                  </a:cubicBezTo>
                  <a:lnTo>
                    <a:pt x="6414" y="1804"/>
                  </a:lnTo>
                  <a:cubicBezTo>
                    <a:pt x="4460" y="3307"/>
                    <a:pt x="2656" y="5161"/>
                    <a:pt x="601" y="7266"/>
                  </a:cubicBezTo>
                  <a:cubicBezTo>
                    <a:pt x="401" y="7466"/>
                    <a:pt x="201" y="7667"/>
                    <a:pt x="0" y="7867"/>
                  </a:cubicBezTo>
                  <a:lnTo>
                    <a:pt x="1954" y="9320"/>
                  </a:lnTo>
                  <a:cubicBezTo>
                    <a:pt x="10473" y="15734"/>
                    <a:pt x="18541" y="21848"/>
                    <a:pt x="28062" y="25606"/>
                  </a:cubicBezTo>
                  <a:cubicBezTo>
                    <a:pt x="30768" y="20545"/>
                    <a:pt x="30667" y="15784"/>
                    <a:pt x="27711" y="1262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87" name="Полилиния: фигура 86">
              <a:extLst>
                <a:ext uri="{FF2B5EF4-FFF2-40B4-BE49-F238E27FC236}">
                  <a16:creationId xmlns:a16="http://schemas.microsoft.com/office/drawing/2014/main" id="{5F703771-689A-4023-95A1-3DE5BDBA9DCF}"/>
                </a:ext>
              </a:extLst>
            </p:cNvPr>
            <p:cNvSpPr/>
            <p:nvPr/>
          </p:nvSpPr>
          <p:spPr>
            <a:xfrm>
              <a:off x="257865" y="3935056"/>
              <a:ext cx="17750" cy="40293"/>
            </a:xfrm>
            <a:custGeom>
              <a:avLst/>
              <a:gdLst>
                <a:gd name="connsiteX0" fmla="*/ 1014 w 14233"/>
                <a:gd name="connsiteY0" fmla="*/ 13329 h 32309"/>
                <a:gd name="connsiteX1" fmla="*/ 5874 w 14233"/>
                <a:gd name="connsiteY1" fmla="*/ 28062 h 32309"/>
                <a:gd name="connsiteX2" fmla="*/ 12639 w 14233"/>
                <a:gd name="connsiteY2" fmla="*/ 32171 h 32309"/>
                <a:gd name="connsiteX3" fmla="*/ 10434 w 14233"/>
                <a:gd name="connsiteY3" fmla="*/ 0 h 32309"/>
                <a:gd name="connsiteX4" fmla="*/ 963 w 14233"/>
                <a:gd name="connsiteY4" fmla="*/ 13329 h 32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33" h="32309">
                  <a:moveTo>
                    <a:pt x="1014" y="13329"/>
                  </a:moveTo>
                  <a:cubicBezTo>
                    <a:pt x="1865" y="17288"/>
                    <a:pt x="3319" y="23151"/>
                    <a:pt x="5874" y="28062"/>
                  </a:cubicBezTo>
                  <a:cubicBezTo>
                    <a:pt x="7628" y="31419"/>
                    <a:pt x="9883" y="32772"/>
                    <a:pt x="12639" y="32171"/>
                  </a:cubicBezTo>
                  <a:cubicBezTo>
                    <a:pt x="15044" y="17038"/>
                    <a:pt x="15044" y="15735"/>
                    <a:pt x="10434" y="0"/>
                  </a:cubicBezTo>
                  <a:cubicBezTo>
                    <a:pt x="-1041" y="3959"/>
                    <a:pt x="-941" y="4510"/>
                    <a:pt x="963" y="13329"/>
                  </a:cubicBezTo>
                  <a:close/>
                </a:path>
              </a:pathLst>
            </a:custGeom>
            <a:solidFill>
              <a:srgbClr val="00B05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88" name="Полилиния: фигура 87">
              <a:extLst>
                <a:ext uri="{FF2B5EF4-FFF2-40B4-BE49-F238E27FC236}">
                  <a16:creationId xmlns:a16="http://schemas.microsoft.com/office/drawing/2014/main" id="{F04AE6A2-867B-4DC3-8994-E5CD37451B1B}"/>
                </a:ext>
              </a:extLst>
            </p:cNvPr>
            <p:cNvSpPr/>
            <p:nvPr/>
          </p:nvSpPr>
          <p:spPr>
            <a:xfrm>
              <a:off x="8793829" y="1744098"/>
              <a:ext cx="23056" cy="33738"/>
            </a:xfrm>
            <a:custGeom>
              <a:avLst/>
              <a:gdLst>
                <a:gd name="connsiteX0" fmla="*/ 18011 w 18487"/>
                <a:gd name="connsiteY0" fmla="*/ 21547 h 27053"/>
                <a:gd name="connsiteX1" fmla="*/ 15355 w 18487"/>
                <a:gd name="connsiteY1" fmla="*/ 3458 h 27053"/>
                <a:gd name="connsiteX2" fmla="*/ 673 w 18487"/>
                <a:gd name="connsiteY2" fmla="*/ 0 h 27053"/>
                <a:gd name="connsiteX3" fmla="*/ 4130 w 18487"/>
                <a:gd name="connsiteY3" fmla="*/ 21247 h 27053"/>
                <a:gd name="connsiteX4" fmla="*/ 4932 w 18487"/>
                <a:gd name="connsiteY4" fmla="*/ 23151 h 27053"/>
                <a:gd name="connsiteX5" fmla="*/ 6385 w 18487"/>
                <a:gd name="connsiteY5" fmla="*/ 25005 h 27053"/>
                <a:gd name="connsiteX6" fmla="*/ 7788 w 18487"/>
                <a:gd name="connsiteY6" fmla="*/ 25456 h 27053"/>
                <a:gd name="connsiteX7" fmla="*/ 15806 w 18487"/>
                <a:gd name="connsiteY7" fmla="*/ 26959 h 27053"/>
                <a:gd name="connsiteX8" fmla="*/ 17910 w 18487"/>
                <a:gd name="connsiteY8" fmla="*/ 22149 h 27053"/>
                <a:gd name="connsiteX9" fmla="*/ 17910 w 18487"/>
                <a:gd name="connsiteY9" fmla="*/ 21547 h 2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487" h="27053">
                  <a:moveTo>
                    <a:pt x="18011" y="21547"/>
                  </a:moveTo>
                  <a:cubicBezTo>
                    <a:pt x="18662" y="15284"/>
                    <a:pt x="19263" y="9371"/>
                    <a:pt x="15355" y="3458"/>
                  </a:cubicBezTo>
                  <a:lnTo>
                    <a:pt x="673" y="0"/>
                  </a:lnTo>
                  <a:cubicBezTo>
                    <a:pt x="-1282" y="8619"/>
                    <a:pt x="1374" y="14782"/>
                    <a:pt x="4130" y="21247"/>
                  </a:cubicBezTo>
                  <a:lnTo>
                    <a:pt x="4932" y="23151"/>
                  </a:lnTo>
                  <a:cubicBezTo>
                    <a:pt x="5333" y="24053"/>
                    <a:pt x="6085" y="24855"/>
                    <a:pt x="6385" y="25005"/>
                  </a:cubicBezTo>
                  <a:lnTo>
                    <a:pt x="7788" y="25456"/>
                  </a:lnTo>
                  <a:cubicBezTo>
                    <a:pt x="10645" y="26408"/>
                    <a:pt x="13551" y="27360"/>
                    <a:pt x="15806" y="26959"/>
                  </a:cubicBezTo>
                  <a:cubicBezTo>
                    <a:pt x="16257" y="26608"/>
                    <a:pt x="17761" y="24003"/>
                    <a:pt x="17910" y="22149"/>
                  </a:cubicBezTo>
                  <a:lnTo>
                    <a:pt x="17910" y="21547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89" name="Полилиния: фигура 88">
              <a:extLst>
                <a:ext uri="{FF2B5EF4-FFF2-40B4-BE49-F238E27FC236}">
                  <a16:creationId xmlns:a16="http://schemas.microsoft.com/office/drawing/2014/main" id="{F5DAE419-A543-4E65-A9D1-36DFEDC551BA}"/>
                </a:ext>
              </a:extLst>
            </p:cNvPr>
            <p:cNvSpPr/>
            <p:nvPr/>
          </p:nvSpPr>
          <p:spPr>
            <a:xfrm>
              <a:off x="5619607" y="2129932"/>
              <a:ext cx="23837" cy="35256"/>
            </a:xfrm>
            <a:custGeom>
              <a:avLst/>
              <a:gdLst>
                <a:gd name="connsiteX0" fmla="*/ 12493 w 19114"/>
                <a:gd name="connsiteY0" fmla="*/ 28062 h 28270"/>
                <a:gd name="connsiteX1" fmla="*/ 18106 w 19114"/>
                <a:gd name="connsiteY1" fmla="*/ 23201 h 28270"/>
                <a:gd name="connsiteX2" fmla="*/ 17003 w 19114"/>
                <a:gd name="connsiteY2" fmla="*/ 0 h 28270"/>
                <a:gd name="connsiteX3" fmla="*/ 467 w 19114"/>
                <a:gd name="connsiteY3" fmla="*/ 15835 h 28270"/>
                <a:gd name="connsiteX4" fmla="*/ 1219 w 19114"/>
                <a:gd name="connsiteY4" fmla="*/ 24053 h 28270"/>
                <a:gd name="connsiteX5" fmla="*/ 12544 w 19114"/>
                <a:gd name="connsiteY5" fmla="*/ 28112 h 28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14" h="28270">
                  <a:moveTo>
                    <a:pt x="12493" y="28062"/>
                  </a:moveTo>
                  <a:cubicBezTo>
                    <a:pt x="14798" y="27861"/>
                    <a:pt x="17604" y="26809"/>
                    <a:pt x="18106" y="23201"/>
                  </a:cubicBezTo>
                  <a:cubicBezTo>
                    <a:pt x="19108" y="15985"/>
                    <a:pt x="20160" y="8519"/>
                    <a:pt x="17003" y="0"/>
                  </a:cubicBezTo>
                  <a:cubicBezTo>
                    <a:pt x="8835" y="4209"/>
                    <a:pt x="4225" y="10072"/>
                    <a:pt x="467" y="15835"/>
                  </a:cubicBezTo>
                  <a:cubicBezTo>
                    <a:pt x="-385" y="17188"/>
                    <a:pt x="-34" y="21146"/>
                    <a:pt x="1219" y="24053"/>
                  </a:cubicBezTo>
                  <a:cubicBezTo>
                    <a:pt x="2772" y="27661"/>
                    <a:pt x="5829" y="28713"/>
                    <a:pt x="12544" y="2811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90" name="Полилиния: фигура 89">
              <a:extLst>
                <a:ext uri="{FF2B5EF4-FFF2-40B4-BE49-F238E27FC236}">
                  <a16:creationId xmlns:a16="http://schemas.microsoft.com/office/drawing/2014/main" id="{59745ECD-AC7E-451B-B63A-D48B5768850C}"/>
                </a:ext>
              </a:extLst>
            </p:cNvPr>
            <p:cNvSpPr/>
            <p:nvPr/>
          </p:nvSpPr>
          <p:spPr>
            <a:xfrm>
              <a:off x="5409211" y="203196"/>
              <a:ext cx="40690" cy="10302"/>
            </a:xfrm>
            <a:custGeom>
              <a:avLst/>
              <a:gdLst>
                <a:gd name="connsiteX0" fmla="*/ 32472 w 32627"/>
                <a:gd name="connsiteY0" fmla="*/ 6465 h 8261"/>
                <a:gd name="connsiteX1" fmla="*/ 31820 w 32627"/>
                <a:gd name="connsiteY1" fmla="*/ 1354 h 8261"/>
                <a:gd name="connsiteX2" fmla="*/ 29064 w 32627"/>
                <a:gd name="connsiteY2" fmla="*/ 51 h 8261"/>
                <a:gd name="connsiteX3" fmla="*/ 14231 w 32627"/>
                <a:gd name="connsiteY3" fmla="*/ 2908 h 8261"/>
                <a:gd name="connsiteX4" fmla="*/ 6063 w 32627"/>
                <a:gd name="connsiteY4" fmla="*/ 2707 h 8261"/>
                <a:gd name="connsiteX5" fmla="*/ 0 w 32627"/>
                <a:gd name="connsiteY5" fmla="*/ 2206 h 8261"/>
                <a:gd name="connsiteX6" fmla="*/ 32472 w 32627"/>
                <a:gd name="connsiteY6" fmla="*/ 6465 h 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27" h="8261">
                  <a:moveTo>
                    <a:pt x="32472" y="6465"/>
                  </a:moveTo>
                  <a:cubicBezTo>
                    <a:pt x="32822" y="4261"/>
                    <a:pt x="32572" y="2406"/>
                    <a:pt x="31820" y="1354"/>
                  </a:cubicBezTo>
                  <a:cubicBezTo>
                    <a:pt x="31269" y="552"/>
                    <a:pt x="30367" y="151"/>
                    <a:pt x="29064" y="51"/>
                  </a:cubicBezTo>
                  <a:cubicBezTo>
                    <a:pt x="24504" y="-300"/>
                    <a:pt x="19443" y="1204"/>
                    <a:pt x="14231" y="2908"/>
                  </a:cubicBezTo>
                  <a:cubicBezTo>
                    <a:pt x="11375" y="3860"/>
                    <a:pt x="8669" y="3258"/>
                    <a:pt x="6063" y="2707"/>
                  </a:cubicBezTo>
                  <a:cubicBezTo>
                    <a:pt x="3859" y="2206"/>
                    <a:pt x="1954" y="1805"/>
                    <a:pt x="0" y="2206"/>
                  </a:cubicBezTo>
                  <a:cubicBezTo>
                    <a:pt x="10623" y="10023"/>
                    <a:pt x="21447" y="8871"/>
                    <a:pt x="32472" y="646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91" name="Полилиния: фигура 90">
              <a:extLst>
                <a:ext uri="{FF2B5EF4-FFF2-40B4-BE49-F238E27FC236}">
                  <a16:creationId xmlns:a16="http://schemas.microsoft.com/office/drawing/2014/main" id="{29B9A52A-956B-434E-AAA8-0715CF958B24}"/>
                </a:ext>
              </a:extLst>
            </p:cNvPr>
            <p:cNvSpPr/>
            <p:nvPr/>
          </p:nvSpPr>
          <p:spPr>
            <a:xfrm>
              <a:off x="2055689" y="2746430"/>
              <a:ext cx="30183" cy="14811"/>
            </a:xfrm>
            <a:custGeom>
              <a:avLst/>
              <a:gdLst>
                <a:gd name="connsiteX0" fmla="*/ 21045 w 24202"/>
                <a:gd name="connsiteY0" fmla="*/ 4510 h 11876"/>
                <a:gd name="connsiteX1" fmla="*/ 9119 w 24202"/>
                <a:gd name="connsiteY1" fmla="*/ 351 h 11876"/>
                <a:gd name="connsiteX2" fmla="*/ 6764 w 24202"/>
                <a:gd name="connsiteY2" fmla="*/ 0 h 11876"/>
                <a:gd name="connsiteX3" fmla="*/ 350 w 24202"/>
                <a:gd name="connsiteY3" fmla="*/ 4059 h 11876"/>
                <a:gd name="connsiteX4" fmla="*/ 350 w 24202"/>
                <a:gd name="connsiteY4" fmla="*/ 4059 h 11876"/>
                <a:gd name="connsiteX5" fmla="*/ 450 w 24202"/>
                <a:gd name="connsiteY5" fmla="*/ 8769 h 11876"/>
                <a:gd name="connsiteX6" fmla="*/ 24202 w 24202"/>
                <a:gd name="connsiteY6" fmla="*/ 5713 h 11876"/>
                <a:gd name="connsiteX7" fmla="*/ 21045 w 24202"/>
                <a:gd name="connsiteY7" fmla="*/ 4510 h 1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02" h="11876">
                  <a:moveTo>
                    <a:pt x="21045" y="4510"/>
                  </a:moveTo>
                  <a:cubicBezTo>
                    <a:pt x="16686" y="2856"/>
                    <a:pt x="12877" y="1403"/>
                    <a:pt x="9119" y="351"/>
                  </a:cubicBezTo>
                  <a:cubicBezTo>
                    <a:pt x="8317" y="100"/>
                    <a:pt x="7516" y="0"/>
                    <a:pt x="6764" y="0"/>
                  </a:cubicBezTo>
                  <a:cubicBezTo>
                    <a:pt x="4108" y="0"/>
                    <a:pt x="1803" y="1403"/>
                    <a:pt x="350" y="4059"/>
                  </a:cubicBezTo>
                  <a:lnTo>
                    <a:pt x="350" y="4059"/>
                  </a:lnTo>
                  <a:cubicBezTo>
                    <a:pt x="-201" y="5111"/>
                    <a:pt x="-51" y="8018"/>
                    <a:pt x="450" y="8769"/>
                  </a:cubicBezTo>
                  <a:cubicBezTo>
                    <a:pt x="6864" y="13730"/>
                    <a:pt x="14882" y="12778"/>
                    <a:pt x="24202" y="5713"/>
                  </a:cubicBezTo>
                  <a:cubicBezTo>
                    <a:pt x="23100" y="5312"/>
                    <a:pt x="22048" y="4911"/>
                    <a:pt x="21045" y="451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92" name="Полилиния: фигура 91">
              <a:extLst>
                <a:ext uri="{FF2B5EF4-FFF2-40B4-BE49-F238E27FC236}">
                  <a16:creationId xmlns:a16="http://schemas.microsoft.com/office/drawing/2014/main" id="{3A043D0B-B873-4D45-AD16-CCBF092A28C4}"/>
                </a:ext>
              </a:extLst>
            </p:cNvPr>
            <p:cNvSpPr/>
            <p:nvPr/>
          </p:nvSpPr>
          <p:spPr>
            <a:xfrm>
              <a:off x="5287598" y="388991"/>
              <a:ext cx="17593" cy="24435"/>
            </a:xfrm>
            <a:custGeom>
              <a:avLst/>
              <a:gdLst>
                <a:gd name="connsiteX0" fmla="*/ 13180 w 14107"/>
                <a:gd name="connsiteY0" fmla="*/ 12477 h 19593"/>
                <a:gd name="connsiteX1" fmla="*/ 13079 w 14107"/>
                <a:gd name="connsiteY1" fmla="*/ 2656 h 19593"/>
                <a:gd name="connsiteX2" fmla="*/ 10824 w 14107"/>
                <a:gd name="connsiteY2" fmla="*/ 0 h 19593"/>
                <a:gd name="connsiteX3" fmla="*/ 9973 w 14107"/>
                <a:gd name="connsiteY3" fmla="*/ 0 h 19593"/>
                <a:gd name="connsiteX4" fmla="*/ 5262 w 14107"/>
                <a:gd name="connsiteY4" fmla="*/ 1253 h 19593"/>
                <a:gd name="connsiteX5" fmla="*/ 903 w 14107"/>
                <a:gd name="connsiteY5" fmla="*/ 19593 h 19593"/>
                <a:gd name="connsiteX6" fmla="*/ 13180 w 14107"/>
                <a:gd name="connsiteY6" fmla="*/ 12477 h 19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07" h="19593">
                  <a:moveTo>
                    <a:pt x="13180" y="12477"/>
                  </a:moveTo>
                  <a:cubicBezTo>
                    <a:pt x="14432" y="10222"/>
                    <a:pt x="14432" y="7066"/>
                    <a:pt x="13079" y="2656"/>
                  </a:cubicBezTo>
                  <a:cubicBezTo>
                    <a:pt x="12779" y="1604"/>
                    <a:pt x="11375" y="200"/>
                    <a:pt x="10824" y="0"/>
                  </a:cubicBezTo>
                  <a:cubicBezTo>
                    <a:pt x="10574" y="0"/>
                    <a:pt x="10273" y="0"/>
                    <a:pt x="9973" y="0"/>
                  </a:cubicBezTo>
                  <a:cubicBezTo>
                    <a:pt x="7918" y="0"/>
                    <a:pt x="5813" y="601"/>
                    <a:pt x="5262" y="1253"/>
                  </a:cubicBezTo>
                  <a:cubicBezTo>
                    <a:pt x="301" y="7316"/>
                    <a:pt x="-1152" y="13329"/>
                    <a:pt x="903" y="19593"/>
                  </a:cubicBezTo>
                  <a:cubicBezTo>
                    <a:pt x="7768" y="17539"/>
                    <a:pt x="11626" y="15284"/>
                    <a:pt x="13180" y="1247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93" name="Полилиния: фигура 92">
              <a:extLst>
                <a:ext uri="{FF2B5EF4-FFF2-40B4-BE49-F238E27FC236}">
                  <a16:creationId xmlns:a16="http://schemas.microsoft.com/office/drawing/2014/main" id="{B4D84C20-C411-4C0C-BDF0-7DD9B89B84D8}"/>
                </a:ext>
              </a:extLst>
            </p:cNvPr>
            <p:cNvSpPr/>
            <p:nvPr/>
          </p:nvSpPr>
          <p:spPr>
            <a:xfrm>
              <a:off x="6518219" y="645089"/>
              <a:ext cx="23309" cy="12314"/>
            </a:xfrm>
            <a:custGeom>
              <a:avLst/>
              <a:gdLst>
                <a:gd name="connsiteX0" fmla="*/ 3207 w 18690"/>
                <a:gd name="connsiteY0" fmla="*/ 6965 h 9874"/>
                <a:gd name="connsiteX1" fmla="*/ 14682 w 18690"/>
                <a:gd name="connsiteY1" fmla="*/ 9771 h 9874"/>
                <a:gd name="connsiteX2" fmla="*/ 18691 w 18690"/>
                <a:gd name="connsiteY2" fmla="*/ 3959 h 9874"/>
                <a:gd name="connsiteX3" fmla="*/ 16536 w 18690"/>
                <a:gd name="connsiteY3" fmla="*/ 2054 h 9874"/>
                <a:gd name="connsiteX4" fmla="*/ 9471 w 18690"/>
                <a:gd name="connsiteY4" fmla="*/ 301 h 9874"/>
                <a:gd name="connsiteX5" fmla="*/ 8218 w 18690"/>
                <a:gd name="connsiteY5" fmla="*/ 100 h 9874"/>
                <a:gd name="connsiteX6" fmla="*/ 5662 w 18690"/>
                <a:gd name="connsiteY6" fmla="*/ 0 h 9874"/>
                <a:gd name="connsiteX7" fmla="*/ 5061 w 18690"/>
                <a:gd name="connsiteY7" fmla="*/ 0 h 9874"/>
                <a:gd name="connsiteX8" fmla="*/ 3257 w 18690"/>
                <a:gd name="connsiteY8" fmla="*/ 1102 h 9874"/>
                <a:gd name="connsiteX9" fmla="*/ 0 w 18690"/>
                <a:gd name="connsiteY9" fmla="*/ 3508 h 9874"/>
                <a:gd name="connsiteX10" fmla="*/ 3207 w 18690"/>
                <a:gd name="connsiteY10" fmla="*/ 7066 h 9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690" h="9874">
                  <a:moveTo>
                    <a:pt x="3207" y="6965"/>
                  </a:moveTo>
                  <a:cubicBezTo>
                    <a:pt x="5061" y="7817"/>
                    <a:pt x="10623" y="10423"/>
                    <a:pt x="14682" y="9771"/>
                  </a:cubicBezTo>
                  <a:cubicBezTo>
                    <a:pt x="15785" y="9471"/>
                    <a:pt x="17689" y="5863"/>
                    <a:pt x="18691" y="3959"/>
                  </a:cubicBezTo>
                  <a:cubicBezTo>
                    <a:pt x="18090" y="3207"/>
                    <a:pt x="17038" y="2255"/>
                    <a:pt x="16536" y="2054"/>
                  </a:cubicBezTo>
                  <a:cubicBezTo>
                    <a:pt x="14081" y="1102"/>
                    <a:pt x="11275" y="601"/>
                    <a:pt x="9471" y="301"/>
                  </a:cubicBezTo>
                  <a:cubicBezTo>
                    <a:pt x="8970" y="200"/>
                    <a:pt x="8569" y="150"/>
                    <a:pt x="8218" y="100"/>
                  </a:cubicBezTo>
                  <a:cubicBezTo>
                    <a:pt x="7116" y="100"/>
                    <a:pt x="6314" y="50"/>
                    <a:pt x="5662" y="0"/>
                  </a:cubicBezTo>
                  <a:cubicBezTo>
                    <a:pt x="5412" y="0"/>
                    <a:pt x="5211" y="0"/>
                    <a:pt x="5061" y="0"/>
                  </a:cubicBezTo>
                  <a:cubicBezTo>
                    <a:pt x="4510" y="351"/>
                    <a:pt x="3909" y="752"/>
                    <a:pt x="3257" y="1102"/>
                  </a:cubicBezTo>
                  <a:cubicBezTo>
                    <a:pt x="2205" y="1754"/>
                    <a:pt x="250" y="2906"/>
                    <a:pt x="0" y="3508"/>
                  </a:cubicBezTo>
                  <a:cubicBezTo>
                    <a:pt x="100" y="4059"/>
                    <a:pt x="1854" y="6414"/>
                    <a:pt x="3207" y="706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94" name="Полилиния: фигура 93">
              <a:extLst>
                <a:ext uri="{FF2B5EF4-FFF2-40B4-BE49-F238E27FC236}">
                  <a16:creationId xmlns:a16="http://schemas.microsoft.com/office/drawing/2014/main" id="{DBF99C8B-F70D-4A4A-AD1C-EAD1AC1173B8}"/>
                </a:ext>
              </a:extLst>
            </p:cNvPr>
            <p:cNvSpPr/>
            <p:nvPr/>
          </p:nvSpPr>
          <p:spPr>
            <a:xfrm>
              <a:off x="5188661" y="317123"/>
              <a:ext cx="16508" cy="13748"/>
            </a:xfrm>
            <a:custGeom>
              <a:avLst/>
              <a:gdLst>
                <a:gd name="connsiteX0" fmla="*/ 2815 w 13237"/>
                <a:gd name="connsiteY0" fmla="*/ 10122 h 11024"/>
                <a:gd name="connsiteX1" fmla="*/ 9078 w 13237"/>
                <a:gd name="connsiteY1" fmla="*/ 10573 h 11024"/>
                <a:gd name="connsiteX2" fmla="*/ 13238 w 13237"/>
                <a:gd name="connsiteY2" fmla="*/ 150 h 11024"/>
                <a:gd name="connsiteX3" fmla="*/ 8678 w 13237"/>
                <a:gd name="connsiteY3" fmla="*/ 0 h 11024"/>
                <a:gd name="connsiteX4" fmla="*/ 309 w 13237"/>
                <a:gd name="connsiteY4" fmla="*/ 4610 h 11024"/>
                <a:gd name="connsiteX5" fmla="*/ 309 w 13237"/>
                <a:gd name="connsiteY5" fmla="*/ 4610 h 11024"/>
                <a:gd name="connsiteX6" fmla="*/ 410 w 13237"/>
                <a:gd name="connsiteY6" fmla="*/ 7917 h 11024"/>
                <a:gd name="connsiteX7" fmla="*/ 2815 w 13237"/>
                <a:gd name="connsiteY7" fmla="*/ 10172 h 11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37" h="11024">
                  <a:moveTo>
                    <a:pt x="2815" y="10122"/>
                  </a:moveTo>
                  <a:cubicBezTo>
                    <a:pt x="6874" y="11475"/>
                    <a:pt x="8327" y="11024"/>
                    <a:pt x="9078" y="10573"/>
                  </a:cubicBezTo>
                  <a:cubicBezTo>
                    <a:pt x="11133" y="9320"/>
                    <a:pt x="12386" y="4760"/>
                    <a:pt x="13238" y="150"/>
                  </a:cubicBezTo>
                  <a:cubicBezTo>
                    <a:pt x="11484" y="50"/>
                    <a:pt x="9980" y="0"/>
                    <a:pt x="8678" y="0"/>
                  </a:cubicBezTo>
                  <a:cubicBezTo>
                    <a:pt x="2213" y="0"/>
                    <a:pt x="1612" y="1403"/>
                    <a:pt x="309" y="4610"/>
                  </a:cubicBezTo>
                  <a:lnTo>
                    <a:pt x="309" y="4610"/>
                  </a:lnTo>
                  <a:cubicBezTo>
                    <a:pt x="-142" y="5612"/>
                    <a:pt x="-92" y="6815"/>
                    <a:pt x="410" y="7917"/>
                  </a:cubicBezTo>
                  <a:cubicBezTo>
                    <a:pt x="911" y="8970"/>
                    <a:pt x="1762" y="9822"/>
                    <a:pt x="2815" y="1017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95" name="Полилиния: фигура 94">
              <a:extLst>
                <a:ext uri="{FF2B5EF4-FFF2-40B4-BE49-F238E27FC236}">
                  <a16:creationId xmlns:a16="http://schemas.microsoft.com/office/drawing/2014/main" id="{E35DA2E0-B16E-4018-BAF8-5F8C89F667D0}"/>
                </a:ext>
              </a:extLst>
            </p:cNvPr>
            <p:cNvSpPr/>
            <p:nvPr/>
          </p:nvSpPr>
          <p:spPr>
            <a:xfrm>
              <a:off x="5405034" y="259692"/>
              <a:ext cx="5759" cy="27746"/>
            </a:xfrm>
            <a:custGeom>
              <a:avLst/>
              <a:gdLst>
                <a:gd name="connsiteX0" fmla="*/ 4050 w 4618"/>
                <a:gd name="connsiteY0" fmla="*/ 22249 h 22248"/>
                <a:gd name="connsiteX1" fmla="*/ 4050 w 4618"/>
                <a:gd name="connsiteY1" fmla="*/ 22149 h 22248"/>
                <a:gd name="connsiteX2" fmla="*/ 392 w 4618"/>
                <a:gd name="connsiteY2" fmla="*/ 0 h 22248"/>
                <a:gd name="connsiteX3" fmla="*/ 4050 w 4618"/>
                <a:gd name="connsiteY3" fmla="*/ 22249 h 22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18" h="22248">
                  <a:moveTo>
                    <a:pt x="4050" y="22249"/>
                  </a:moveTo>
                  <a:cubicBezTo>
                    <a:pt x="4050" y="22249"/>
                    <a:pt x="4050" y="22149"/>
                    <a:pt x="4050" y="22149"/>
                  </a:cubicBezTo>
                  <a:cubicBezTo>
                    <a:pt x="4902" y="12528"/>
                    <a:pt x="5503" y="5662"/>
                    <a:pt x="392" y="0"/>
                  </a:cubicBezTo>
                  <a:cubicBezTo>
                    <a:pt x="-459" y="13179"/>
                    <a:pt x="-209" y="16486"/>
                    <a:pt x="4050" y="2224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96" name="Полилиния: фигура 95">
              <a:extLst>
                <a:ext uri="{FF2B5EF4-FFF2-40B4-BE49-F238E27FC236}">
                  <a16:creationId xmlns:a16="http://schemas.microsoft.com/office/drawing/2014/main" id="{9443AC61-CDC3-4B28-9DE3-050FF3D1AB87}"/>
                </a:ext>
              </a:extLst>
            </p:cNvPr>
            <p:cNvSpPr/>
            <p:nvPr/>
          </p:nvSpPr>
          <p:spPr>
            <a:xfrm>
              <a:off x="5304522" y="256568"/>
              <a:ext cx="13009" cy="13061"/>
            </a:xfrm>
            <a:custGeom>
              <a:avLst/>
              <a:gdLst>
                <a:gd name="connsiteX0" fmla="*/ 10432 w 10431"/>
                <a:gd name="connsiteY0" fmla="*/ 10473 h 10473"/>
                <a:gd name="connsiteX1" fmla="*/ 510 w 10431"/>
                <a:gd name="connsiteY1" fmla="*/ 0 h 10473"/>
                <a:gd name="connsiteX2" fmla="*/ 911 w 10431"/>
                <a:gd name="connsiteY2" fmla="*/ 7517 h 10473"/>
                <a:gd name="connsiteX3" fmla="*/ 10432 w 10431"/>
                <a:gd name="connsiteY3" fmla="*/ 10473 h 1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1" h="10473">
                  <a:moveTo>
                    <a:pt x="10432" y="10473"/>
                  </a:moveTo>
                  <a:cubicBezTo>
                    <a:pt x="7676" y="4560"/>
                    <a:pt x="6423" y="3307"/>
                    <a:pt x="510" y="0"/>
                  </a:cubicBezTo>
                  <a:cubicBezTo>
                    <a:pt x="-292" y="3608"/>
                    <a:pt x="-141" y="6113"/>
                    <a:pt x="911" y="7517"/>
                  </a:cubicBezTo>
                  <a:cubicBezTo>
                    <a:pt x="2214" y="9220"/>
                    <a:pt x="5321" y="10222"/>
                    <a:pt x="10432" y="1047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97" name="Полилиния: фигура 96">
              <a:extLst>
                <a:ext uri="{FF2B5EF4-FFF2-40B4-BE49-F238E27FC236}">
                  <a16:creationId xmlns:a16="http://schemas.microsoft.com/office/drawing/2014/main" id="{59D9BA49-549A-46FE-BD1F-A512EEF7E1C3}"/>
                </a:ext>
              </a:extLst>
            </p:cNvPr>
            <p:cNvSpPr/>
            <p:nvPr/>
          </p:nvSpPr>
          <p:spPr>
            <a:xfrm>
              <a:off x="8467889" y="1569401"/>
              <a:ext cx="11278" cy="17526"/>
            </a:xfrm>
            <a:custGeom>
              <a:avLst/>
              <a:gdLst>
                <a:gd name="connsiteX0" fmla="*/ 8068 w 9043"/>
                <a:gd name="connsiteY0" fmla="*/ 14053 h 14053"/>
                <a:gd name="connsiteX1" fmla="*/ 6364 w 9043"/>
                <a:gd name="connsiteY1" fmla="*/ 524 h 14053"/>
                <a:gd name="connsiteX2" fmla="*/ 1102 w 9043"/>
                <a:gd name="connsiteY2" fmla="*/ 223 h 14053"/>
                <a:gd name="connsiteX3" fmla="*/ 0 w 9043"/>
                <a:gd name="connsiteY3" fmla="*/ 2578 h 14053"/>
                <a:gd name="connsiteX4" fmla="*/ 8017 w 9043"/>
                <a:gd name="connsiteY4" fmla="*/ 14053 h 14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43" h="14053">
                  <a:moveTo>
                    <a:pt x="8068" y="14053"/>
                  </a:moveTo>
                  <a:cubicBezTo>
                    <a:pt x="9772" y="7339"/>
                    <a:pt x="9270" y="3631"/>
                    <a:pt x="6364" y="524"/>
                  </a:cubicBezTo>
                  <a:cubicBezTo>
                    <a:pt x="5863" y="73"/>
                    <a:pt x="3458" y="-228"/>
                    <a:pt x="1102" y="223"/>
                  </a:cubicBezTo>
                  <a:cubicBezTo>
                    <a:pt x="651" y="724"/>
                    <a:pt x="0" y="2077"/>
                    <a:pt x="0" y="2578"/>
                  </a:cubicBezTo>
                  <a:cubicBezTo>
                    <a:pt x="1504" y="7790"/>
                    <a:pt x="3458" y="11548"/>
                    <a:pt x="8017" y="1405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98" name="Полилиния: фигура 97">
              <a:extLst>
                <a:ext uri="{FF2B5EF4-FFF2-40B4-BE49-F238E27FC236}">
                  <a16:creationId xmlns:a16="http://schemas.microsoft.com/office/drawing/2014/main" id="{5FF6446C-87D6-40C3-A823-33CC0492BA96}"/>
                </a:ext>
              </a:extLst>
            </p:cNvPr>
            <p:cNvSpPr/>
            <p:nvPr/>
          </p:nvSpPr>
          <p:spPr>
            <a:xfrm>
              <a:off x="5475641" y="176638"/>
              <a:ext cx="9936" cy="16028"/>
            </a:xfrm>
            <a:custGeom>
              <a:avLst/>
              <a:gdLst>
                <a:gd name="connsiteX0" fmla="*/ 4560 w 7967"/>
                <a:gd name="connsiteY0" fmla="*/ 12778 h 12852"/>
                <a:gd name="connsiteX1" fmla="*/ 7968 w 7967"/>
                <a:gd name="connsiteY1" fmla="*/ 10673 h 12852"/>
                <a:gd name="connsiteX2" fmla="*/ 4159 w 7967"/>
                <a:gd name="connsiteY2" fmla="*/ 351 h 12852"/>
                <a:gd name="connsiteX3" fmla="*/ 3257 w 7967"/>
                <a:gd name="connsiteY3" fmla="*/ 200 h 12852"/>
                <a:gd name="connsiteX4" fmla="*/ 2205 w 7967"/>
                <a:gd name="connsiteY4" fmla="*/ 0 h 12852"/>
                <a:gd name="connsiteX5" fmla="*/ 1754 w 7967"/>
                <a:gd name="connsiteY5" fmla="*/ 1303 h 12852"/>
                <a:gd name="connsiteX6" fmla="*/ 0 w 7967"/>
                <a:gd name="connsiteY6" fmla="*/ 8368 h 12852"/>
                <a:gd name="connsiteX7" fmla="*/ 1203 w 7967"/>
                <a:gd name="connsiteY7" fmla="*/ 11575 h 12852"/>
                <a:gd name="connsiteX8" fmla="*/ 4510 w 7967"/>
                <a:gd name="connsiteY8" fmla="*/ 12828 h 12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67" h="12852">
                  <a:moveTo>
                    <a:pt x="4560" y="12778"/>
                  </a:moveTo>
                  <a:cubicBezTo>
                    <a:pt x="5312" y="12728"/>
                    <a:pt x="7216" y="11475"/>
                    <a:pt x="7968" y="10673"/>
                  </a:cubicBezTo>
                  <a:cubicBezTo>
                    <a:pt x="7316" y="7116"/>
                    <a:pt x="5612" y="3407"/>
                    <a:pt x="4159" y="351"/>
                  </a:cubicBezTo>
                  <a:cubicBezTo>
                    <a:pt x="3859" y="301"/>
                    <a:pt x="3508" y="251"/>
                    <a:pt x="3257" y="200"/>
                  </a:cubicBezTo>
                  <a:cubicBezTo>
                    <a:pt x="2906" y="150"/>
                    <a:pt x="2556" y="100"/>
                    <a:pt x="2205" y="0"/>
                  </a:cubicBezTo>
                  <a:cubicBezTo>
                    <a:pt x="2055" y="401"/>
                    <a:pt x="1904" y="852"/>
                    <a:pt x="1754" y="1303"/>
                  </a:cubicBezTo>
                  <a:cubicBezTo>
                    <a:pt x="902" y="3808"/>
                    <a:pt x="50" y="6164"/>
                    <a:pt x="0" y="8368"/>
                  </a:cubicBezTo>
                  <a:cubicBezTo>
                    <a:pt x="0" y="9671"/>
                    <a:pt x="401" y="10774"/>
                    <a:pt x="1203" y="11575"/>
                  </a:cubicBezTo>
                  <a:cubicBezTo>
                    <a:pt x="2055" y="12427"/>
                    <a:pt x="3207" y="12979"/>
                    <a:pt x="4510" y="1282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99" name="Полилиния: фигура 98">
              <a:extLst>
                <a:ext uri="{FF2B5EF4-FFF2-40B4-BE49-F238E27FC236}">
                  <a16:creationId xmlns:a16="http://schemas.microsoft.com/office/drawing/2014/main" id="{BB7F7078-6094-45A2-87AB-F896AD37541D}"/>
                </a:ext>
              </a:extLst>
            </p:cNvPr>
            <p:cNvSpPr/>
            <p:nvPr/>
          </p:nvSpPr>
          <p:spPr>
            <a:xfrm>
              <a:off x="8820226" y="2256732"/>
              <a:ext cx="18060" cy="9852"/>
            </a:xfrm>
            <a:custGeom>
              <a:avLst/>
              <a:gdLst>
                <a:gd name="connsiteX0" fmla="*/ 14382 w 14481"/>
                <a:gd name="connsiteY0" fmla="*/ 6564 h 7900"/>
                <a:gd name="connsiteX1" fmla="*/ 12578 w 14481"/>
                <a:gd name="connsiteY1" fmla="*/ 4610 h 7900"/>
                <a:gd name="connsiteX2" fmla="*/ 13380 w 14481"/>
                <a:gd name="connsiteY2" fmla="*/ 1704 h 7900"/>
                <a:gd name="connsiteX3" fmla="*/ 11124 w 14481"/>
                <a:gd name="connsiteY3" fmla="*/ 0 h 7900"/>
                <a:gd name="connsiteX4" fmla="*/ 1704 w 14481"/>
                <a:gd name="connsiteY4" fmla="*/ 4710 h 7900"/>
                <a:gd name="connsiteX5" fmla="*/ 0 w 14481"/>
                <a:gd name="connsiteY5" fmla="*/ 5662 h 7900"/>
                <a:gd name="connsiteX6" fmla="*/ 12628 w 14481"/>
                <a:gd name="connsiteY6" fmla="*/ 4660 h 7900"/>
                <a:gd name="connsiteX7" fmla="*/ 14482 w 14481"/>
                <a:gd name="connsiteY7" fmla="*/ 6615 h 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81" h="7900">
                  <a:moveTo>
                    <a:pt x="14382" y="6564"/>
                  </a:moveTo>
                  <a:lnTo>
                    <a:pt x="12578" y="4610"/>
                  </a:lnTo>
                  <a:cubicBezTo>
                    <a:pt x="13079" y="4159"/>
                    <a:pt x="13530" y="2355"/>
                    <a:pt x="13380" y="1704"/>
                  </a:cubicBezTo>
                  <a:cubicBezTo>
                    <a:pt x="13129" y="1253"/>
                    <a:pt x="11876" y="250"/>
                    <a:pt x="11124" y="0"/>
                  </a:cubicBezTo>
                  <a:cubicBezTo>
                    <a:pt x="8218" y="1102"/>
                    <a:pt x="5312" y="2706"/>
                    <a:pt x="1704" y="4710"/>
                  </a:cubicBezTo>
                  <a:cubicBezTo>
                    <a:pt x="1152" y="5011"/>
                    <a:pt x="551" y="5312"/>
                    <a:pt x="0" y="5662"/>
                  </a:cubicBezTo>
                  <a:cubicBezTo>
                    <a:pt x="6163" y="9721"/>
                    <a:pt x="9521" y="7567"/>
                    <a:pt x="12628" y="4660"/>
                  </a:cubicBezTo>
                  <a:lnTo>
                    <a:pt x="14482" y="6615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00" name="Полилиния: фигура 99">
              <a:extLst>
                <a:ext uri="{FF2B5EF4-FFF2-40B4-BE49-F238E27FC236}">
                  <a16:creationId xmlns:a16="http://schemas.microsoft.com/office/drawing/2014/main" id="{DCFEB225-5326-4554-8C83-980CB552B4EB}"/>
                </a:ext>
              </a:extLst>
            </p:cNvPr>
            <p:cNvSpPr/>
            <p:nvPr/>
          </p:nvSpPr>
          <p:spPr>
            <a:xfrm>
              <a:off x="6609710" y="1521621"/>
              <a:ext cx="11748" cy="10311"/>
            </a:xfrm>
            <a:custGeom>
              <a:avLst/>
              <a:gdLst>
                <a:gd name="connsiteX0" fmla="*/ 9421 w 9420"/>
                <a:gd name="connsiteY0" fmla="*/ 0 h 8268"/>
                <a:gd name="connsiteX1" fmla="*/ 0 w 9420"/>
                <a:gd name="connsiteY1" fmla="*/ 8268 h 8268"/>
                <a:gd name="connsiteX2" fmla="*/ 9421 w 9420"/>
                <a:gd name="connsiteY2" fmla="*/ 0 h 8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20" h="8268">
                  <a:moveTo>
                    <a:pt x="9421" y="0"/>
                  </a:moveTo>
                  <a:lnTo>
                    <a:pt x="0" y="8268"/>
                  </a:lnTo>
                  <a:cubicBezTo>
                    <a:pt x="7266" y="7967"/>
                    <a:pt x="8919" y="6314"/>
                    <a:pt x="9421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01" name="Полилиния: фигура 100">
              <a:extLst>
                <a:ext uri="{FF2B5EF4-FFF2-40B4-BE49-F238E27FC236}">
                  <a16:creationId xmlns:a16="http://schemas.microsoft.com/office/drawing/2014/main" id="{7C2E76ED-2BAE-4C56-9502-FA7F1DA16A68}"/>
                </a:ext>
              </a:extLst>
            </p:cNvPr>
            <p:cNvSpPr/>
            <p:nvPr/>
          </p:nvSpPr>
          <p:spPr>
            <a:xfrm>
              <a:off x="11392894" y="5631376"/>
              <a:ext cx="7480" cy="13873"/>
            </a:xfrm>
            <a:custGeom>
              <a:avLst/>
              <a:gdLst>
                <a:gd name="connsiteX0" fmla="*/ 0 w 5998"/>
                <a:gd name="connsiteY0" fmla="*/ 11124 h 11124"/>
                <a:gd name="connsiteX1" fmla="*/ 4760 w 5998"/>
                <a:gd name="connsiteY1" fmla="*/ 0 h 11124"/>
                <a:gd name="connsiteX2" fmla="*/ 0 w 5998"/>
                <a:gd name="connsiteY2" fmla="*/ 11124 h 1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98" h="11124">
                  <a:moveTo>
                    <a:pt x="0" y="11124"/>
                  </a:moveTo>
                  <a:cubicBezTo>
                    <a:pt x="6514" y="7216"/>
                    <a:pt x="7065" y="5662"/>
                    <a:pt x="4760" y="0"/>
                  </a:cubicBezTo>
                  <a:cubicBezTo>
                    <a:pt x="1804" y="3357"/>
                    <a:pt x="851" y="6915"/>
                    <a:pt x="0" y="1112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02" name="Полилиния: фигура 101">
              <a:extLst>
                <a:ext uri="{FF2B5EF4-FFF2-40B4-BE49-F238E27FC236}">
                  <a16:creationId xmlns:a16="http://schemas.microsoft.com/office/drawing/2014/main" id="{38804D73-5C75-49E6-98C6-BDCE2C0335DA}"/>
                </a:ext>
              </a:extLst>
            </p:cNvPr>
            <p:cNvSpPr/>
            <p:nvPr/>
          </p:nvSpPr>
          <p:spPr>
            <a:xfrm>
              <a:off x="6117909" y="605843"/>
              <a:ext cx="18475" cy="9560"/>
            </a:xfrm>
            <a:custGeom>
              <a:avLst/>
              <a:gdLst>
                <a:gd name="connsiteX0" fmla="*/ 282 w 14814"/>
                <a:gd name="connsiteY0" fmla="*/ 3207 h 7666"/>
                <a:gd name="connsiteX1" fmla="*/ 32 w 14814"/>
                <a:gd name="connsiteY1" fmla="*/ 4911 h 7666"/>
                <a:gd name="connsiteX2" fmla="*/ 14814 w 14814"/>
                <a:gd name="connsiteY2" fmla="*/ 7667 h 7666"/>
                <a:gd name="connsiteX3" fmla="*/ 2237 w 14814"/>
                <a:gd name="connsiteY3" fmla="*/ 2706 h 7666"/>
                <a:gd name="connsiteX4" fmla="*/ 2237 w 14814"/>
                <a:gd name="connsiteY4" fmla="*/ 0 h 7666"/>
                <a:gd name="connsiteX5" fmla="*/ 2237 w 14814"/>
                <a:gd name="connsiteY5" fmla="*/ 2706 h 7666"/>
                <a:gd name="connsiteX6" fmla="*/ 383 w 14814"/>
                <a:gd name="connsiteY6" fmla="*/ 3207 h 7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14" h="7666">
                  <a:moveTo>
                    <a:pt x="282" y="3207"/>
                  </a:moveTo>
                  <a:cubicBezTo>
                    <a:pt x="82" y="3458"/>
                    <a:pt x="-68" y="4009"/>
                    <a:pt x="32" y="4911"/>
                  </a:cubicBezTo>
                  <a:cubicBezTo>
                    <a:pt x="4141" y="5662"/>
                    <a:pt x="8701" y="6514"/>
                    <a:pt x="14814" y="7667"/>
                  </a:cubicBezTo>
                  <a:cubicBezTo>
                    <a:pt x="10856" y="2906"/>
                    <a:pt x="6797" y="2806"/>
                    <a:pt x="2237" y="2706"/>
                  </a:cubicBezTo>
                  <a:lnTo>
                    <a:pt x="2237" y="0"/>
                  </a:lnTo>
                  <a:cubicBezTo>
                    <a:pt x="2237" y="0"/>
                    <a:pt x="2237" y="2706"/>
                    <a:pt x="2237" y="2706"/>
                  </a:cubicBezTo>
                  <a:cubicBezTo>
                    <a:pt x="1335" y="2656"/>
                    <a:pt x="633" y="2856"/>
                    <a:pt x="383" y="320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03" name="Полилиния: фигура 102">
              <a:extLst>
                <a:ext uri="{FF2B5EF4-FFF2-40B4-BE49-F238E27FC236}">
                  <a16:creationId xmlns:a16="http://schemas.microsoft.com/office/drawing/2014/main" id="{388FDA91-A3D9-43D4-86D9-AB9ACC7FC7EE}"/>
                </a:ext>
              </a:extLst>
            </p:cNvPr>
            <p:cNvSpPr/>
            <p:nvPr/>
          </p:nvSpPr>
          <p:spPr>
            <a:xfrm>
              <a:off x="5333968" y="309216"/>
              <a:ext cx="9560" cy="7282"/>
            </a:xfrm>
            <a:custGeom>
              <a:avLst/>
              <a:gdLst>
                <a:gd name="connsiteX0" fmla="*/ 7667 w 7666"/>
                <a:gd name="connsiteY0" fmla="*/ 5839 h 5839"/>
                <a:gd name="connsiteX1" fmla="*/ 0 w 7666"/>
                <a:gd name="connsiteY1" fmla="*/ 327 h 5839"/>
                <a:gd name="connsiteX2" fmla="*/ 7667 w 7666"/>
                <a:gd name="connsiteY2" fmla="*/ 5839 h 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66" h="5839">
                  <a:moveTo>
                    <a:pt x="7667" y="5839"/>
                  </a:moveTo>
                  <a:cubicBezTo>
                    <a:pt x="5612" y="478"/>
                    <a:pt x="3758" y="-675"/>
                    <a:pt x="0" y="327"/>
                  </a:cubicBezTo>
                  <a:cubicBezTo>
                    <a:pt x="401" y="3785"/>
                    <a:pt x="2255" y="5188"/>
                    <a:pt x="7667" y="583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04" name="Полилиния: фигура 103">
              <a:extLst>
                <a:ext uri="{FF2B5EF4-FFF2-40B4-BE49-F238E27FC236}">
                  <a16:creationId xmlns:a16="http://schemas.microsoft.com/office/drawing/2014/main" id="{6311B77D-5249-49B9-B2D7-EA0FC931E3AD}"/>
                </a:ext>
              </a:extLst>
            </p:cNvPr>
            <p:cNvSpPr/>
            <p:nvPr/>
          </p:nvSpPr>
          <p:spPr>
            <a:xfrm>
              <a:off x="7102783" y="1330268"/>
              <a:ext cx="13811" cy="5734"/>
            </a:xfrm>
            <a:custGeom>
              <a:avLst/>
              <a:gdLst>
                <a:gd name="connsiteX0" fmla="*/ 11074 w 11074"/>
                <a:gd name="connsiteY0" fmla="*/ 2504 h 4598"/>
                <a:gd name="connsiteX1" fmla="*/ 10523 w 11074"/>
                <a:gd name="connsiteY1" fmla="*/ 1101 h 4598"/>
                <a:gd name="connsiteX2" fmla="*/ 0 w 11074"/>
                <a:gd name="connsiteY2" fmla="*/ 3106 h 4598"/>
                <a:gd name="connsiteX3" fmla="*/ 10523 w 11074"/>
                <a:gd name="connsiteY3" fmla="*/ 3557 h 4598"/>
                <a:gd name="connsiteX4" fmla="*/ 11074 w 11074"/>
                <a:gd name="connsiteY4" fmla="*/ 2454 h 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74" h="4598">
                  <a:moveTo>
                    <a:pt x="11074" y="2504"/>
                  </a:moveTo>
                  <a:cubicBezTo>
                    <a:pt x="11074" y="2204"/>
                    <a:pt x="10773" y="1352"/>
                    <a:pt x="10523" y="1101"/>
                  </a:cubicBezTo>
                  <a:cubicBezTo>
                    <a:pt x="5462" y="-803"/>
                    <a:pt x="2305" y="-302"/>
                    <a:pt x="0" y="3106"/>
                  </a:cubicBezTo>
                  <a:cubicBezTo>
                    <a:pt x="2956" y="4960"/>
                    <a:pt x="6264" y="5060"/>
                    <a:pt x="10523" y="3557"/>
                  </a:cubicBezTo>
                  <a:cubicBezTo>
                    <a:pt x="10724" y="3306"/>
                    <a:pt x="11024" y="2705"/>
                    <a:pt x="11074" y="245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05" name="Полилиния: фигура 104">
              <a:extLst>
                <a:ext uri="{FF2B5EF4-FFF2-40B4-BE49-F238E27FC236}">
                  <a16:creationId xmlns:a16="http://schemas.microsoft.com/office/drawing/2014/main" id="{EBAB4668-40B8-4CBB-ABAF-8B1508560D69}"/>
                </a:ext>
              </a:extLst>
            </p:cNvPr>
            <p:cNvSpPr/>
            <p:nvPr/>
          </p:nvSpPr>
          <p:spPr>
            <a:xfrm>
              <a:off x="5091869" y="326498"/>
              <a:ext cx="6249" cy="6249"/>
            </a:xfrm>
            <a:custGeom>
              <a:avLst/>
              <a:gdLst>
                <a:gd name="connsiteX0" fmla="*/ 0 w 5011"/>
                <a:gd name="connsiteY0" fmla="*/ 0 h 5011"/>
                <a:gd name="connsiteX1" fmla="*/ 0 w 5011"/>
                <a:gd name="connsiteY1" fmla="*/ 0 h 5011"/>
                <a:gd name="connsiteX2" fmla="*/ 0 w 5011"/>
                <a:gd name="connsiteY2" fmla="*/ 0 h 5011"/>
                <a:gd name="connsiteX3" fmla="*/ 0 w 5011"/>
                <a:gd name="connsiteY3" fmla="*/ 0 h 5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11" h="501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06" name="Полилиния: фигура 105">
              <a:extLst>
                <a:ext uri="{FF2B5EF4-FFF2-40B4-BE49-F238E27FC236}">
                  <a16:creationId xmlns:a16="http://schemas.microsoft.com/office/drawing/2014/main" id="{1757C7B5-3B21-4536-B6E5-3108BC7B11B3}"/>
                </a:ext>
              </a:extLst>
            </p:cNvPr>
            <p:cNvSpPr/>
            <p:nvPr/>
          </p:nvSpPr>
          <p:spPr>
            <a:xfrm>
              <a:off x="5089566" y="326560"/>
              <a:ext cx="4865" cy="5874"/>
            </a:xfrm>
            <a:custGeom>
              <a:avLst/>
              <a:gdLst>
                <a:gd name="connsiteX0" fmla="*/ 1948 w 3901"/>
                <a:gd name="connsiteY0" fmla="*/ 0 h 4710"/>
                <a:gd name="connsiteX1" fmla="*/ 1547 w 3901"/>
                <a:gd name="connsiteY1" fmla="*/ 0 h 4710"/>
                <a:gd name="connsiteX2" fmla="*/ 645 w 3901"/>
                <a:gd name="connsiteY2" fmla="*/ 301 h 4710"/>
                <a:gd name="connsiteX3" fmla="*/ 43 w 3901"/>
                <a:gd name="connsiteY3" fmla="*/ 2856 h 4710"/>
                <a:gd name="connsiteX4" fmla="*/ 1146 w 3901"/>
                <a:gd name="connsiteY4" fmla="*/ 4710 h 4710"/>
                <a:gd name="connsiteX5" fmla="*/ 3902 w 3901"/>
                <a:gd name="connsiteY5" fmla="*/ 2556 h 4710"/>
                <a:gd name="connsiteX6" fmla="*/ 3501 w 3901"/>
                <a:gd name="connsiteY6" fmla="*/ 1954 h 4710"/>
                <a:gd name="connsiteX7" fmla="*/ 1997 w 3901"/>
                <a:gd name="connsiteY7" fmla="*/ 50 h 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1" h="4710">
                  <a:moveTo>
                    <a:pt x="1948" y="0"/>
                  </a:moveTo>
                  <a:cubicBezTo>
                    <a:pt x="1948" y="0"/>
                    <a:pt x="1647" y="0"/>
                    <a:pt x="1547" y="0"/>
                  </a:cubicBezTo>
                  <a:cubicBezTo>
                    <a:pt x="945" y="0"/>
                    <a:pt x="745" y="200"/>
                    <a:pt x="645" y="301"/>
                  </a:cubicBezTo>
                  <a:cubicBezTo>
                    <a:pt x="143" y="752"/>
                    <a:pt x="-107" y="1754"/>
                    <a:pt x="43" y="2856"/>
                  </a:cubicBezTo>
                  <a:cubicBezTo>
                    <a:pt x="43" y="3257"/>
                    <a:pt x="645" y="4009"/>
                    <a:pt x="1146" y="4710"/>
                  </a:cubicBezTo>
                  <a:lnTo>
                    <a:pt x="3902" y="2556"/>
                  </a:lnTo>
                  <a:cubicBezTo>
                    <a:pt x="3902" y="2556"/>
                    <a:pt x="3601" y="2155"/>
                    <a:pt x="3501" y="1954"/>
                  </a:cubicBezTo>
                  <a:cubicBezTo>
                    <a:pt x="3000" y="1253"/>
                    <a:pt x="2348" y="351"/>
                    <a:pt x="1997" y="5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07" name="Полилиния: фигура 106">
              <a:extLst>
                <a:ext uri="{FF2B5EF4-FFF2-40B4-BE49-F238E27FC236}">
                  <a16:creationId xmlns:a16="http://schemas.microsoft.com/office/drawing/2014/main" id="{886719CF-C396-42EC-879D-D94AE4EAC867}"/>
                </a:ext>
              </a:extLst>
            </p:cNvPr>
            <p:cNvSpPr/>
            <p:nvPr/>
          </p:nvSpPr>
          <p:spPr>
            <a:xfrm>
              <a:off x="5365840" y="494418"/>
              <a:ext cx="4374" cy="4436"/>
            </a:xfrm>
            <a:custGeom>
              <a:avLst/>
              <a:gdLst>
                <a:gd name="connsiteX0" fmla="*/ 0 w 3507"/>
                <a:gd name="connsiteY0" fmla="*/ 2455 h 3557"/>
                <a:gd name="connsiteX1" fmla="*/ 501 w 3507"/>
                <a:gd name="connsiteY1" fmla="*/ 2806 h 3557"/>
                <a:gd name="connsiteX2" fmla="*/ 1504 w 3507"/>
                <a:gd name="connsiteY2" fmla="*/ 3558 h 3557"/>
                <a:gd name="connsiteX3" fmla="*/ 3508 w 3507"/>
                <a:gd name="connsiteY3" fmla="*/ 752 h 3557"/>
                <a:gd name="connsiteX4" fmla="*/ 2706 w 3507"/>
                <a:gd name="connsiteY4" fmla="*/ 0 h 3557"/>
                <a:gd name="connsiteX5" fmla="*/ 50 w 3507"/>
                <a:gd name="connsiteY5" fmla="*/ 2455 h 3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7" h="3557">
                  <a:moveTo>
                    <a:pt x="0" y="2455"/>
                  </a:moveTo>
                  <a:cubicBezTo>
                    <a:pt x="0" y="2455"/>
                    <a:pt x="301" y="2706"/>
                    <a:pt x="501" y="2806"/>
                  </a:cubicBezTo>
                  <a:cubicBezTo>
                    <a:pt x="852" y="3057"/>
                    <a:pt x="1203" y="3357"/>
                    <a:pt x="1504" y="3558"/>
                  </a:cubicBezTo>
                  <a:cubicBezTo>
                    <a:pt x="2355" y="2656"/>
                    <a:pt x="3007" y="1704"/>
                    <a:pt x="3508" y="752"/>
                  </a:cubicBezTo>
                  <a:cubicBezTo>
                    <a:pt x="3257" y="501"/>
                    <a:pt x="2957" y="251"/>
                    <a:pt x="2706" y="0"/>
                  </a:cubicBezTo>
                  <a:cubicBezTo>
                    <a:pt x="1854" y="651"/>
                    <a:pt x="1002" y="1453"/>
                    <a:pt x="50" y="245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08" name="Полилиния: фигура 107">
              <a:extLst>
                <a:ext uri="{FF2B5EF4-FFF2-40B4-BE49-F238E27FC236}">
                  <a16:creationId xmlns:a16="http://schemas.microsoft.com/office/drawing/2014/main" id="{24FC938C-8E71-4D4B-A652-B1938C15EADE}"/>
                </a:ext>
              </a:extLst>
            </p:cNvPr>
            <p:cNvSpPr/>
            <p:nvPr/>
          </p:nvSpPr>
          <p:spPr>
            <a:xfrm>
              <a:off x="5400461" y="2049878"/>
              <a:ext cx="3937" cy="5124"/>
            </a:xfrm>
            <a:custGeom>
              <a:avLst/>
              <a:gdLst>
                <a:gd name="connsiteX0" fmla="*/ 1153 w 3157"/>
                <a:gd name="connsiteY0" fmla="*/ 4109 h 4109"/>
                <a:gd name="connsiteX1" fmla="*/ 2957 w 3157"/>
                <a:gd name="connsiteY1" fmla="*/ 1654 h 4109"/>
                <a:gd name="connsiteX2" fmla="*/ 3157 w 3157"/>
                <a:gd name="connsiteY2" fmla="*/ 1303 h 4109"/>
                <a:gd name="connsiteX3" fmla="*/ 3157 w 3157"/>
                <a:gd name="connsiteY3" fmla="*/ 1303 h 4109"/>
                <a:gd name="connsiteX4" fmla="*/ 1403 w 3157"/>
                <a:gd name="connsiteY4" fmla="*/ 0 h 4109"/>
                <a:gd name="connsiteX5" fmla="*/ 51 w 3157"/>
                <a:gd name="connsiteY5" fmla="*/ 1754 h 4109"/>
                <a:gd name="connsiteX6" fmla="*/ 451 w 3157"/>
                <a:gd name="connsiteY6" fmla="*/ 3508 h 4109"/>
                <a:gd name="connsiteX7" fmla="*/ 1153 w 3157"/>
                <a:gd name="connsiteY7" fmla="*/ 4109 h 4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57" h="4109">
                  <a:moveTo>
                    <a:pt x="1153" y="4109"/>
                  </a:moveTo>
                  <a:cubicBezTo>
                    <a:pt x="1704" y="3708"/>
                    <a:pt x="2305" y="2756"/>
                    <a:pt x="2957" y="1654"/>
                  </a:cubicBezTo>
                  <a:cubicBezTo>
                    <a:pt x="3007" y="1553"/>
                    <a:pt x="3107" y="1403"/>
                    <a:pt x="3157" y="1303"/>
                  </a:cubicBezTo>
                  <a:cubicBezTo>
                    <a:pt x="3157" y="1303"/>
                    <a:pt x="3157" y="1303"/>
                    <a:pt x="3157" y="1303"/>
                  </a:cubicBezTo>
                  <a:cubicBezTo>
                    <a:pt x="2606" y="852"/>
                    <a:pt x="1754" y="100"/>
                    <a:pt x="1403" y="0"/>
                  </a:cubicBezTo>
                  <a:cubicBezTo>
                    <a:pt x="1303" y="150"/>
                    <a:pt x="201" y="1253"/>
                    <a:pt x="51" y="1754"/>
                  </a:cubicBezTo>
                  <a:cubicBezTo>
                    <a:pt x="-150" y="2556"/>
                    <a:pt x="301" y="3257"/>
                    <a:pt x="451" y="3508"/>
                  </a:cubicBezTo>
                  <a:cubicBezTo>
                    <a:pt x="702" y="3858"/>
                    <a:pt x="1003" y="4059"/>
                    <a:pt x="1153" y="410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09" name="Полилиния: фигура 108">
              <a:extLst>
                <a:ext uri="{FF2B5EF4-FFF2-40B4-BE49-F238E27FC236}">
                  <a16:creationId xmlns:a16="http://schemas.microsoft.com/office/drawing/2014/main" id="{3E9E5160-00FA-42A0-975D-7CD4C7B4F205}"/>
                </a:ext>
              </a:extLst>
            </p:cNvPr>
            <p:cNvSpPr/>
            <p:nvPr/>
          </p:nvSpPr>
          <p:spPr>
            <a:xfrm>
              <a:off x="5656247" y="235882"/>
              <a:ext cx="4624" cy="5812"/>
            </a:xfrm>
            <a:custGeom>
              <a:avLst/>
              <a:gdLst>
                <a:gd name="connsiteX0" fmla="*/ 2806 w 3708"/>
                <a:gd name="connsiteY0" fmla="*/ 4460 h 4660"/>
                <a:gd name="connsiteX1" fmla="*/ 3708 w 3708"/>
                <a:gd name="connsiteY1" fmla="*/ 4209 h 4660"/>
                <a:gd name="connsiteX2" fmla="*/ 0 w 3708"/>
                <a:gd name="connsiteY2" fmla="*/ 0 h 4660"/>
                <a:gd name="connsiteX3" fmla="*/ 0 w 3708"/>
                <a:gd name="connsiteY3" fmla="*/ 0 h 4660"/>
                <a:gd name="connsiteX4" fmla="*/ 2105 w 3708"/>
                <a:gd name="connsiteY4" fmla="*/ 4660 h 4660"/>
                <a:gd name="connsiteX5" fmla="*/ 2756 w 3708"/>
                <a:gd name="connsiteY5" fmla="*/ 4460 h 4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08" h="4660">
                  <a:moveTo>
                    <a:pt x="2806" y="4460"/>
                  </a:moveTo>
                  <a:cubicBezTo>
                    <a:pt x="3157" y="4360"/>
                    <a:pt x="3458" y="4309"/>
                    <a:pt x="3708" y="4209"/>
                  </a:cubicBezTo>
                  <a:cubicBezTo>
                    <a:pt x="3708" y="2956"/>
                    <a:pt x="3257" y="1153"/>
                    <a:pt x="0" y="0"/>
                  </a:cubicBezTo>
                  <a:lnTo>
                    <a:pt x="0" y="0"/>
                  </a:lnTo>
                  <a:cubicBezTo>
                    <a:pt x="702" y="1553"/>
                    <a:pt x="1403" y="3107"/>
                    <a:pt x="2105" y="4660"/>
                  </a:cubicBezTo>
                  <a:cubicBezTo>
                    <a:pt x="2355" y="4610"/>
                    <a:pt x="2556" y="4510"/>
                    <a:pt x="2756" y="446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10" name="Полилиния: фигура 109">
              <a:extLst>
                <a:ext uri="{FF2B5EF4-FFF2-40B4-BE49-F238E27FC236}">
                  <a16:creationId xmlns:a16="http://schemas.microsoft.com/office/drawing/2014/main" id="{41EEC909-38EB-48D8-9137-15CCF89A053E}"/>
                </a:ext>
              </a:extLst>
            </p:cNvPr>
            <p:cNvSpPr/>
            <p:nvPr/>
          </p:nvSpPr>
          <p:spPr>
            <a:xfrm>
              <a:off x="676545" y="4336013"/>
              <a:ext cx="152961" cy="189730"/>
            </a:xfrm>
            <a:custGeom>
              <a:avLst/>
              <a:gdLst>
                <a:gd name="connsiteX0" fmla="*/ 19575 w 122651"/>
                <a:gd name="connsiteY0" fmla="*/ 152084 h 152134"/>
                <a:gd name="connsiteX1" fmla="*/ 36513 w 122651"/>
                <a:gd name="connsiteY1" fmla="*/ 134095 h 152134"/>
                <a:gd name="connsiteX2" fmla="*/ 38216 w 122651"/>
                <a:gd name="connsiteY2" fmla="*/ 131339 h 152134"/>
                <a:gd name="connsiteX3" fmla="*/ 46434 w 122651"/>
                <a:gd name="connsiteY3" fmla="*/ 122369 h 152134"/>
                <a:gd name="connsiteX4" fmla="*/ 63121 w 122651"/>
                <a:gd name="connsiteY4" fmla="*/ 106634 h 152134"/>
                <a:gd name="connsiteX5" fmla="*/ 66478 w 122651"/>
                <a:gd name="connsiteY5" fmla="*/ 101974 h 152134"/>
                <a:gd name="connsiteX6" fmla="*/ 100954 w 122651"/>
                <a:gd name="connsiteY6" fmla="*/ 85588 h 152134"/>
                <a:gd name="connsiteX7" fmla="*/ 104011 w 122651"/>
                <a:gd name="connsiteY7" fmla="*/ 85388 h 152134"/>
                <a:gd name="connsiteX8" fmla="*/ 102357 w 122651"/>
                <a:gd name="connsiteY8" fmla="*/ 110844 h 152134"/>
                <a:gd name="connsiteX9" fmla="*/ 122652 w 122651"/>
                <a:gd name="connsiteY9" fmla="*/ 85137 h 152134"/>
                <a:gd name="connsiteX10" fmla="*/ 122051 w 122651"/>
                <a:gd name="connsiteY10" fmla="*/ 81780 h 152134"/>
                <a:gd name="connsiteX11" fmla="*/ 120698 w 122651"/>
                <a:gd name="connsiteY11" fmla="*/ 73562 h 152134"/>
                <a:gd name="connsiteX12" fmla="*/ 99651 w 122651"/>
                <a:gd name="connsiteY12" fmla="*/ 30116 h 152134"/>
                <a:gd name="connsiteX13" fmla="*/ 85470 w 122651"/>
                <a:gd name="connsiteY13" fmla="*/ 1704 h 152134"/>
                <a:gd name="connsiteX14" fmla="*/ 84318 w 122651"/>
                <a:gd name="connsiteY14" fmla="*/ 902 h 152134"/>
                <a:gd name="connsiteX15" fmla="*/ 83215 w 122651"/>
                <a:gd name="connsiteY15" fmla="*/ 0 h 152134"/>
                <a:gd name="connsiteX16" fmla="*/ 74646 w 122651"/>
                <a:gd name="connsiteY16" fmla="*/ 3408 h 152134"/>
                <a:gd name="connsiteX17" fmla="*/ 76801 w 122651"/>
                <a:gd name="connsiteY17" fmla="*/ 17238 h 152134"/>
                <a:gd name="connsiteX18" fmla="*/ 73995 w 122651"/>
                <a:gd name="connsiteY18" fmla="*/ 65644 h 152134"/>
                <a:gd name="connsiteX19" fmla="*/ 73494 w 122651"/>
                <a:gd name="connsiteY19" fmla="*/ 66546 h 152134"/>
                <a:gd name="connsiteX20" fmla="*/ 72542 w 122651"/>
                <a:gd name="connsiteY20" fmla="*/ 66897 h 152134"/>
                <a:gd name="connsiteX21" fmla="*/ 71089 w 122651"/>
                <a:gd name="connsiteY21" fmla="*/ 67498 h 152134"/>
                <a:gd name="connsiteX22" fmla="*/ 67130 w 122651"/>
                <a:gd name="connsiteY22" fmla="*/ 68701 h 152134"/>
                <a:gd name="connsiteX23" fmla="*/ 46284 w 122651"/>
                <a:gd name="connsiteY23" fmla="*/ 77571 h 152134"/>
                <a:gd name="connsiteX24" fmla="*/ 44480 w 122651"/>
                <a:gd name="connsiteY24" fmla="*/ 80076 h 152134"/>
                <a:gd name="connsiteX25" fmla="*/ 37415 w 122651"/>
                <a:gd name="connsiteY25" fmla="*/ 104881 h 152134"/>
                <a:gd name="connsiteX26" fmla="*/ 32955 w 122651"/>
                <a:gd name="connsiteY26" fmla="*/ 117809 h 152134"/>
                <a:gd name="connsiteX27" fmla="*/ 4442 w 122651"/>
                <a:gd name="connsiteY27" fmla="*/ 121918 h 152134"/>
                <a:gd name="connsiteX28" fmla="*/ 183 w 122651"/>
                <a:gd name="connsiteY28" fmla="*/ 119412 h 152134"/>
                <a:gd name="connsiteX29" fmla="*/ 6948 w 122651"/>
                <a:gd name="connsiteY29" fmla="*/ 142012 h 152134"/>
                <a:gd name="connsiteX30" fmla="*/ 18774 w 122651"/>
                <a:gd name="connsiteY30" fmla="*/ 151633 h 152134"/>
                <a:gd name="connsiteX31" fmla="*/ 19575 w 122651"/>
                <a:gd name="connsiteY31" fmla="*/ 152135 h 152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22651" h="152134">
                  <a:moveTo>
                    <a:pt x="19575" y="152084"/>
                  </a:moveTo>
                  <a:cubicBezTo>
                    <a:pt x="26891" y="147925"/>
                    <a:pt x="31953" y="140960"/>
                    <a:pt x="36513" y="134095"/>
                  </a:cubicBezTo>
                  <a:cubicBezTo>
                    <a:pt x="37064" y="133243"/>
                    <a:pt x="37665" y="132291"/>
                    <a:pt x="38216" y="131339"/>
                  </a:cubicBezTo>
                  <a:cubicBezTo>
                    <a:pt x="40321" y="127831"/>
                    <a:pt x="42726" y="123822"/>
                    <a:pt x="46434" y="122369"/>
                  </a:cubicBezTo>
                  <a:cubicBezTo>
                    <a:pt x="54252" y="119312"/>
                    <a:pt x="58561" y="113149"/>
                    <a:pt x="63121" y="106634"/>
                  </a:cubicBezTo>
                  <a:cubicBezTo>
                    <a:pt x="64224" y="105081"/>
                    <a:pt x="65326" y="103477"/>
                    <a:pt x="66478" y="101974"/>
                  </a:cubicBezTo>
                  <a:cubicBezTo>
                    <a:pt x="75097" y="90499"/>
                    <a:pt x="83115" y="86641"/>
                    <a:pt x="100954" y="85588"/>
                  </a:cubicBezTo>
                  <a:lnTo>
                    <a:pt x="104011" y="85388"/>
                  </a:lnTo>
                  <a:lnTo>
                    <a:pt x="102357" y="110844"/>
                  </a:lnTo>
                  <a:cubicBezTo>
                    <a:pt x="109423" y="103477"/>
                    <a:pt x="115987" y="95159"/>
                    <a:pt x="122652" y="85137"/>
                  </a:cubicBezTo>
                  <a:cubicBezTo>
                    <a:pt x="122451" y="83985"/>
                    <a:pt x="122251" y="82882"/>
                    <a:pt x="122051" y="81780"/>
                  </a:cubicBezTo>
                  <a:cubicBezTo>
                    <a:pt x="121499" y="78874"/>
                    <a:pt x="120998" y="76218"/>
                    <a:pt x="120698" y="73562"/>
                  </a:cubicBezTo>
                  <a:cubicBezTo>
                    <a:pt x="118593" y="53819"/>
                    <a:pt x="111928" y="39988"/>
                    <a:pt x="99651" y="30116"/>
                  </a:cubicBezTo>
                  <a:cubicBezTo>
                    <a:pt x="90682" y="22850"/>
                    <a:pt x="87825" y="12528"/>
                    <a:pt x="85470" y="1704"/>
                  </a:cubicBezTo>
                  <a:cubicBezTo>
                    <a:pt x="85470" y="1804"/>
                    <a:pt x="84819" y="1303"/>
                    <a:pt x="84318" y="902"/>
                  </a:cubicBezTo>
                  <a:cubicBezTo>
                    <a:pt x="83967" y="602"/>
                    <a:pt x="83616" y="301"/>
                    <a:pt x="83215" y="0"/>
                  </a:cubicBezTo>
                  <a:lnTo>
                    <a:pt x="74646" y="3408"/>
                  </a:lnTo>
                  <a:cubicBezTo>
                    <a:pt x="75198" y="8018"/>
                    <a:pt x="75999" y="12678"/>
                    <a:pt x="76801" y="17238"/>
                  </a:cubicBezTo>
                  <a:cubicBezTo>
                    <a:pt x="79607" y="33173"/>
                    <a:pt x="82464" y="49609"/>
                    <a:pt x="73995" y="65644"/>
                  </a:cubicBezTo>
                  <a:lnTo>
                    <a:pt x="73494" y="66546"/>
                  </a:lnTo>
                  <a:lnTo>
                    <a:pt x="72542" y="66897"/>
                  </a:lnTo>
                  <a:cubicBezTo>
                    <a:pt x="72041" y="67098"/>
                    <a:pt x="71540" y="67298"/>
                    <a:pt x="71089" y="67498"/>
                  </a:cubicBezTo>
                  <a:cubicBezTo>
                    <a:pt x="69886" y="67999"/>
                    <a:pt x="68633" y="68551"/>
                    <a:pt x="67130" y="68701"/>
                  </a:cubicBezTo>
                  <a:cubicBezTo>
                    <a:pt x="58761" y="69603"/>
                    <a:pt x="51496" y="70355"/>
                    <a:pt x="46284" y="77571"/>
                  </a:cubicBezTo>
                  <a:lnTo>
                    <a:pt x="44480" y="80076"/>
                  </a:lnTo>
                  <a:cubicBezTo>
                    <a:pt x="38717" y="87943"/>
                    <a:pt x="33757" y="94708"/>
                    <a:pt x="37415" y="104881"/>
                  </a:cubicBezTo>
                  <a:cubicBezTo>
                    <a:pt x="38968" y="109090"/>
                    <a:pt x="35310" y="115003"/>
                    <a:pt x="32955" y="117809"/>
                  </a:cubicBezTo>
                  <a:cubicBezTo>
                    <a:pt x="25538" y="126528"/>
                    <a:pt x="16469" y="127831"/>
                    <a:pt x="4442" y="121918"/>
                  </a:cubicBezTo>
                  <a:cubicBezTo>
                    <a:pt x="2989" y="121216"/>
                    <a:pt x="1586" y="120365"/>
                    <a:pt x="183" y="119412"/>
                  </a:cubicBezTo>
                  <a:cubicBezTo>
                    <a:pt x="-669" y="128833"/>
                    <a:pt x="1436" y="135748"/>
                    <a:pt x="6948" y="142012"/>
                  </a:cubicBezTo>
                  <a:lnTo>
                    <a:pt x="18774" y="151633"/>
                  </a:lnTo>
                  <a:cubicBezTo>
                    <a:pt x="18774" y="151633"/>
                    <a:pt x="19275" y="151934"/>
                    <a:pt x="19575" y="15213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11" name="Полилиния: фигура 110">
              <a:extLst>
                <a:ext uri="{FF2B5EF4-FFF2-40B4-BE49-F238E27FC236}">
                  <a16:creationId xmlns:a16="http://schemas.microsoft.com/office/drawing/2014/main" id="{1C1DFEC1-0B7A-4244-A2B0-45495B336508}"/>
                </a:ext>
              </a:extLst>
            </p:cNvPr>
            <p:cNvSpPr/>
            <p:nvPr/>
          </p:nvSpPr>
          <p:spPr>
            <a:xfrm>
              <a:off x="694708" y="4307392"/>
              <a:ext cx="45495" cy="44244"/>
            </a:xfrm>
            <a:custGeom>
              <a:avLst/>
              <a:gdLst>
                <a:gd name="connsiteX0" fmla="*/ 28964 w 36480"/>
                <a:gd name="connsiteY0" fmla="*/ 35478 h 35477"/>
                <a:gd name="connsiteX1" fmla="*/ 36480 w 36480"/>
                <a:gd name="connsiteY1" fmla="*/ 21798 h 35477"/>
                <a:gd name="connsiteX2" fmla="*/ 6514 w 36480"/>
                <a:gd name="connsiteY2" fmla="*/ 6163 h 35477"/>
                <a:gd name="connsiteX3" fmla="*/ 0 w 36480"/>
                <a:gd name="connsiteY3" fmla="*/ 0 h 35477"/>
                <a:gd name="connsiteX4" fmla="*/ 1253 w 36480"/>
                <a:gd name="connsiteY4" fmla="*/ 3758 h 35477"/>
                <a:gd name="connsiteX5" fmla="*/ 29014 w 36480"/>
                <a:gd name="connsiteY5" fmla="*/ 35478 h 35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480" h="35477">
                  <a:moveTo>
                    <a:pt x="28964" y="35478"/>
                  </a:moveTo>
                  <a:lnTo>
                    <a:pt x="36480" y="21798"/>
                  </a:lnTo>
                  <a:cubicBezTo>
                    <a:pt x="22399" y="21697"/>
                    <a:pt x="14331" y="13830"/>
                    <a:pt x="6514" y="6163"/>
                  </a:cubicBezTo>
                  <a:cubicBezTo>
                    <a:pt x="4410" y="4109"/>
                    <a:pt x="2255" y="2004"/>
                    <a:pt x="0" y="0"/>
                  </a:cubicBezTo>
                  <a:cubicBezTo>
                    <a:pt x="401" y="1804"/>
                    <a:pt x="702" y="3057"/>
                    <a:pt x="1253" y="3758"/>
                  </a:cubicBezTo>
                  <a:cubicBezTo>
                    <a:pt x="9471" y="14783"/>
                    <a:pt x="17789" y="25506"/>
                    <a:pt x="29014" y="3547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12" name="Полилиния: фигура 111">
              <a:extLst>
                <a:ext uri="{FF2B5EF4-FFF2-40B4-BE49-F238E27FC236}">
                  <a16:creationId xmlns:a16="http://schemas.microsoft.com/office/drawing/2014/main" id="{B0D23D8D-4586-4B4C-B951-943B7AAB733B}"/>
                </a:ext>
              </a:extLst>
            </p:cNvPr>
            <p:cNvSpPr/>
            <p:nvPr/>
          </p:nvSpPr>
          <p:spPr>
            <a:xfrm>
              <a:off x="7078909" y="1788821"/>
              <a:ext cx="3313365" cy="3187596"/>
            </a:xfrm>
            <a:custGeom>
              <a:avLst/>
              <a:gdLst>
                <a:gd name="connsiteX0" fmla="*/ 1698382 w 2656808"/>
                <a:gd name="connsiteY0" fmla="*/ 140427 h 2555961"/>
                <a:gd name="connsiteX1" fmla="*/ 1678638 w 2656808"/>
                <a:gd name="connsiteY1" fmla="*/ 153355 h 2555961"/>
                <a:gd name="connsiteX2" fmla="*/ 1669719 w 2656808"/>
                <a:gd name="connsiteY2" fmla="*/ 161122 h 2555961"/>
                <a:gd name="connsiteX3" fmla="*/ 1651379 w 2656808"/>
                <a:gd name="connsiteY3" fmla="*/ 174001 h 2555961"/>
                <a:gd name="connsiteX4" fmla="*/ 1649123 w 2656808"/>
                <a:gd name="connsiteY4" fmla="*/ 174702 h 2555961"/>
                <a:gd name="connsiteX5" fmla="*/ 1637197 w 2656808"/>
                <a:gd name="connsiteY5" fmla="*/ 148896 h 2555961"/>
                <a:gd name="connsiteX6" fmla="*/ 1638350 w 2656808"/>
                <a:gd name="connsiteY6" fmla="*/ 147593 h 2555961"/>
                <a:gd name="connsiteX7" fmla="*/ 1644313 w 2656808"/>
                <a:gd name="connsiteY7" fmla="*/ 140678 h 2555961"/>
                <a:gd name="connsiteX8" fmla="*/ 1681745 w 2656808"/>
                <a:gd name="connsiteY8" fmla="*/ 112315 h 2555961"/>
                <a:gd name="connsiteX9" fmla="*/ 1689963 w 2656808"/>
                <a:gd name="connsiteY9" fmla="*/ 105400 h 2555961"/>
                <a:gd name="connsiteX10" fmla="*/ 1689462 w 2656808"/>
                <a:gd name="connsiteY10" fmla="*/ 105300 h 2555961"/>
                <a:gd name="connsiteX11" fmla="*/ 1684101 w 2656808"/>
                <a:gd name="connsiteY11" fmla="*/ 104849 h 2555961"/>
                <a:gd name="connsiteX12" fmla="*/ 1681645 w 2656808"/>
                <a:gd name="connsiteY12" fmla="*/ 105049 h 2555961"/>
                <a:gd name="connsiteX13" fmla="*/ 1604275 w 2656808"/>
                <a:gd name="connsiteY13" fmla="*/ 120634 h 2555961"/>
                <a:gd name="connsiteX14" fmla="*/ 1583179 w 2656808"/>
                <a:gd name="connsiteY14" fmla="*/ 128601 h 2555961"/>
                <a:gd name="connsiteX15" fmla="*/ 1566542 w 2656808"/>
                <a:gd name="connsiteY15" fmla="*/ 134664 h 2555961"/>
                <a:gd name="connsiteX16" fmla="*/ 1500948 w 2656808"/>
                <a:gd name="connsiteY16" fmla="*/ 146991 h 2555961"/>
                <a:gd name="connsiteX17" fmla="*/ 1485364 w 2656808"/>
                <a:gd name="connsiteY17" fmla="*/ 148394 h 2555961"/>
                <a:gd name="connsiteX18" fmla="*/ 1481706 w 2656808"/>
                <a:gd name="connsiteY18" fmla="*/ 151050 h 2555961"/>
                <a:gd name="connsiteX19" fmla="*/ 1480754 w 2656808"/>
                <a:gd name="connsiteY19" fmla="*/ 151902 h 2555961"/>
                <a:gd name="connsiteX20" fmla="*/ 1499846 w 2656808"/>
                <a:gd name="connsiteY20" fmla="*/ 166785 h 2555961"/>
                <a:gd name="connsiteX21" fmla="*/ 1498994 w 2656808"/>
                <a:gd name="connsiteY21" fmla="*/ 171696 h 2555961"/>
                <a:gd name="connsiteX22" fmla="*/ 1498092 w 2656808"/>
                <a:gd name="connsiteY22" fmla="*/ 176707 h 2555961"/>
                <a:gd name="connsiteX23" fmla="*/ 1470030 w 2656808"/>
                <a:gd name="connsiteY23" fmla="*/ 208477 h 2555961"/>
                <a:gd name="connsiteX24" fmla="*/ 1457803 w 2656808"/>
                <a:gd name="connsiteY24" fmla="*/ 221104 h 2555961"/>
                <a:gd name="connsiteX25" fmla="*/ 1453694 w 2656808"/>
                <a:gd name="connsiteY25" fmla="*/ 231677 h 2555961"/>
                <a:gd name="connsiteX26" fmla="*/ 1448533 w 2656808"/>
                <a:gd name="connsiteY26" fmla="*/ 245307 h 2555961"/>
                <a:gd name="connsiteX27" fmla="*/ 1448383 w 2656808"/>
                <a:gd name="connsiteY27" fmla="*/ 250218 h 2555961"/>
                <a:gd name="connsiteX28" fmla="*/ 1448433 w 2656808"/>
                <a:gd name="connsiteY28" fmla="*/ 251321 h 2555961"/>
                <a:gd name="connsiteX29" fmla="*/ 1468777 w 2656808"/>
                <a:gd name="connsiteY29" fmla="*/ 247111 h 2555961"/>
                <a:gd name="connsiteX30" fmla="*/ 1469529 w 2656808"/>
                <a:gd name="connsiteY30" fmla="*/ 249316 h 2555961"/>
                <a:gd name="connsiteX31" fmla="*/ 1472185 w 2656808"/>
                <a:gd name="connsiteY31" fmla="*/ 257985 h 2555961"/>
                <a:gd name="connsiteX32" fmla="*/ 1478198 w 2656808"/>
                <a:gd name="connsiteY32" fmla="*/ 273319 h 2555961"/>
                <a:gd name="connsiteX33" fmla="*/ 1493031 w 2656808"/>
                <a:gd name="connsiteY33" fmla="*/ 312505 h 2555961"/>
                <a:gd name="connsiteX34" fmla="*/ 1497039 w 2656808"/>
                <a:gd name="connsiteY34" fmla="*/ 315512 h 2555961"/>
                <a:gd name="connsiteX35" fmla="*/ 1507312 w 2656808"/>
                <a:gd name="connsiteY35" fmla="*/ 324732 h 2555961"/>
                <a:gd name="connsiteX36" fmla="*/ 1507412 w 2656808"/>
                <a:gd name="connsiteY36" fmla="*/ 347983 h 2555961"/>
                <a:gd name="connsiteX37" fmla="*/ 1507011 w 2656808"/>
                <a:gd name="connsiteY37" fmla="*/ 348785 h 2555961"/>
                <a:gd name="connsiteX38" fmla="*/ 1493081 w 2656808"/>
                <a:gd name="connsiteY38" fmla="*/ 355199 h 2555961"/>
                <a:gd name="connsiteX39" fmla="*/ 1492680 w 2656808"/>
                <a:gd name="connsiteY39" fmla="*/ 356953 h 2555961"/>
                <a:gd name="connsiteX40" fmla="*/ 1491728 w 2656808"/>
                <a:gd name="connsiteY40" fmla="*/ 361362 h 2555961"/>
                <a:gd name="connsiteX41" fmla="*/ 1483009 w 2656808"/>
                <a:gd name="connsiteY41" fmla="*/ 369581 h 2555961"/>
                <a:gd name="connsiteX42" fmla="*/ 1482107 w 2656808"/>
                <a:gd name="connsiteY42" fmla="*/ 369581 h 2555961"/>
                <a:gd name="connsiteX43" fmla="*/ 1481405 w 2656808"/>
                <a:gd name="connsiteY43" fmla="*/ 368979 h 2555961"/>
                <a:gd name="connsiteX44" fmla="*/ 1462513 w 2656808"/>
                <a:gd name="connsiteY44" fmla="*/ 354147 h 2555961"/>
                <a:gd name="connsiteX45" fmla="*/ 1437058 w 2656808"/>
                <a:gd name="connsiteY45" fmla="*/ 364620 h 2555961"/>
                <a:gd name="connsiteX46" fmla="*/ 1435454 w 2656808"/>
                <a:gd name="connsiteY46" fmla="*/ 386417 h 2555961"/>
                <a:gd name="connsiteX47" fmla="*/ 1432397 w 2656808"/>
                <a:gd name="connsiteY47" fmla="*/ 414479 h 2555961"/>
                <a:gd name="connsiteX48" fmla="*/ 1431546 w 2656808"/>
                <a:gd name="connsiteY48" fmla="*/ 416884 h 2555961"/>
                <a:gd name="connsiteX49" fmla="*/ 1429090 w 2656808"/>
                <a:gd name="connsiteY49" fmla="*/ 416183 h 2555961"/>
                <a:gd name="connsiteX50" fmla="*/ 1424279 w 2656808"/>
                <a:gd name="connsiteY50" fmla="*/ 414980 h 2555961"/>
                <a:gd name="connsiteX51" fmla="*/ 1414709 w 2656808"/>
                <a:gd name="connsiteY51" fmla="*/ 411673 h 2555961"/>
                <a:gd name="connsiteX52" fmla="*/ 1357934 w 2656808"/>
                <a:gd name="connsiteY52" fmla="*/ 394585 h 2555961"/>
                <a:gd name="connsiteX53" fmla="*/ 1348012 w 2656808"/>
                <a:gd name="connsiteY53" fmla="*/ 392982 h 2555961"/>
                <a:gd name="connsiteX54" fmla="*/ 1316894 w 2656808"/>
                <a:gd name="connsiteY54" fmla="*/ 406011 h 2555961"/>
                <a:gd name="connsiteX55" fmla="*/ 1278910 w 2656808"/>
                <a:gd name="connsiteY55" fmla="*/ 443292 h 2555961"/>
                <a:gd name="connsiteX56" fmla="*/ 1271694 w 2656808"/>
                <a:gd name="connsiteY56" fmla="*/ 448654 h 2555961"/>
                <a:gd name="connsiteX57" fmla="*/ 1249495 w 2656808"/>
                <a:gd name="connsiteY57" fmla="*/ 453264 h 2555961"/>
                <a:gd name="connsiteX58" fmla="*/ 1200788 w 2656808"/>
                <a:gd name="connsiteY58" fmla="*/ 433120 h 2555961"/>
                <a:gd name="connsiteX59" fmla="*/ 1191669 w 2656808"/>
                <a:gd name="connsiteY59" fmla="*/ 427207 h 2555961"/>
                <a:gd name="connsiteX60" fmla="*/ 1189013 w 2656808"/>
                <a:gd name="connsiteY60" fmla="*/ 425654 h 2555961"/>
                <a:gd name="connsiteX61" fmla="*/ 1188161 w 2656808"/>
                <a:gd name="connsiteY61" fmla="*/ 428560 h 2555961"/>
                <a:gd name="connsiteX62" fmla="*/ 1185755 w 2656808"/>
                <a:gd name="connsiteY62" fmla="*/ 438833 h 2555961"/>
                <a:gd name="connsiteX63" fmla="*/ 1180945 w 2656808"/>
                <a:gd name="connsiteY63" fmla="*/ 489143 h 2555961"/>
                <a:gd name="connsiteX64" fmla="*/ 1178239 w 2656808"/>
                <a:gd name="connsiteY64" fmla="*/ 518758 h 2555961"/>
                <a:gd name="connsiteX65" fmla="*/ 1174681 w 2656808"/>
                <a:gd name="connsiteY65" fmla="*/ 558846 h 2555961"/>
                <a:gd name="connsiteX66" fmla="*/ 1160650 w 2656808"/>
                <a:gd name="connsiteY66" fmla="*/ 583701 h 2555961"/>
                <a:gd name="connsiteX67" fmla="*/ 1159949 w 2656808"/>
                <a:gd name="connsiteY67" fmla="*/ 583901 h 2555961"/>
                <a:gd name="connsiteX68" fmla="*/ 1159248 w 2656808"/>
                <a:gd name="connsiteY68" fmla="*/ 583701 h 2555961"/>
                <a:gd name="connsiteX69" fmla="*/ 1149275 w 2656808"/>
                <a:gd name="connsiteY69" fmla="*/ 580795 h 2555961"/>
                <a:gd name="connsiteX70" fmla="*/ 1134493 w 2656808"/>
                <a:gd name="connsiteY70" fmla="*/ 577688 h 2555961"/>
                <a:gd name="connsiteX71" fmla="*/ 1102673 w 2656808"/>
                <a:gd name="connsiteY71" fmla="*/ 560650 h 2555961"/>
                <a:gd name="connsiteX72" fmla="*/ 1101320 w 2656808"/>
                <a:gd name="connsiteY72" fmla="*/ 560049 h 2555961"/>
                <a:gd name="connsiteX73" fmla="*/ 1100117 w 2656808"/>
                <a:gd name="connsiteY73" fmla="*/ 559498 h 2555961"/>
                <a:gd name="connsiteX74" fmla="*/ 1078871 w 2656808"/>
                <a:gd name="connsiteY74" fmla="*/ 556642 h 2555961"/>
                <a:gd name="connsiteX75" fmla="*/ 1077668 w 2656808"/>
                <a:gd name="connsiteY75" fmla="*/ 556491 h 2555961"/>
                <a:gd name="connsiteX76" fmla="*/ 1077017 w 2656808"/>
                <a:gd name="connsiteY76" fmla="*/ 555489 h 2555961"/>
                <a:gd name="connsiteX77" fmla="*/ 1050759 w 2656808"/>
                <a:gd name="connsiteY77" fmla="*/ 516303 h 2555961"/>
                <a:gd name="connsiteX78" fmla="*/ 1033421 w 2656808"/>
                <a:gd name="connsiteY78" fmla="*/ 500268 h 2555961"/>
                <a:gd name="connsiteX79" fmla="*/ 1024351 w 2656808"/>
                <a:gd name="connsiteY79" fmla="*/ 492501 h 2555961"/>
                <a:gd name="connsiteX80" fmla="*/ 1020743 w 2656808"/>
                <a:gd name="connsiteY80" fmla="*/ 488392 h 2555961"/>
                <a:gd name="connsiteX81" fmla="*/ 1018989 w 2656808"/>
                <a:gd name="connsiteY81" fmla="*/ 486638 h 2555961"/>
                <a:gd name="connsiteX82" fmla="*/ 1020593 w 2656808"/>
                <a:gd name="connsiteY82" fmla="*/ 484733 h 2555961"/>
                <a:gd name="connsiteX83" fmla="*/ 1024852 w 2656808"/>
                <a:gd name="connsiteY83" fmla="*/ 479722 h 2555961"/>
                <a:gd name="connsiteX84" fmla="*/ 1033370 w 2656808"/>
                <a:gd name="connsiteY84" fmla="*/ 469300 h 2555961"/>
                <a:gd name="connsiteX85" fmla="*/ 1034924 w 2656808"/>
                <a:gd name="connsiteY85" fmla="*/ 464790 h 2555961"/>
                <a:gd name="connsiteX86" fmla="*/ 1033070 w 2656808"/>
                <a:gd name="connsiteY86" fmla="*/ 462384 h 2555961"/>
                <a:gd name="connsiteX87" fmla="*/ 1016032 w 2656808"/>
                <a:gd name="connsiteY87" fmla="*/ 473809 h 2555961"/>
                <a:gd name="connsiteX88" fmla="*/ 1014479 w 2656808"/>
                <a:gd name="connsiteY88" fmla="*/ 472657 h 2555961"/>
                <a:gd name="connsiteX89" fmla="*/ 989023 w 2656808"/>
                <a:gd name="connsiteY89" fmla="*/ 444946 h 2555961"/>
                <a:gd name="connsiteX90" fmla="*/ 970282 w 2656808"/>
                <a:gd name="connsiteY90" fmla="*/ 426706 h 2555961"/>
                <a:gd name="connsiteX91" fmla="*/ 929392 w 2656808"/>
                <a:gd name="connsiteY91" fmla="*/ 402854 h 2555961"/>
                <a:gd name="connsiteX92" fmla="*/ 924481 w 2656808"/>
                <a:gd name="connsiteY92" fmla="*/ 398093 h 2555961"/>
                <a:gd name="connsiteX93" fmla="*/ 921374 w 2656808"/>
                <a:gd name="connsiteY93" fmla="*/ 394585 h 2555961"/>
                <a:gd name="connsiteX94" fmla="*/ 918468 w 2656808"/>
                <a:gd name="connsiteY94" fmla="*/ 391479 h 2555961"/>
                <a:gd name="connsiteX95" fmla="*/ 922527 w 2656808"/>
                <a:gd name="connsiteY95" fmla="*/ 390176 h 2555961"/>
                <a:gd name="connsiteX96" fmla="*/ 963968 w 2656808"/>
                <a:gd name="connsiteY96" fmla="*/ 396039 h 2555961"/>
                <a:gd name="connsiteX97" fmla="*/ 975544 w 2656808"/>
                <a:gd name="connsiteY97" fmla="*/ 407514 h 2555961"/>
                <a:gd name="connsiteX98" fmla="*/ 985816 w 2656808"/>
                <a:gd name="connsiteY98" fmla="*/ 417686 h 2555961"/>
                <a:gd name="connsiteX99" fmla="*/ 1001150 w 2656808"/>
                <a:gd name="connsiteY99" fmla="*/ 423699 h 2555961"/>
                <a:gd name="connsiteX100" fmla="*/ 1026606 w 2656808"/>
                <a:gd name="connsiteY100" fmla="*/ 408666 h 2555961"/>
                <a:gd name="connsiteX101" fmla="*/ 1011573 w 2656808"/>
                <a:gd name="connsiteY101" fmla="*/ 378049 h 2555961"/>
                <a:gd name="connsiteX102" fmla="*/ 1000849 w 2656808"/>
                <a:gd name="connsiteY102" fmla="*/ 350388 h 2555961"/>
                <a:gd name="connsiteX103" fmla="*/ 992481 w 2656808"/>
                <a:gd name="connsiteY103" fmla="*/ 309047 h 2555961"/>
                <a:gd name="connsiteX104" fmla="*/ 990476 w 2656808"/>
                <a:gd name="connsiteY104" fmla="*/ 303936 h 2555961"/>
                <a:gd name="connsiteX105" fmla="*/ 970182 w 2656808"/>
                <a:gd name="connsiteY105" fmla="*/ 287801 h 2555961"/>
                <a:gd name="connsiteX106" fmla="*/ 945528 w 2656808"/>
                <a:gd name="connsiteY106" fmla="*/ 276426 h 2555961"/>
                <a:gd name="connsiteX107" fmla="*/ 944425 w 2656808"/>
                <a:gd name="connsiteY107" fmla="*/ 275474 h 2555961"/>
                <a:gd name="connsiteX108" fmla="*/ 914660 w 2656808"/>
                <a:gd name="connsiteY108" fmla="*/ 250769 h 2555961"/>
                <a:gd name="connsiteX109" fmla="*/ 905740 w 2656808"/>
                <a:gd name="connsiteY109" fmla="*/ 244856 h 2555961"/>
                <a:gd name="connsiteX110" fmla="*/ 902734 w 2656808"/>
                <a:gd name="connsiteY110" fmla="*/ 243002 h 2555961"/>
                <a:gd name="connsiteX111" fmla="*/ 899126 w 2656808"/>
                <a:gd name="connsiteY111" fmla="*/ 244456 h 2555961"/>
                <a:gd name="connsiteX112" fmla="*/ 890607 w 2656808"/>
                <a:gd name="connsiteY112" fmla="*/ 248414 h 2555961"/>
                <a:gd name="connsiteX113" fmla="*/ 841650 w 2656808"/>
                <a:gd name="connsiteY113" fmla="*/ 259739 h 2555961"/>
                <a:gd name="connsiteX114" fmla="*/ 800358 w 2656808"/>
                <a:gd name="connsiteY114" fmla="*/ 247111 h 2555961"/>
                <a:gd name="connsiteX115" fmla="*/ 763528 w 2656808"/>
                <a:gd name="connsiteY115" fmla="*/ 234834 h 2555961"/>
                <a:gd name="connsiteX116" fmla="*/ 744085 w 2656808"/>
                <a:gd name="connsiteY116" fmla="*/ 265301 h 2555961"/>
                <a:gd name="connsiteX117" fmla="*/ 739826 w 2656808"/>
                <a:gd name="connsiteY117" fmla="*/ 275624 h 2555961"/>
                <a:gd name="connsiteX118" fmla="*/ 737771 w 2656808"/>
                <a:gd name="connsiteY118" fmla="*/ 305790 h 2555961"/>
                <a:gd name="connsiteX119" fmla="*/ 743083 w 2656808"/>
                <a:gd name="connsiteY119" fmla="*/ 355900 h 2555961"/>
                <a:gd name="connsiteX120" fmla="*/ 740878 w 2656808"/>
                <a:gd name="connsiteY120" fmla="*/ 363868 h 2555961"/>
                <a:gd name="connsiteX121" fmla="*/ 739725 w 2656808"/>
                <a:gd name="connsiteY121" fmla="*/ 367075 h 2555961"/>
                <a:gd name="connsiteX122" fmla="*/ 739024 w 2656808"/>
                <a:gd name="connsiteY122" fmla="*/ 369230 h 2555961"/>
                <a:gd name="connsiteX123" fmla="*/ 736769 w 2656808"/>
                <a:gd name="connsiteY123" fmla="*/ 368879 h 2555961"/>
                <a:gd name="connsiteX124" fmla="*/ 733462 w 2656808"/>
                <a:gd name="connsiteY124" fmla="*/ 368528 h 2555961"/>
                <a:gd name="connsiteX125" fmla="*/ 727849 w 2656808"/>
                <a:gd name="connsiteY125" fmla="*/ 367426 h 2555961"/>
                <a:gd name="connsiteX126" fmla="*/ 690918 w 2656808"/>
                <a:gd name="connsiteY126" fmla="*/ 368478 h 2555961"/>
                <a:gd name="connsiteX127" fmla="*/ 681748 w 2656808"/>
                <a:gd name="connsiteY127" fmla="*/ 370883 h 2555961"/>
                <a:gd name="connsiteX128" fmla="*/ 680295 w 2656808"/>
                <a:gd name="connsiteY128" fmla="*/ 370984 h 2555961"/>
                <a:gd name="connsiteX129" fmla="*/ 655992 w 2656808"/>
                <a:gd name="connsiteY129" fmla="*/ 380605 h 2555961"/>
                <a:gd name="connsiteX130" fmla="*/ 627078 w 2656808"/>
                <a:gd name="connsiteY130" fmla="*/ 385165 h 2555961"/>
                <a:gd name="connsiteX131" fmla="*/ 621165 w 2656808"/>
                <a:gd name="connsiteY131" fmla="*/ 383160 h 2555961"/>
                <a:gd name="connsiteX132" fmla="*/ 611293 w 2656808"/>
                <a:gd name="connsiteY132" fmla="*/ 379302 h 2555961"/>
                <a:gd name="connsiteX133" fmla="*/ 569301 w 2656808"/>
                <a:gd name="connsiteY133" fmla="*/ 370933 h 2555961"/>
                <a:gd name="connsiteX134" fmla="*/ 547654 w 2656808"/>
                <a:gd name="connsiteY134" fmla="*/ 370683 h 2555961"/>
                <a:gd name="connsiteX135" fmla="*/ 528712 w 2656808"/>
                <a:gd name="connsiteY135" fmla="*/ 366173 h 2555961"/>
                <a:gd name="connsiteX136" fmla="*/ 515032 w 2656808"/>
                <a:gd name="connsiteY136" fmla="*/ 352693 h 2555961"/>
                <a:gd name="connsiteX137" fmla="*/ 516785 w 2656808"/>
                <a:gd name="connsiteY137" fmla="*/ 333451 h 2555961"/>
                <a:gd name="connsiteX138" fmla="*/ 521145 w 2656808"/>
                <a:gd name="connsiteY138" fmla="*/ 327488 h 2555961"/>
                <a:gd name="connsiteX139" fmla="*/ 524102 w 2656808"/>
                <a:gd name="connsiteY139" fmla="*/ 323830 h 2555961"/>
                <a:gd name="connsiteX140" fmla="*/ 526908 w 2656808"/>
                <a:gd name="connsiteY140" fmla="*/ 318318 h 2555961"/>
                <a:gd name="connsiteX141" fmla="*/ 527209 w 2656808"/>
                <a:gd name="connsiteY141" fmla="*/ 317717 h 2555961"/>
                <a:gd name="connsiteX142" fmla="*/ 525454 w 2656808"/>
                <a:gd name="connsiteY142" fmla="*/ 317266 h 2555961"/>
                <a:gd name="connsiteX143" fmla="*/ 518539 w 2656808"/>
                <a:gd name="connsiteY143" fmla="*/ 315913 h 2555961"/>
                <a:gd name="connsiteX144" fmla="*/ 478451 w 2656808"/>
                <a:gd name="connsiteY144" fmla="*/ 315762 h 2555961"/>
                <a:gd name="connsiteX145" fmla="*/ 438614 w 2656808"/>
                <a:gd name="connsiteY145" fmla="*/ 308296 h 2555961"/>
                <a:gd name="connsiteX146" fmla="*/ 406794 w 2656808"/>
                <a:gd name="connsiteY146" fmla="*/ 310401 h 2555961"/>
                <a:gd name="connsiteX147" fmla="*/ 402835 w 2656808"/>
                <a:gd name="connsiteY147" fmla="*/ 308596 h 2555961"/>
                <a:gd name="connsiteX148" fmla="*/ 375475 w 2656808"/>
                <a:gd name="connsiteY148" fmla="*/ 314008 h 2555961"/>
                <a:gd name="connsiteX149" fmla="*/ 340398 w 2656808"/>
                <a:gd name="connsiteY149" fmla="*/ 335305 h 2555961"/>
                <a:gd name="connsiteX150" fmla="*/ 329875 w 2656808"/>
                <a:gd name="connsiteY150" fmla="*/ 339665 h 2555961"/>
                <a:gd name="connsiteX151" fmla="*/ 325415 w 2656808"/>
                <a:gd name="connsiteY151" fmla="*/ 341519 h 2555961"/>
                <a:gd name="connsiteX152" fmla="*/ 322559 w 2656808"/>
                <a:gd name="connsiteY152" fmla="*/ 353796 h 2555961"/>
                <a:gd name="connsiteX153" fmla="*/ 317548 w 2656808"/>
                <a:gd name="connsiteY153" fmla="*/ 370733 h 2555961"/>
                <a:gd name="connsiteX154" fmla="*/ 315844 w 2656808"/>
                <a:gd name="connsiteY154" fmla="*/ 372888 h 2555961"/>
                <a:gd name="connsiteX155" fmla="*/ 313739 w 2656808"/>
                <a:gd name="connsiteY155" fmla="*/ 371134 h 2555961"/>
                <a:gd name="connsiteX156" fmla="*/ 291140 w 2656808"/>
                <a:gd name="connsiteY156" fmla="*/ 347181 h 2555961"/>
                <a:gd name="connsiteX157" fmla="*/ 290388 w 2656808"/>
                <a:gd name="connsiteY157" fmla="*/ 345878 h 2555961"/>
                <a:gd name="connsiteX158" fmla="*/ 291090 w 2656808"/>
                <a:gd name="connsiteY158" fmla="*/ 344575 h 2555961"/>
                <a:gd name="connsiteX159" fmla="*/ 287181 w 2656808"/>
                <a:gd name="connsiteY159" fmla="*/ 301631 h 2555961"/>
                <a:gd name="connsiteX160" fmla="*/ 243635 w 2656808"/>
                <a:gd name="connsiteY160" fmla="*/ 324181 h 2555961"/>
                <a:gd name="connsiteX161" fmla="*/ 231709 w 2656808"/>
                <a:gd name="connsiteY161" fmla="*/ 319320 h 2555961"/>
                <a:gd name="connsiteX162" fmla="*/ 228001 w 2656808"/>
                <a:gd name="connsiteY162" fmla="*/ 317416 h 2555961"/>
                <a:gd name="connsiteX163" fmla="*/ 216225 w 2656808"/>
                <a:gd name="connsiteY163" fmla="*/ 311302 h 2555961"/>
                <a:gd name="connsiteX164" fmla="*/ 213118 w 2656808"/>
                <a:gd name="connsiteY164" fmla="*/ 309649 h 2555961"/>
                <a:gd name="connsiteX165" fmla="*/ 211114 w 2656808"/>
                <a:gd name="connsiteY165" fmla="*/ 312405 h 2555961"/>
                <a:gd name="connsiteX166" fmla="*/ 206804 w 2656808"/>
                <a:gd name="connsiteY166" fmla="*/ 319771 h 2555961"/>
                <a:gd name="connsiteX167" fmla="*/ 188013 w 2656808"/>
                <a:gd name="connsiteY167" fmla="*/ 353545 h 2555961"/>
                <a:gd name="connsiteX168" fmla="*/ 188214 w 2656808"/>
                <a:gd name="connsiteY168" fmla="*/ 354598 h 2555961"/>
                <a:gd name="connsiteX169" fmla="*/ 188214 w 2656808"/>
                <a:gd name="connsiteY169" fmla="*/ 355600 h 2555961"/>
                <a:gd name="connsiteX170" fmla="*/ 198586 w 2656808"/>
                <a:gd name="connsiteY170" fmla="*/ 362966 h 2555961"/>
                <a:gd name="connsiteX171" fmla="*/ 199589 w 2656808"/>
                <a:gd name="connsiteY171" fmla="*/ 363668 h 2555961"/>
                <a:gd name="connsiteX172" fmla="*/ 199689 w 2656808"/>
                <a:gd name="connsiteY172" fmla="*/ 364870 h 2555961"/>
                <a:gd name="connsiteX173" fmla="*/ 200240 w 2656808"/>
                <a:gd name="connsiteY173" fmla="*/ 372787 h 2555961"/>
                <a:gd name="connsiteX174" fmla="*/ 208558 w 2656808"/>
                <a:gd name="connsiteY174" fmla="*/ 401701 h 2555961"/>
                <a:gd name="connsiteX175" fmla="*/ 209511 w 2656808"/>
                <a:gd name="connsiteY175" fmla="*/ 402753 h 2555961"/>
                <a:gd name="connsiteX176" fmla="*/ 209210 w 2656808"/>
                <a:gd name="connsiteY176" fmla="*/ 404106 h 2555961"/>
                <a:gd name="connsiteX177" fmla="*/ 207907 w 2656808"/>
                <a:gd name="connsiteY177" fmla="*/ 410571 h 2555961"/>
                <a:gd name="connsiteX178" fmla="*/ 205001 w 2656808"/>
                <a:gd name="connsiteY178" fmla="*/ 422246 h 2555961"/>
                <a:gd name="connsiteX179" fmla="*/ 209911 w 2656808"/>
                <a:gd name="connsiteY179" fmla="*/ 470452 h 2555961"/>
                <a:gd name="connsiteX180" fmla="*/ 219733 w 2656808"/>
                <a:gd name="connsiteY180" fmla="*/ 504928 h 2555961"/>
                <a:gd name="connsiteX181" fmla="*/ 227600 w 2656808"/>
                <a:gd name="connsiteY181" fmla="*/ 518157 h 2555961"/>
                <a:gd name="connsiteX182" fmla="*/ 234265 w 2656808"/>
                <a:gd name="connsiteY182" fmla="*/ 522015 h 2555961"/>
                <a:gd name="connsiteX183" fmla="*/ 235568 w 2656808"/>
                <a:gd name="connsiteY183" fmla="*/ 522717 h 2555961"/>
                <a:gd name="connsiteX184" fmla="*/ 271497 w 2656808"/>
                <a:gd name="connsiteY184" fmla="*/ 572376 h 2555961"/>
                <a:gd name="connsiteX185" fmla="*/ 272950 w 2656808"/>
                <a:gd name="connsiteY185" fmla="*/ 582348 h 2555961"/>
                <a:gd name="connsiteX186" fmla="*/ 275606 w 2656808"/>
                <a:gd name="connsiteY186" fmla="*/ 607704 h 2555961"/>
                <a:gd name="connsiteX187" fmla="*/ 284224 w 2656808"/>
                <a:gd name="connsiteY187" fmla="*/ 642731 h 2555961"/>
                <a:gd name="connsiteX188" fmla="*/ 298055 w 2656808"/>
                <a:gd name="connsiteY188" fmla="*/ 676555 h 2555961"/>
                <a:gd name="connsiteX189" fmla="*/ 301863 w 2656808"/>
                <a:gd name="connsiteY189" fmla="*/ 686677 h 2555961"/>
                <a:gd name="connsiteX190" fmla="*/ 293345 w 2656808"/>
                <a:gd name="connsiteY190" fmla="*/ 712334 h 2555961"/>
                <a:gd name="connsiteX191" fmla="*/ 274303 w 2656808"/>
                <a:gd name="connsiteY191" fmla="*/ 726715 h 2555961"/>
                <a:gd name="connsiteX192" fmla="*/ 241982 w 2656808"/>
                <a:gd name="connsiteY192" fmla="*/ 750467 h 2555961"/>
                <a:gd name="connsiteX193" fmla="*/ 220084 w 2656808"/>
                <a:gd name="connsiteY193" fmla="*/ 789904 h 2555961"/>
                <a:gd name="connsiteX194" fmla="*/ 200440 w 2656808"/>
                <a:gd name="connsiteY194" fmla="*/ 822576 h 2555961"/>
                <a:gd name="connsiteX195" fmla="*/ 194377 w 2656808"/>
                <a:gd name="connsiteY195" fmla="*/ 826986 h 2555961"/>
                <a:gd name="connsiteX196" fmla="*/ 192573 w 2656808"/>
                <a:gd name="connsiteY196" fmla="*/ 828439 h 2555961"/>
                <a:gd name="connsiteX197" fmla="*/ 192072 w 2656808"/>
                <a:gd name="connsiteY197" fmla="*/ 838411 h 2555961"/>
                <a:gd name="connsiteX198" fmla="*/ 188915 w 2656808"/>
                <a:gd name="connsiteY198" fmla="*/ 863466 h 2555961"/>
                <a:gd name="connsiteX199" fmla="*/ 169222 w 2656808"/>
                <a:gd name="connsiteY199" fmla="*/ 892429 h 2555961"/>
                <a:gd name="connsiteX200" fmla="*/ 168721 w 2656808"/>
                <a:gd name="connsiteY200" fmla="*/ 892880 h 2555961"/>
                <a:gd name="connsiteX201" fmla="*/ 168019 w 2656808"/>
                <a:gd name="connsiteY201" fmla="*/ 893031 h 2555961"/>
                <a:gd name="connsiteX202" fmla="*/ 130136 w 2656808"/>
                <a:gd name="connsiteY202" fmla="*/ 889774 h 2555961"/>
                <a:gd name="connsiteX203" fmla="*/ 106634 w 2656808"/>
                <a:gd name="connsiteY203" fmla="*/ 890174 h 2555961"/>
                <a:gd name="connsiteX204" fmla="*/ 86039 w 2656808"/>
                <a:gd name="connsiteY204" fmla="*/ 902802 h 2555961"/>
                <a:gd name="connsiteX205" fmla="*/ 55973 w 2656808"/>
                <a:gd name="connsiteY205" fmla="*/ 913225 h 2555961"/>
                <a:gd name="connsiteX206" fmla="*/ 52115 w 2656808"/>
                <a:gd name="connsiteY206" fmla="*/ 912574 h 2555961"/>
                <a:gd name="connsiteX207" fmla="*/ 48958 w 2656808"/>
                <a:gd name="connsiteY207" fmla="*/ 912022 h 2555961"/>
                <a:gd name="connsiteX208" fmla="*/ 28613 w 2656808"/>
                <a:gd name="connsiteY208" fmla="*/ 917384 h 2555961"/>
                <a:gd name="connsiteX209" fmla="*/ 24153 w 2656808"/>
                <a:gd name="connsiteY209" fmla="*/ 936226 h 2555961"/>
                <a:gd name="connsiteX210" fmla="*/ 39637 w 2656808"/>
                <a:gd name="connsiteY210" fmla="*/ 981375 h 2555961"/>
                <a:gd name="connsiteX211" fmla="*/ 50611 w 2656808"/>
                <a:gd name="connsiteY211" fmla="*/ 1018406 h 2555961"/>
                <a:gd name="connsiteX212" fmla="*/ 50461 w 2656808"/>
                <a:gd name="connsiteY212" fmla="*/ 1051078 h 2555961"/>
                <a:gd name="connsiteX213" fmla="*/ 44949 w 2656808"/>
                <a:gd name="connsiteY213" fmla="*/ 1205367 h 2555961"/>
                <a:gd name="connsiteX214" fmla="*/ 16286 w 2656808"/>
                <a:gd name="connsiteY214" fmla="*/ 1255427 h 2555961"/>
                <a:gd name="connsiteX215" fmla="*/ 0 w 2656808"/>
                <a:gd name="connsiteY215" fmla="*/ 1274168 h 2555961"/>
                <a:gd name="connsiteX216" fmla="*/ 13279 w 2656808"/>
                <a:gd name="connsiteY216" fmla="*/ 1311149 h 2555961"/>
                <a:gd name="connsiteX217" fmla="*/ 13279 w 2656808"/>
                <a:gd name="connsiteY217" fmla="*/ 1313855 h 2555961"/>
                <a:gd name="connsiteX218" fmla="*/ 13430 w 2656808"/>
                <a:gd name="connsiteY218" fmla="*/ 1340965 h 2555961"/>
                <a:gd name="connsiteX219" fmla="*/ 13530 w 2656808"/>
                <a:gd name="connsiteY219" fmla="*/ 1342619 h 2555961"/>
                <a:gd name="connsiteX220" fmla="*/ 16236 w 2656808"/>
                <a:gd name="connsiteY220" fmla="*/ 1358403 h 2555961"/>
                <a:gd name="connsiteX221" fmla="*/ 22399 w 2656808"/>
                <a:gd name="connsiteY221" fmla="*/ 1396687 h 2555961"/>
                <a:gd name="connsiteX222" fmla="*/ 45199 w 2656808"/>
                <a:gd name="connsiteY222" fmla="*/ 1450806 h 2555961"/>
                <a:gd name="connsiteX223" fmla="*/ 47104 w 2656808"/>
                <a:gd name="connsiteY223" fmla="*/ 1452460 h 2555961"/>
                <a:gd name="connsiteX224" fmla="*/ 67950 w 2656808"/>
                <a:gd name="connsiteY224" fmla="*/ 1476413 h 2555961"/>
                <a:gd name="connsiteX225" fmla="*/ 68350 w 2656808"/>
                <a:gd name="connsiteY225" fmla="*/ 1477264 h 2555961"/>
                <a:gd name="connsiteX226" fmla="*/ 68150 w 2656808"/>
                <a:gd name="connsiteY226" fmla="*/ 1478166 h 2555961"/>
                <a:gd name="connsiteX227" fmla="*/ 55171 w 2656808"/>
                <a:gd name="connsiteY227" fmla="*/ 1504324 h 2555961"/>
                <a:gd name="connsiteX228" fmla="*/ 43696 w 2656808"/>
                <a:gd name="connsiteY228" fmla="*/ 1519207 h 2555961"/>
                <a:gd name="connsiteX229" fmla="*/ 40890 w 2656808"/>
                <a:gd name="connsiteY229" fmla="*/ 1522965 h 2555961"/>
                <a:gd name="connsiteX230" fmla="*/ 31770 w 2656808"/>
                <a:gd name="connsiteY230" fmla="*/ 1549523 h 2555961"/>
                <a:gd name="connsiteX231" fmla="*/ 23101 w 2656808"/>
                <a:gd name="connsiteY231" fmla="*/ 1577785 h 2555961"/>
                <a:gd name="connsiteX232" fmla="*/ 17789 w 2656808"/>
                <a:gd name="connsiteY232" fmla="*/ 1587306 h 2555961"/>
                <a:gd name="connsiteX233" fmla="*/ 15684 w 2656808"/>
                <a:gd name="connsiteY233" fmla="*/ 1591415 h 2555961"/>
                <a:gd name="connsiteX234" fmla="*/ 18441 w 2656808"/>
                <a:gd name="connsiteY234" fmla="*/ 1597278 h 2555961"/>
                <a:gd name="connsiteX235" fmla="*/ 26408 w 2656808"/>
                <a:gd name="connsiteY235" fmla="*/ 1613313 h 2555961"/>
                <a:gd name="connsiteX236" fmla="*/ 32722 w 2656808"/>
                <a:gd name="connsiteY236" fmla="*/ 1619377 h 2555961"/>
                <a:gd name="connsiteX237" fmla="*/ 62688 w 2656808"/>
                <a:gd name="connsiteY237" fmla="*/ 1635412 h 2555961"/>
                <a:gd name="connsiteX238" fmla="*/ 76168 w 2656808"/>
                <a:gd name="connsiteY238" fmla="*/ 1642077 h 2555961"/>
                <a:gd name="connsiteX239" fmla="*/ 119613 w 2656808"/>
                <a:gd name="connsiteY239" fmla="*/ 1648190 h 2555961"/>
                <a:gd name="connsiteX240" fmla="*/ 131038 w 2656808"/>
                <a:gd name="connsiteY240" fmla="*/ 1647939 h 2555961"/>
                <a:gd name="connsiteX241" fmla="*/ 166867 w 2656808"/>
                <a:gd name="connsiteY241" fmla="*/ 1650094 h 2555961"/>
                <a:gd name="connsiteX242" fmla="*/ 167819 w 2656808"/>
                <a:gd name="connsiteY242" fmla="*/ 1650345 h 2555961"/>
                <a:gd name="connsiteX243" fmla="*/ 168420 w 2656808"/>
                <a:gd name="connsiteY243" fmla="*/ 1651146 h 2555961"/>
                <a:gd name="connsiteX244" fmla="*/ 189717 w 2656808"/>
                <a:gd name="connsiteY244" fmla="*/ 1702008 h 2555961"/>
                <a:gd name="connsiteX245" fmla="*/ 189968 w 2656808"/>
                <a:gd name="connsiteY245" fmla="*/ 1703111 h 2555961"/>
                <a:gd name="connsiteX246" fmla="*/ 167068 w 2656808"/>
                <a:gd name="connsiteY246" fmla="*/ 1736634 h 2555961"/>
                <a:gd name="connsiteX247" fmla="*/ 204098 w 2656808"/>
                <a:gd name="connsiteY247" fmla="*/ 1758031 h 2555961"/>
                <a:gd name="connsiteX248" fmla="*/ 226548 w 2656808"/>
                <a:gd name="connsiteY248" fmla="*/ 1773716 h 2555961"/>
                <a:gd name="connsiteX249" fmla="*/ 227901 w 2656808"/>
                <a:gd name="connsiteY249" fmla="*/ 1774317 h 2555961"/>
                <a:gd name="connsiteX250" fmla="*/ 228101 w 2656808"/>
                <a:gd name="connsiteY250" fmla="*/ 1775770 h 2555961"/>
                <a:gd name="connsiteX251" fmla="*/ 231709 w 2656808"/>
                <a:gd name="connsiteY251" fmla="*/ 1798921 h 2555961"/>
                <a:gd name="connsiteX252" fmla="*/ 238073 w 2656808"/>
                <a:gd name="connsiteY252" fmla="*/ 1866720 h 2555961"/>
                <a:gd name="connsiteX253" fmla="*/ 249498 w 2656808"/>
                <a:gd name="connsiteY253" fmla="*/ 1898891 h 2555961"/>
                <a:gd name="connsiteX254" fmla="*/ 257416 w 2656808"/>
                <a:gd name="connsiteY254" fmla="*/ 1960777 h 2555961"/>
                <a:gd name="connsiteX255" fmla="*/ 245590 w 2656808"/>
                <a:gd name="connsiteY255" fmla="*/ 1974557 h 2555961"/>
                <a:gd name="connsiteX256" fmla="*/ 240278 w 2656808"/>
                <a:gd name="connsiteY256" fmla="*/ 1979819 h 2555961"/>
                <a:gd name="connsiteX257" fmla="*/ 240829 w 2656808"/>
                <a:gd name="connsiteY257" fmla="*/ 1982926 h 2555961"/>
                <a:gd name="connsiteX258" fmla="*/ 242483 w 2656808"/>
                <a:gd name="connsiteY258" fmla="*/ 1994250 h 2555961"/>
                <a:gd name="connsiteX259" fmla="*/ 261174 w 2656808"/>
                <a:gd name="connsiteY259" fmla="*/ 2031282 h 2555961"/>
                <a:gd name="connsiteX260" fmla="*/ 270194 w 2656808"/>
                <a:gd name="connsiteY260" fmla="*/ 2041053 h 2555961"/>
                <a:gd name="connsiteX261" fmla="*/ 274403 w 2656808"/>
                <a:gd name="connsiteY261" fmla="*/ 2046064 h 2555961"/>
                <a:gd name="connsiteX262" fmla="*/ 275455 w 2656808"/>
                <a:gd name="connsiteY262" fmla="*/ 2047267 h 2555961"/>
                <a:gd name="connsiteX263" fmla="*/ 271296 w 2656808"/>
                <a:gd name="connsiteY263" fmla="*/ 2058892 h 2555961"/>
                <a:gd name="connsiteX264" fmla="*/ 266886 w 2656808"/>
                <a:gd name="connsiteY264" fmla="*/ 2071169 h 2555961"/>
                <a:gd name="connsiteX265" fmla="*/ 261074 w 2656808"/>
                <a:gd name="connsiteY265" fmla="*/ 2087255 h 2555961"/>
                <a:gd name="connsiteX266" fmla="*/ 246592 w 2656808"/>
                <a:gd name="connsiteY266" fmla="*/ 2126741 h 2555961"/>
                <a:gd name="connsiteX267" fmla="*/ 238224 w 2656808"/>
                <a:gd name="connsiteY267" fmla="*/ 2173995 h 2555961"/>
                <a:gd name="connsiteX268" fmla="*/ 232812 w 2656808"/>
                <a:gd name="connsiteY268" fmla="*/ 2195593 h 2555961"/>
                <a:gd name="connsiteX269" fmla="*/ 231058 w 2656808"/>
                <a:gd name="connsiteY269" fmla="*/ 2199501 h 2555961"/>
                <a:gd name="connsiteX270" fmla="*/ 228753 w 2656808"/>
                <a:gd name="connsiteY270" fmla="*/ 2273414 h 2555961"/>
                <a:gd name="connsiteX271" fmla="*/ 251051 w 2656808"/>
                <a:gd name="connsiteY271" fmla="*/ 2272913 h 2555961"/>
                <a:gd name="connsiteX272" fmla="*/ 261475 w 2656808"/>
                <a:gd name="connsiteY272" fmla="*/ 2270958 h 2555961"/>
                <a:gd name="connsiteX273" fmla="*/ 291591 w 2656808"/>
                <a:gd name="connsiteY273" fmla="*/ 2252267 h 2555961"/>
                <a:gd name="connsiteX274" fmla="*/ 295850 w 2656808"/>
                <a:gd name="connsiteY274" fmla="*/ 2249411 h 2555961"/>
                <a:gd name="connsiteX275" fmla="*/ 297003 w 2656808"/>
                <a:gd name="connsiteY275" fmla="*/ 2249010 h 2555961"/>
                <a:gd name="connsiteX276" fmla="*/ 297654 w 2656808"/>
                <a:gd name="connsiteY276" fmla="*/ 2248710 h 2555961"/>
                <a:gd name="connsiteX277" fmla="*/ 298356 w 2656808"/>
                <a:gd name="connsiteY277" fmla="*/ 2248710 h 2555961"/>
                <a:gd name="connsiteX278" fmla="*/ 299709 w 2656808"/>
                <a:gd name="connsiteY278" fmla="*/ 2248860 h 2555961"/>
                <a:gd name="connsiteX279" fmla="*/ 303417 w 2656808"/>
                <a:gd name="connsiteY279" fmla="*/ 2249361 h 2555961"/>
                <a:gd name="connsiteX280" fmla="*/ 309731 w 2656808"/>
                <a:gd name="connsiteY280" fmla="*/ 2251315 h 2555961"/>
                <a:gd name="connsiteX281" fmla="*/ 333533 w 2656808"/>
                <a:gd name="connsiteY281" fmla="*/ 2249111 h 2555961"/>
                <a:gd name="connsiteX282" fmla="*/ 342202 w 2656808"/>
                <a:gd name="connsiteY282" fmla="*/ 2247256 h 2555961"/>
                <a:gd name="connsiteX283" fmla="*/ 344557 w 2656808"/>
                <a:gd name="connsiteY283" fmla="*/ 2247256 h 2555961"/>
                <a:gd name="connsiteX284" fmla="*/ 347865 w 2656808"/>
                <a:gd name="connsiteY284" fmla="*/ 2247156 h 2555961"/>
                <a:gd name="connsiteX285" fmla="*/ 366055 w 2656808"/>
                <a:gd name="connsiteY285" fmla="*/ 2247156 h 2555961"/>
                <a:gd name="connsiteX286" fmla="*/ 402184 w 2656808"/>
                <a:gd name="connsiteY286" fmla="*/ 2232524 h 2555961"/>
                <a:gd name="connsiteX287" fmla="*/ 411905 w 2656808"/>
                <a:gd name="connsiteY287" fmla="*/ 2224256 h 2555961"/>
                <a:gd name="connsiteX288" fmla="*/ 416415 w 2656808"/>
                <a:gd name="connsiteY288" fmla="*/ 2220648 h 2555961"/>
                <a:gd name="connsiteX289" fmla="*/ 418920 w 2656808"/>
                <a:gd name="connsiteY289" fmla="*/ 2218593 h 2555961"/>
                <a:gd name="connsiteX290" fmla="*/ 420474 w 2656808"/>
                <a:gd name="connsiteY290" fmla="*/ 2221399 h 2555961"/>
                <a:gd name="connsiteX291" fmla="*/ 455952 w 2656808"/>
                <a:gd name="connsiteY291" fmla="*/ 2261939 h 2555961"/>
                <a:gd name="connsiteX292" fmla="*/ 456904 w 2656808"/>
                <a:gd name="connsiteY292" fmla="*/ 2261187 h 2555961"/>
                <a:gd name="connsiteX293" fmla="*/ 461464 w 2656808"/>
                <a:gd name="connsiteY293" fmla="*/ 2257429 h 2555961"/>
                <a:gd name="connsiteX294" fmla="*/ 500500 w 2656808"/>
                <a:gd name="connsiteY294" fmla="*/ 2207268 h 2555961"/>
                <a:gd name="connsiteX295" fmla="*/ 503857 w 2656808"/>
                <a:gd name="connsiteY295" fmla="*/ 2201907 h 2555961"/>
                <a:gd name="connsiteX296" fmla="*/ 535026 w 2656808"/>
                <a:gd name="connsiteY296" fmla="*/ 2179858 h 2555961"/>
                <a:gd name="connsiteX297" fmla="*/ 535176 w 2656808"/>
                <a:gd name="connsiteY297" fmla="*/ 2179858 h 2555961"/>
                <a:gd name="connsiteX298" fmla="*/ 547804 w 2656808"/>
                <a:gd name="connsiteY298" fmla="*/ 2152548 h 2555961"/>
                <a:gd name="connsiteX299" fmla="*/ 548355 w 2656808"/>
                <a:gd name="connsiteY299" fmla="*/ 2150844 h 2555961"/>
                <a:gd name="connsiteX300" fmla="*/ 566044 w 2656808"/>
                <a:gd name="connsiteY300" fmla="*/ 2130299 h 2555961"/>
                <a:gd name="connsiteX301" fmla="*/ 574212 w 2656808"/>
                <a:gd name="connsiteY301" fmla="*/ 2126341 h 2555961"/>
                <a:gd name="connsiteX302" fmla="*/ 602825 w 2656808"/>
                <a:gd name="connsiteY302" fmla="*/ 2110155 h 2555961"/>
                <a:gd name="connsiteX303" fmla="*/ 667968 w 2656808"/>
                <a:gd name="connsiteY303" fmla="*/ 2099882 h 2555961"/>
                <a:gd name="connsiteX304" fmla="*/ 696831 w 2656808"/>
                <a:gd name="connsiteY304" fmla="*/ 2112109 h 2555961"/>
                <a:gd name="connsiteX305" fmla="*/ 720333 w 2656808"/>
                <a:gd name="connsiteY305" fmla="*/ 2130350 h 2555961"/>
                <a:gd name="connsiteX306" fmla="*/ 730254 w 2656808"/>
                <a:gd name="connsiteY306" fmla="*/ 2138568 h 2555961"/>
                <a:gd name="connsiteX307" fmla="*/ 730856 w 2656808"/>
                <a:gd name="connsiteY307" fmla="*/ 2139018 h 2555961"/>
                <a:gd name="connsiteX308" fmla="*/ 745889 w 2656808"/>
                <a:gd name="connsiteY308" fmla="*/ 2180309 h 2555961"/>
                <a:gd name="connsiteX309" fmla="*/ 786879 w 2656808"/>
                <a:gd name="connsiteY309" fmla="*/ 2181512 h 2555961"/>
                <a:gd name="connsiteX310" fmla="*/ 831327 w 2656808"/>
                <a:gd name="connsiteY310" fmla="*/ 2183065 h 2555961"/>
                <a:gd name="connsiteX311" fmla="*/ 832379 w 2656808"/>
                <a:gd name="connsiteY311" fmla="*/ 2183216 h 2555961"/>
                <a:gd name="connsiteX312" fmla="*/ 833030 w 2656808"/>
                <a:gd name="connsiteY312" fmla="*/ 2184017 h 2555961"/>
                <a:gd name="connsiteX313" fmla="*/ 846059 w 2656808"/>
                <a:gd name="connsiteY313" fmla="*/ 2213683 h 2555961"/>
                <a:gd name="connsiteX314" fmla="*/ 850018 w 2656808"/>
                <a:gd name="connsiteY314" fmla="*/ 2231021 h 2555961"/>
                <a:gd name="connsiteX315" fmla="*/ 855129 w 2656808"/>
                <a:gd name="connsiteY315" fmla="*/ 2257529 h 2555961"/>
                <a:gd name="connsiteX316" fmla="*/ 865552 w 2656808"/>
                <a:gd name="connsiteY316" fmla="*/ 2288948 h 2555961"/>
                <a:gd name="connsiteX317" fmla="*/ 883291 w 2656808"/>
                <a:gd name="connsiteY317" fmla="*/ 2348078 h 2555961"/>
                <a:gd name="connsiteX318" fmla="*/ 883291 w 2656808"/>
                <a:gd name="connsiteY318" fmla="*/ 2355594 h 2555961"/>
                <a:gd name="connsiteX319" fmla="*/ 883191 w 2656808"/>
                <a:gd name="connsiteY319" fmla="*/ 2364664 h 2555961"/>
                <a:gd name="connsiteX320" fmla="*/ 896820 w 2656808"/>
                <a:gd name="connsiteY320" fmla="*/ 2407508 h 2555961"/>
                <a:gd name="connsiteX321" fmla="*/ 919771 w 2656808"/>
                <a:gd name="connsiteY321" fmla="*/ 2408911 h 2555961"/>
                <a:gd name="connsiteX322" fmla="*/ 920222 w 2656808"/>
                <a:gd name="connsiteY322" fmla="*/ 2410866 h 2555961"/>
                <a:gd name="connsiteX323" fmla="*/ 955650 w 2656808"/>
                <a:gd name="connsiteY323" fmla="*/ 2478013 h 2555961"/>
                <a:gd name="connsiteX324" fmla="*/ 963417 w 2656808"/>
                <a:gd name="connsiteY324" fmla="*/ 2474255 h 2555961"/>
                <a:gd name="connsiteX325" fmla="*/ 982459 w 2656808"/>
                <a:gd name="connsiteY325" fmla="*/ 2465386 h 2555961"/>
                <a:gd name="connsiteX326" fmla="*/ 1056722 w 2656808"/>
                <a:gd name="connsiteY326" fmla="*/ 2467390 h 2555961"/>
                <a:gd name="connsiteX327" fmla="*/ 1059728 w 2656808"/>
                <a:gd name="connsiteY327" fmla="*/ 2468944 h 2555961"/>
                <a:gd name="connsiteX328" fmla="*/ 1062835 w 2656808"/>
                <a:gd name="connsiteY328" fmla="*/ 2470447 h 2555961"/>
                <a:gd name="connsiteX329" fmla="*/ 1106181 w 2656808"/>
                <a:gd name="connsiteY329" fmla="*/ 2481621 h 2555961"/>
                <a:gd name="connsiteX330" fmla="*/ 1141408 w 2656808"/>
                <a:gd name="connsiteY330" fmla="*/ 2491944 h 2555961"/>
                <a:gd name="connsiteX331" fmla="*/ 1168518 w 2656808"/>
                <a:gd name="connsiteY331" fmla="*/ 2499711 h 2555961"/>
                <a:gd name="connsiteX332" fmla="*/ 1173679 w 2656808"/>
                <a:gd name="connsiteY332" fmla="*/ 2499861 h 2555961"/>
                <a:gd name="connsiteX333" fmla="*/ 1218277 w 2656808"/>
                <a:gd name="connsiteY333" fmla="*/ 2502918 h 2555961"/>
                <a:gd name="connsiteX334" fmla="*/ 1277707 w 2656808"/>
                <a:gd name="connsiteY334" fmla="*/ 2533235 h 2555961"/>
                <a:gd name="connsiteX335" fmla="*/ 1278409 w 2656808"/>
                <a:gd name="connsiteY335" fmla="*/ 2533936 h 2555961"/>
                <a:gd name="connsiteX336" fmla="*/ 1347461 w 2656808"/>
                <a:gd name="connsiteY336" fmla="*/ 2551325 h 2555961"/>
                <a:gd name="connsiteX337" fmla="*/ 1378078 w 2656808"/>
                <a:gd name="connsiteY337" fmla="*/ 2546764 h 2555961"/>
                <a:gd name="connsiteX338" fmla="*/ 1406791 w 2656808"/>
                <a:gd name="connsiteY338" fmla="*/ 2553179 h 2555961"/>
                <a:gd name="connsiteX339" fmla="*/ 1437559 w 2656808"/>
                <a:gd name="connsiteY339" fmla="*/ 2549170 h 2555961"/>
                <a:gd name="connsiteX340" fmla="*/ 1453042 w 2656808"/>
                <a:gd name="connsiteY340" fmla="*/ 2539248 h 2555961"/>
                <a:gd name="connsiteX341" fmla="*/ 1457703 w 2656808"/>
                <a:gd name="connsiteY341" fmla="*/ 2536442 h 2555961"/>
                <a:gd name="connsiteX342" fmla="*/ 1502601 w 2656808"/>
                <a:gd name="connsiteY342" fmla="*/ 2531431 h 2555961"/>
                <a:gd name="connsiteX343" fmla="*/ 1503754 w 2656808"/>
                <a:gd name="connsiteY343" fmla="*/ 2530980 h 2555961"/>
                <a:gd name="connsiteX344" fmla="*/ 1504606 w 2656808"/>
                <a:gd name="connsiteY344" fmla="*/ 2530629 h 2555961"/>
                <a:gd name="connsiteX345" fmla="*/ 1510118 w 2656808"/>
                <a:gd name="connsiteY345" fmla="*/ 2511036 h 2555961"/>
                <a:gd name="connsiteX346" fmla="*/ 1511822 w 2656808"/>
                <a:gd name="connsiteY346" fmla="*/ 2510785 h 2555961"/>
                <a:gd name="connsiteX347" fmla="*/ 1515530 w 2656808"/>
                <a:gd name="connsiteY347" fmla="*/ 2510134 h 2555961"/>
                <a:gd name="connsiteX348" fmla="*/ 1522395 w 2656808"/>
                <a:gd name="connsiteY348" fmla="*/ 2509182 h 2555961"/>
                <a:gd name="connsiteX349" fmla="*/ 1530363 w 2656808"/>
                <a:gd name="connsiteY349" fmla="*/ 2508931 h 2555961"/>
                <a:gd name="connsiteX350" fmla="*/ 1555719 w 2656808"/>
                <a:gd name="connsiteY350" fmla="*/ 2503870 h 2555961"/>
                <a:gd name="connsiteX351" fmla="*/ 1571052 w 2656808"/>
                <a:gd name="connsiteY351" fmla="*/ 2505173 h 2555961"/>
                <a:gd name="connsiteX352" fmla="*/ 1582928 w 2656808"/>
                <a:gd name="connsiteY352" fmla="*/ 2509683 h 2555961"/>
                <a:gd name="connsiteX353" fmla="*/ 1595556 w 2656808"/>
                <a:gd name="connsiteY353" fmla="*/ 2514393 h 2555961"/>
                <a:gd name="connsiteX354" fmla="*/ 1603925 w 2656808"/>
                <a:gd name="connsiteY354" fmla="*/ 2515145 h 2555961"/>
                <a:gd name="connsiteX355" fmla="*/ 1606630 w 2656808"/>
                <a:gd name="connsiteY355" fmla="*/ 2515145 h 2555961"/>
                <a:gd name="connsiteX356" fmla="*/ 1639202 w 2656808"/>
                <a:gd name="connsiteY356" fmla="*/ 2478064 h 2555961"/>
                <a:gd name="connsiteX357" fmla="*/ 1646267 w 2656808"/>
                <a:gd name="connsiteY357" fmla="*/ 2471449 h 2555961"/>
                <a:gd name="connsiteX358" fmla="*/ 1677085 w 2656808"/>
                <a:gd name="connsiteY358" fmla="*/ 2453359 h 2555961"/>
                <a:gd name="connsiteX359" fmla="*/ 1704596 w 2656808"/>
                <a:gd name="connsiteY359" fmla="*/ 2430559 h 2555961"/>
                <a:gd name="connsiteX360" fmla="*/ 1711461 w 2656808"/>
                <a:gd name="connsiteY360" fmla="*/ 2379597 h 2555961"/>
                <a:gd name="connsiteX361" fmla="*/ 1731254 w 2656808"/>
                <a:gd name="connsiteY361" fmla="*/ 2342816 h 2555961"/>
                <a:gd name="connsiteX362" fmla="*/ 1739422 w 2656808"/>
                <a:gd name="connsiteY362" fmla="*/ 2323724 h 2555961"/>
                <a:gd name="connsiteX363" fmla="*/ 1726143 w 2656808"/>
                <a:gd name="connsiteY363" fmla="*/ 2302678 h 2555961"/>
                <a:gd name="connsiteX364" fmla="*/ 1718626 w 2656808"/>
                <a:gd name="connsiteY364" fmla="*/ 2297817 h 2555961"/>
                <a:gd name="connsiteX365" fmla="*/ 1708354 w 2656808"/>
                <a:gd name="connsiteY365" fmla="*/ 2291654 h 2555961"/>
                <a:gd name="connsiteX366" fmla="*/ 1695024 w 2656808"/>
                <a:gd name="connsiteY366" fmla="*/ 2288296 h 2555961"/>
                <a:gd name="connsiteX367" fmla="*/ 1688410 w 2656808"/>
                <a:gd name="connsiteY367" fmla="*/ 2286994 h 2555961"/>
                <a:gd name="connsiteX368" fmla="*/ 1686255 w 2656808"/>
                <a:gd name="connsiteY368" fmla="*/ 2286492 h 2555961"/>
                <a:gd name="connsiteX369" fmla="*/ 1686255 w 2656808"/>
                <a:gd name="connsiteY369" fmla="*/ 2284288 h 2555961"/>
                <a:gd name="connsiteX370" fmla="*/ 1710258 w 2656808"/>
                <a:gd name="connsiteY370" fmla="*/ 2249712 h 2555961"/>
                <a:gd name="connsiteX371" fmla="*/ 1710809 w 2656808"/>
                <a:gd name="connsiteY371" fmla="*/ 2243498 h 2555961"/>
                <a:gd name="connsiteX372" fmla="*/ 1713565 w 2656808"/>
                <a:gd name="connsiteY372" fmla="*/ 2226561 h 2555961"/>
                <a:gd name="connsiteX373" fmla="*/ 1721483 w 2656808"/>
                <a:gd name="connsiteY373" fmla="*/ 2212179 h 2555961"/>
                <a:gd name="connsiteX374" fmla="*/ 1724239 w 2656808"/>
                <a:gd name="connsiteY374" fmla="*/ 2207920 h 2555961"/>
                <a:gd name="connsiteX375" fmla="*/ 1686155 w 2656808"/>
                <a:gd name="connsiteY375" fmla="*/ 2158912 h 2555961"/>
                <a:gd name="connsiteX376" fmla="*/ 1685604 w 2656808"/>
                <a:gd name="connsiteY376" fmla="*/ 2156256 h 2555961"/>
                <a:gd name="connsiteX377" fmla="*/ 1690564 w 2656808"/>
                <a:gd name="connsiteY377" fmla="*/ 2155204 h 2555961"/>
                <a:gd name="connsiteX378" fmla="*/ 1708304 w 2656808"/>
                <a:gd name="connsiteY378" fmla="*/ 2151446 h 2555961"/>
                <a:gd name="connsiteX379" fmla="*/ 1708304 w 2656808"/>
                <a:gd name="connsiteY379" fmla="*/ 2149642 h 2555961"/>
                <a:gd name="connsiteX380" fmla="*/ 1707753 w 2656808"/>
                <a:gd name="connsiteY380" fmla="*/ 2144080 h 2555961"/>
                <a:gd name="connsiteX381" fmla="*/ 1709807 w 2656808"/>
                <a:gd name="connsiteY381" fmla="*/ 2100734 h 2555961"/>
                <a:gd name="connsiteX382" fmla="*/ 1714367 w 2656808"/>
                <a:gd name="connsiteY382" fmla="*/ 2081642 h 2555961"/>
                <a:gd name="connsiteX383" fmla="*/ 1715369 w 2656808"/>
                <a:gd name="connsiteY383" fmla="*/ 2075880 h 2555961"/>
                <a:gd name="connsiteX384" fmla="*/ 1717724 w 2656808"/>
                <a:gd name="connsiteY384" fmla="*/ 2061749 h 2555961"/>
                <a:gd name="connsiteX385" fmla="*/ 1720481 w 2656808"/>
                <a:gd name="connsiteY385" fmla="*/ 2045563 h 2555961"/>
                <a:gd name="connsiteX386" fmla="*/ 1740875 w 2656808"/>
                <a:gd name="connsiteY386" fmla="*/ 2007329 h 2555961"/>
                <a:gd name="connsiteX387" fmla="*/ 1772344 w 2656808"/>
                <a:gd name="connsiteY387" fmla="*/ 1994601 h 2555961"/>
                <a:gd name="connsiteX388" fmla="*/ 1780111 w 2656808"/>
                <a:gd name="connsiteY388" fmla="*/ 1992296 h 2555961"/>
                <a:gd name="connsiteX389" fmla="*/ 1831925 w 2656808"/>
                <a:gd name="connsiteY389" fmla="*/ 1971651 h 2555961"/>
                <a:gd name="connsiteX390" fmla="*/ 1857381 w 2656808"/>
                <a:gd name="connsiteY390" fmla="*/ 1961478 h 2555961"/>
                <a:gd name="connsiteX391" fmla="*/ 1871312 w 2656808"/>
                <a:gd name="connsiteY391" fmla="*/ 1942938 h 2555961"/>
                <a:gd name="connsiteX392" fmla="*/ 1880783 w 2656808"/>
                <a:gd name="connsiteY392" fmla="*/ 1917432 h 2555961"/>
                <a:gd name="connsiteX393" fmla="*/ 1896317 w 2656808"/>
                <a:gd name="connsiteY393" fmla="*/ 1912120 h 2555961"/>
                <a:gd name="connsiteX394" fmla="*/ 1908243 w 2656808"/>
                <a:gd name="connsiteY394" fmla="*/ 1917632 h 2555961"/>
                <a:gd name="connsiteX395" fmla="*/ 1912152 w 2656808"/>
                <a:gd name="connsiteY395" fmla="*/ 1919686 h 2555961"/>
                <a:gd name="connsiteX396" fmla="*/ 1961109 w 2656808"/>
                <a:gd name="connsiteY396" fmla="*/ 1893279 h 2555961"/>
                <a:gd name="connsiteX397" fmla="*/ 1968976 w 2656808"/>
                <a:gd name="connsiteY397" fmla="*/ 1888217 h 2555961"/>
                <a:gd name="connsiteX398" fmla="*/ 1976743 w 2656808"/>
                <a:gd name="connsiteY398" fmla="*/ 1876491 h 2555961"/>
                <a:gd name="connsiteX399" fmla="*/ 1983809 w 2656808"/>
                <a:gd name="connsiteY399" fmla="*/ 1847027 h 2555961"/>
                <a:gd name="connsiteX400" fmla="*/ 1997740 w 2656808"/>
                <a:gd name="connsiteY400" fmla="*/ 1828436 h 2555961"/>
                <a:gd name="connsiteX401" fmla="*/ 1999043 w 2656808"/>
                <a:gd name="connsiteY401" fmla="*/ 1827734 h 2555961"/>
                <a:gd name="connsiteX402" fmla="*/ 2016982 w 2656808"/>
                <a:gd name="connsiteY402" fmla="*/ 1837957 h 2555961"/>
                <a:gd name="connsiteX403" fmla="*/ 2011971 w 2656808"/>
                <a:gd name="connsiteY403" fmla="*/ 1818063 h 2555961"/>
                <a:gd name="connsiteX404" fmla="*/ 2010367 w 2656808"/>
                <a:gd name="connsiteY404" fmla="*/ 1814505 h 2555961"/>
                <a:gd name="connsiteX405" fmla="*/ 2001247 w 2656808"/>
                <a:gd name="connsiteY405" fmla="*/ 1795714 h 2555961"/>
                <a:gd name="connsiteX406" fmla="*/ 1991776 w 2656808"/>
                <a:gd name="connsiteY406" fmla="*/ 1776221 h 2555961"/>
                <a:gd name="connsiteX407" fmla="*/ 1980352 w 2656808"/>
                <a:gd name="connsiteY407" fmla="*/ 1742347 h 2555961"/>
                <a:gd name="connsiteX408" fmla="*/ 1962412 w 2656808"/>
                <a:gd name="connsiteY408" fmla="*/ 1695494 h 2555961"/>
                <a:gd name="connsiteX409" fmla="*/ 1957300 w 2656808"/>
                <a:gd name="connsiteY409" fmla="*/ 1678005 h 2555961"/>
                <a:gd name="connsiteX410" fmla="*/ 1961059 w 2656808"/>
                <a:gd name="connsiteY410" fmla="*/ 1660818 h 2555961"/>
                <a:gd name="connsiteX411" fmla="*/ 1971883 w 2656808"/>
                <a:gd name="connsiteY411" fmla="*/ 1625440 h 2555961"/>
                <a:gd name="connsiteX412" fmla="*/ 1972685 w 2656808"/>
                <a:gd name="connsiteY412" fmla="*/ 1623987 h 2555961"/>
                <a:gd name="connsiteX413" fmla="*/ 1985663 w 2656808"/>
                <a:gd name="connsiteY413" fmla="*/ 1587757 h 2555961"/>
                <a:gd name="connsiteX414" fmla="*/ 1985663 w 2656808"/>
                <a:gd name="connsiteY414" fmla="*/ 1586304 h 2555961"/>
                <a:gd name="connsiteX415" fmla="*/ 1986916 w 2656808"/>
                <a:gd name="connsiteY415" fmla="*/ 1585552 h 2555961"/>
                <a:gd name="connsiteX416" fmla="*/ 1991275 w 2656808"/>
                <a:gd name="connsiteY416" fmla="*/ 1582796 h 2555961"/>
                <a:gd name="connsiteX417" fmla="*/ 1999944 w 2656808"/>
                <a:gd name="connsiteY417" fmla="*/ 1577585 h 2555961"/>
                <a:gd name="connsiteX418" fmla="*/ 2011921 w 2656808"/>
                <a:gd name="connsiteY418" fmla="*/ 1557040 h 2555961"/>
                <a:gd name="connsiteX419" fmla="*/ 2011921 w 2656808"/>
                <a:gd name="connsiteY419" fmla="*/ 1550024 h 2555961"/>
                <a:gd name="connsiteX420" fmla="*/ 2011921 w 2656808"/>
                <a:gd name="connsiteY420" fmla="*/ 1542908 h 2555961"/>
                <a:gd name="connsiteX421" fmla="*/ 2018786 w 2656808"/>
                <a:gd name="connsiteY421" fmla="*/ 1471803 h 2555961"/>
                <a:gd name="connsiteX422" fmla="*/ 2022193 w 2656808"/>
                <a:gd name="connsiteY422" fmla="*/ 1460878 h 2555961"/>
                <a:gd name="connsiteX423" fmla="*/ 2024047 w 2656808"/>
                <a:gd name="connsiteY423" fmla="*/ 1455867 h 2555961"/>
                <a:gd name="connsiteX424" fmla="*/ 2024599 w 2656808"/>
                <a:gd name="connsiteY424" fmla="*/ 1454264 h 2555961"/>
                <a:gd name="connsiteX425" fmla="*/ 2026252 w 2656808"/>
                <a:gd name="connsiteY425" fmla="*/ 1454063 h 2555961"/>
                <a:gd name="connsiteX426" fmla="*/ 2086284 w 2656808"/>
                <a:gd name="connsiteY426" fmla="*/ 1460427 h 2555961"/>
                <a:gd name="connsiteX427" fmla="*/ 2095354 w 2656808"/>
                <a:gd name="connsiteY427" fmla="*/ 1464186 h 2555961"/>
                <a:gd name="connsiteX428" fmla="*/ 2099213 w 2656808"/>
                <a:gd name="connsiteY428" fmla="*/ 1465639 h 2555961"/>
                <a:gd name="connsiteX429" fmla="*/ 2139752 w 2656808"/>
                <a:gd name="connsiteY429" fmla="*/ 1463885 h 2555961"/>
                <a:gd name="connsiteX430" fmla="*/ 2141105 w 2656808"/>
                <a:gd name="connsiteY430" fmla="*/ 1463284 h 2555961"/>
                <a:gd name="connsiteX431" fmla="*/ 2157841 w 2656808"/>
                <a:gd name="connsiteY431" fmla="*/ 1474258 h 2555961"/>
                <a:gd name="connsiteX432" fmla="*/ 2160347 w 2656808"/>
                <a:gd name="connsiteY432" fmla="*/ 1471051 h 2555961"/>
                <a:gd name="connsiteX433" fmla="*/ 2167312 w 2656808"/>
                <a:gd name="connsiteY433" fmla="*/ 1462282 h 2555961"/>
                <a:gd name="connsiteX434" fmla="*/ 2179639 w 2656808"/>
                <a:gd name="connsiteY434" fmla="*/ 1448050 h 2555961"/>
                <a:gd name="connsiteX435" fmla="*/ 2184400 w 2656808"/>
                <a:gd name="connsiteY435" fmla="*/ 1442688 h 2555961"/>
                <a:gd name="connsiteX436" fmla="*/ 2205546 w 2656808"/>
                <a:gd name="connsiteY436" fmla="*/ 1433819 h 2555961"/>
                <a:gd name="connsiteX437" fmla="*/ 2232155 w 2656808"/>
                <a:gd name="connsiteY437" fmla="*/ 1425801 h 2555961"/>
                <a:gd name="connsiteX438" fmla="*/ 2233808 w 2656808"/>
                <a:gd name="connsiteY438" fmla="*/ 1424599 h 2555961"/>
                <a:gd name="connsiteX439" fmla="*/ 2257761 w 2656808"/>
                <a:gd name="connsiteY439" fmla="*/ 1443540 h 2555961"/>
                <a:gd name="connsiteX440" fmla="*/ 2264075 w 2656808"/>
                <a:gd name="connsiteY440" fmla="*/ 1422294 h 2555961"/>
                <a:gd name="connsiteX441" fmla="*/ 2264075 w 2656808"/>
                <a:gd name="connsiteY441" fmla="*/ 1408363 h 2555961"/>
                <a:gd name="connsiteX442" fmla="*/ 2264325 w 2656808"/>
                <a:gd name="connsiteY442" fmla="*/ 1379600 h 2555961"/>
                <a:gd name="connsiteX443" fmla="*/ 2267532 w 2656808"/>
                <a:gd name="connsiteY443" fmla="*/ 1358303 h 2555961"/>
                <a:gd name="connsiteX444" fmla="*/ 2270088 w 2656808"/>
                <a:gd name="connsiteY444" fmla="*/ 1350286 h 2555961"/>
                <a:gd name="connsiteX445" fmla="*/ 2272844 w 2656808"/>
                <a:gd name="connsiteY445" fmla="*/ 1338810 h 2555961"/>
                <a:gd name="connsiteX446" fmla="*/ 2268735 w 2656808"/>
                <a:gd name="connsiteY446" fmla="*/ 1324429 h 2555961"/>
                <a:gd name="connsiteX447" fmla="*/ 2266179 w 2656808"/>
                <a:gd name="connsiteY447" fmla="*/ 1317714 h 2555961"/>
                <a:gd name="connsiteX448" fmla="*/ 2265879 w 2656808"/>
                <a:gd name="connsiteY448" fmla="*/ 1316812 h 2555961"/>
                <a:gd name="connsiteX449" fmla="*/ 2266229 w 2656808"/>
                <a:gd name="connsiteY449" fmla="*/ 1315910 h 2555961"/>
                <a:gd name="connsiteX450" fmla="*/ 2254904 w 2656808"/>
                <a:gd name="connsiteY450" fmla="*/ 1276022 h 2555961"/>
                <a:gd name="connsiteX451" fmla="*/ 2250044 w 2656808"/>
                <a:gd name="connsiteY451" fmla="*/ 1272665 h 2555961"/>
                <a:gd name="connsiteX452" fmla="*/ 2225841 w 2656808"/>
                <a:gd name="connsiteY452" fmla="*/ 1240845 h 2555961"/>
                <a:gd name="connsiteX453" fmla="*/ 2223135 w 2656808"/>
                <a:gd name="connsiteY453" fmla="*/ 1221051 h 2555961"/>
                <a:gd name="connsiteX454" fmla="*/ 2222784 w 2656808"/>
                <a:gd name="connsiteY454" fmla="*/ 1218496 h 2555961"/>
                <a:gd name="connsiteX455" fmla="*/ 2220880 w 2656808"/>
                <a:gd name="connsiteY455" fmla="*/ 1204164 h 2555961"/>
                <a:gd name="connsiteX456" fmla="*/ 2218524 w 2656808"/>
                <a:gd name="connsiteY456" fmla="*/ 1171042 h 2555961"/>
                <a:gd name="connsiteX457" fmla="*/ 2239220 w 2656808"/>
                <a:gd name="connsiteY457" fmla="*/ 1099635 h 2555961"/>
                <a:gd name="connsiteX458" fmla="*/ 2240022 w 2656808"/>
                <a:gd name="connsiteY458" fmla="*/ 1098031 h 2555961"/>
                <a:gd name="connsiteX459" fmla="*/ 2241826 w 2656808"/>
                <a:gd name="connsiteY459" fmla="*/ 1098181 h 2555961"/>
                <a:gd name="connsiteX460" fmla="*/ 2294391 w 2656808"/>
                <a:gd name="connsiteY460" fmla="*/ 1071623 h 2555961"/>
                <a:gd name="connsiteX461" fmla="*/ 2295293 w 2656808"/>
                <a:gd name="connsiteY461" fmla="*/ 1070671 h 2555961"/>
                <a:gd name="connsiteX462" fmla="*/ 2309826 w 2656808"/>
                <a:gd name="connsiteY462" fmla="*/ 1072325 h 2555961"/>
                <a:gd name="connsiteX463" fmla="*/ 2310777 w 2656808"/>
                <a:gd name="connsiteY463" fmla="*/ 1070821 h 2555961"/>
                <a:gd name="connsiteX464" fmla="*/ 2313784 w 2656808"/>
                <a:gd name="connsiteY464" fmla="*/ 1065660 h 2555961"/>
                <a:gd name="connsiteX465" fmla="*/ 2311579 w 2656808"/>
                <a:gd name="connsiteY465" fmla="*/ 1035644 h 2555961"/>
                <a:gd name="connsiteX466" fmla="*/ 2305416 w 2656808"/>
                <a:gd name="connsiteY466" fmla="*/ 1025522 h 2555961"/>
                <a:gd name="connsiteX467" fmla="*/ 2302910 w 2656808"/>
                <a:gd name="connsiteY467" fmla="*/ 1020611 h 2555961"/>
                <a:gd name="connsiteX468" fmla="*/ 2301908 w 2656808"/>
                <a:gd name="connsiteY468" fmla="*/ 1018857 h 2555961"/>
                <a:gd name="connsiteX469" fmla="*/ 2303311 w 2656808"/>
                <a:gd name="connsiteY469" fmla="*/ 1017404 h 2555961"/>
                <a:gd name="connsiteX470" fmla="*/ 2330521 w 2656808"/>
                <a:gd name="connsiteY470" fmla="*/ 1003774 h 2555961"/>
                <a:gd name="connsiteX471" fmla="*/ 2360336 w 2656808"/>
                <a:gd name="connsiteY471" fmla="*/ 984081 h 2555961"/>
                <a:gd name="connsiteX472" fmla="*/ 2367302 w 2656808"/>
                <a:gd name="connsiteY472" fmla="*/ 973307 h 2555961"/>
                <a:gd name="connsiteX473" fmla="*/ 2371110 w 2656808"/>
                <a:gd name="connsiteY473" fmla="*/ 967194 h 2555961"/>
                <a:gd name="connsiteX474" fmla="*/ 2372363 w 2656808"/>
                <a:gd name="connsiteY474" fmla="*/ 965189 h 2555961"/>
                <a:gd name="connsiteX475" fmla="*/ 2383888 w 2656808"/>
                <a:gd name="connsiteY475" fmla="*/ 970701 h 2555961"/>
                <a:gd name="connsiteX476" fmla="*/ 2404884 w 2656808"/>
                <a:gd name="connsiteY476" fmla="*/ 980573 h 2555961"/>
                <a:gd name="connsiteX477" fmla="*/ 2408843 w 2656808"/>
                <a:gd name="connsiteY477" fmla="*/ 982427 h 2555961"/>
                <a:gd name="connsiteX478" fmla="*/ 2436303 w 2656808"/>
                <a:gd name="connsiteY478" fmla="*/ 990094 h 2555961"/>
                <a:gd name="connsiteX479" fmla="*/ 2446475 w 2656808"/>
                <a:gd name="connsiteY479" fmla="*/ 967444 h 2555961"/>
                <a:gd name="connsiteX480" fmla="*/ 2447177 w 2656808"/>
                <a:gd name="connsiteY480" fmla="*/ 966993 h 2555961"/>
                <a:gd name="connsiteX481" fmla="*/ 2474136 w 2656808"/>
                <a:gd name="connsiteY481" fmla="*/ 943943 h 2555961"/>
                <a:gd name="connsiteX482" fmla="*/ 2474437 w 2656808"/>
                <a:gd name="connsiteY482" fmla="*/ 943441 h 2555961"/>
                <a:gd name="connsiteX483" fmla="*/ 2496886 w 2656808"/>
                <a:gd name="connsiteY483" fmla="*/ 907613 h 2555961"/>
                <a:gd name="connsiteX484" fmla="*/ 2503751 w 2656808"/>
                <a:gd name="connsiteY484" fmla="*/ 896739 h 2555961"/>
                <a:gd name="connsiteX485" fmla="*/ 2502448 w 2656808"/>
                <a:gd name="connsiteY485" fmla="*/ 892930 h 2555961"/>
                <a:gd name="connsiteX486" fmla="*/ 2499542 w 2656808"/>
                <a:gd name="connsiteY486" fmla="*/ 879802 h 2555961"/>
                <a:gd name="connsiteX487" fmla="*/ 2502549 w 2656808"/>
                <a:gd name="connsiteY487" fmla="*/ 864969 h 2555961"/>
                <a:gd name="connsiteX488" fmla="*/ 2504052 w 2656808"/>
                <a:gd name="connsiteY488" fmla="*/ 859808 h 2555961"/>
                <a:gd name="connsiteX489" fmla="*/ 2497387 w 2656808"/>
                <a:gd name="connsiteY489" fmla="*/ 854897 h 2555961"/>
                <a:gd name="connsiteX490" fmla="*/ 2480350 w 2656808"/>
                <a:gd name="connsiteY490" fmla="*/ 842520 h 2555961"/>
                <a:gd name="connsiteX491" fmla="*/ 2470579 w 2656808"/>
                <a:gd name="connsiteY491" fmla="*/ 824530 h 2555961"/>
                <a:gd name="connsiteX492" fmla="*/ 2470579 w 2656808"/>
                <a:gd name="connsiteY492" fmla="*/ 822726 h 2555961"/>
                <a:gd name="connsiteX493" fmla="*/ 2482756 w 2656808"/>
                <a:gd name="connsiteY493" fmla="*/ 761993 h 2555961"/>
                <a:gd name="connsiteX494" fmla="*/ 2482805 w 2656808"/>
                <a:gd name="connsiteY494" fmla="*/ 761441 h 2555961"/>
                <a:gd name="connsiteX495" fmla="*/ 2482805 w 2656808"/>
                <a:gd name="connsiteY495" fmla="*/ 760991 h 2555961"/>
                <a:gd name="connsiteX496" fmla="*/ 2469977 w 2656808"/>
                <a:gd name="connsiteY496" fmla="*/ 732328 h 2555961"/>
                <a:gd name="connsiteX497" fmla="*/ 2480400 w 2656808"/>
                <a:gd name="connsiteY497" fmla="*/ 697651 h 2555961"/>
                <a:gd name="connsiteX498" fmla="*/ 2482805 w 2656808"/>
                <a:gd name="connsiteY498" fmla="*/ 670943 h 2555961"/>
                <a:gd name="connsiteX499" fmla="*/ 2480751 w 2656808"/>
                <a:gd name="connsiteY499" fmla="*/ 653855 h 2555961"/>
                <a:gd name="connsiteX500" fmla="*/ 2480801 w 2656808"/>
                <a:gd name="connsiteY500" fmla="*/ 649095 h 2555961"/>
                <a:gd name="connsiteX501" fmla="*/ 2483307 w 2656808"/>
                <a:gd name="connsiteY501" fmla="*/ 643332 h 2555961"/>
                <a:gd name="connsiteX502" fmla="*/ 2484309 w 2656808"/>
                <a:gd name="connsiteY502" fmla="*/ 641879 h 2555961"/>
                <a:gd name="connsiteX503" fmla="*/ 2484910 w 2656808"/>
                <a:gd name="connsiteY503" fmla="*/ 640827 h 2555961"/>
                <a:gd name="connsiteX504" fmla="*/ 2504753 w 2656808"/>
                <a:gd name="connsiteY504" fmla="*/ 636517 h 2555961"/>
                <a:gd name="connsiteX505" fmla="*/ 2511268 w 2656808"/>
                <a:gd name="connsiteY505" fmla="*/ 621083 h 2555961"/>
                <a:gd name="connsiteX506" fmla="*/ 2521591 w 2656808"/>
                <a:gd name="connsiteY506" fmla="*/ 618227 h 2555961"/>
                <a:gd name="connsiteX507" fmla="*/ 2552559 w 2656808"/>
                <a:gd name="connsiteY507" fmla="*/ 609658 h 2555961"/>
                <a:gd name="connsiteX508" fmla="*/ 2587836 w 2656808"/>
                <a:gd name="connsiteY508" fmla="*/ 590165 h 2555961"/>
                <a:gd name="connsiteX509" fmla="*/ 2594852 w 2656808"/>
                <a:gd name="connsiteY509" fmla="*/ 585154 h 2555961"/>
                <a:gd name="connsiteX510" fmla="*/ 2597006 w 2656808"/>
                <a:gd name="connsiteY510" fmla="*/ 583952 h 2555961"/>
                <a:gd name="connsiteX511" fmla="*/ 2598058 w 2656808"/>
                <a:gd name="connsiteY511" fmla="*/ 583250 h 2555961"/>
                <a:gd name="connsiteX512" fmla="*/ 2620558 w 2656808"/>
                <a:gd name="connsiteY512" fmla="*/ 590466 h 2555961"/>
                <a:gd name="connsiteX513" fmla="*/ 2632785 w 2656808"/>
                <a:gd name="connsiteY513" fmla="*/ 566814 h 2555961"/>
                <a:gd name="connsiteX514" fmla="*/ 2634388 w 2656808"/>
                <a:gd name="connsiteY514" fmla="*/ 562103 h 2555961"/>
                <a:gd name="connsiteX515" fmla="*/ 2648620 w 2656808"/>
                <a:gd name="connsiteY515" fmla="*/ 541909 h 2555961"/>
                <a:gd name="connsiteX516" fmla="*/ 2653981 w 2656808"/>
                <a:gd name="connsiteY516" fmla="*/ 521564 h 2555961"/>
                <a:gd name="connsiteX517" fmla="*/ 2647518 w 2656808"/>
                <a:gd name="connsiteY517" fmla="*/ 511091 h 2555961"/>
                <a:gd name="connsiteX518" fmla="*/ 2644009 w 2656808"/>
                <a:gd name="connsiteY518" fmla="*/ 505780 h 2555961"/>
                <a:gd name="connsiteX519" fmla="*/ 2621210 w 2656808"/>
                <a:gd name="connsiteY519" fmla="*/ 459027 h 2555961"/>
                <a:gd name="connsiteX520" fmla="*/ 2621009 w 2656808"/>
                <a:gd name="connsiteY520" fmla="*/ 458526 h 2555961"/>
                <a:gd name="connsiteX521" fmla="*/ 2621009 w 2656808"/>
                <a:gd name="connsiteY521" fmla="*/ 458025 h 2555961"/>
                <a:gd name="connsiteX522" fmla="*/ 2623765 w 2656808"/>
                <a:gd name="connsiteY522" fmla="*/ 451009 h 2555961"/>
                <a:gd name="connsiteX523" fmla="*/ 2624818 w 2656808"/>
                <a:gd name="connsiteY523" fmla="*/ 443192 h 2555961"/>
                <a:gd name="connsiteX524" fmla="*/ 2617201 w 2656808"/>
                <a:gd name="connsiteY524" fmla="*/ 440536 h 2555961"/>
                <a:gd name="connsiteX525" fmla="*/ 2594100 w 2656808"/>
                <a:gd name="connsiteY525" fmla="*/ 432268 h 2555961"/>
                <a:gd name="connsiteX526" fmla="*/ 2590492 w 2656808"/>
                <a:gd name="connsiteY526" fmla="*/ 430915 h 2555961"/>
                <a:gd name="connsiteX527" fmla="*/ 2569947 w 2656808"/>
                <a:gd name="connsiteY527" fmla="*/ 421745 h 2555961"/>
                <a:gd name="connsiteX528" fmla="*/ 2548550 w 2656808"/>
                <a:gd name="connsiteY528" fmla="*/ 407764 h 2555961"/>
                <a:gd name="connsiteX529" fmla="*/ 2528356 w 2656808"/>
                <a:gd name="connsiteY529" fmla="*/ 394535 h 2555961"/>
                <a:gd name="connsiteX530" fmla="*/ 2517031 w 2656808"/>
                <a:gd name="connsiteY530" fmla="*/ 367476 h 2555961"/>
                <a:gd name="connsiteX531" fmla="*/ 2521089 w 2656808"/>
                <a:gd name="connsiteY531" fmla="*/ 351942 h 2555961"/>
                <a:gd name="connsiteX532" fmla="*/ 2522543 w 2656808"/>
                <a:gd name="connsiteY532" fmla="*/ 346981 h 2555961"/>
                <a:gd name="connsiteX533" fmla="*/ 2507209 w 2656808"/>
                <a:gd name="connsiteY533" fmla="*/ 325333 h 2555961"/>
                <a:gd name="connsiteX534" fmla="*/ 2508312 w 2656808"/>
                <a:gd name="connsiteY534" fmla="*/ 323780 h 2555961"/>
                <a:gd name="connsiteX535" fmla="*/ 2520188 w 2656808"/>
                <a:gd name="connsiteY535" fmla="*/ 306843 h 2555961"/>
                <a:gd name="connsiteX536" fmla="*/ 2545794 w 2656808"/>
                <a:gd name="connsiteY536" fmla="*/ 271365 h 2555961"/>
                <a:gd name="connsiteX537" fmla="*/ 2643157 w 2656808"/>
                <a:gd name="connsiteY537" fmla="*/ 163077 h 2555961"/>
                <a:gd name="connsiteX538" fmla="*/ 2631632 w 2656808"/>
                <a:gd name="connsiteY538" fmla="*/ 141078 h 2555961"/>
                <a:gd name="connsiteX539" fmla="*/ 2617702 w 2656808"/>
                <a:gd name="connsiteY539" fmla="*/ 105901 h 2555961"/>
                <a:gd name="connsiteX540" fmla="*/ 2594200 w 2656808"/>
                <a:gd name="connsiteY540" fmla="*/ 96280 h 2555961"/>
                <a:gd name="connsiteX541" fmla="*/ 2593749 w 2656808"/>
                <a:gd name="connsiteY541" fmla="*/ 95629 h 2555961"/>
                <a:gd name="connsiteX542" fmla="*/ 2589389 w 2656808"/>
                <a:gd name="connsiteY542" fmla="*/ 88463 h 2555961"/>
                <a:gd name="connsiteX543" fmla="*/ 2579568 w 2656808"/>
                <a:gd name="connsiteY543" fmla="*/ 76035 h 2555961"/>
                <a:gd name="connsiteX544" fmla="*/ 2551005 w 2656808"/>
                <a:gd name="connsiteY544" fmla="*/ 55841 h 2555961"/>
                <a:gd name="connsiteX545" fmla="*/ 2545894 w 2656808"/>
                <a:gd name="connsiteY545" fmla="*/ 76988 h 2555961"/>
                <a:gd name="connsiteX546" fmla="*/ 2532464 w 2656808"/>
                <a:gd name="connsiteY546" fmla="*/ 83051 h 2555961"/>
                <a:gd name="connsiteX547" fmla="*/ 2529909 w 2656808"/>
                <a:gd name="connsiteY547" fmla="*/ 95178 h 2555961"/>
                <a:gd name="connsiteX548" fmla="*/ 2524196 w 2656808"/>
                <a:gd name="connsiteY548" fmla="*/ 112165 h 2555961"/>
                <a:gd name="connsiteX549" fmla="*/ 2522192 w 2656808"/>
                <a:gd name="connsiteY549" fmla="*/ 114219 h 2555961"/>
                <a:gd name="connsiteX550" fmla="*/ 2494581 w 2656808"/>
                <a:gd name="connsiteY550" fmla="*/ 83452 h 2555961"/>
                <a:gd name="connsiteX551" fmla="*/ 2427384 w 2656808"/>
                <a:gd name="connsiteY551" fmla="*/ 88262 h 2555961"/>
                <a:gd name="connsiteX552" fmla="*/ 2425980 w 2656808"/>
                <a:gd name="connsiteY552" fmla="*/ 88012 h 2555961"/>
                <a:gd name="connsiteX553" fmla="*/ 2423676 w 2656808"/>
                <a:gd name="connsiteY553" fmla="*/ 82600 h 2555961"/>
                <a:gd name="connsiteX554" fmla="*/ 2418313 w 2656808"/>
                <a:gd name="connsiteY554" fmla="*/ 70022 h 2555961"/>
                <a:gd name="connsiteX555" fmla="*/ 2413603 w 2656808"/>
                <a:gd name="connsiteY555" fmla="*/ 59549 h 2555961"/>
                <a:gd name="connsiteX556" fmla="*/ 2404082 w 2656808"/>
                <a:gd name="connsiteY556" fmla="*/ 37451 h 2555961"/>
                <a:gd name="connsiteX557" fmla="*/ 2381483 w 2656808"/>
                <a:gd name="connsiteY557" fmla="*/ 19411 h 2555961"/>
                <a:gd name="connsiteX558" fmla="*/ 2317442 w 2656808"/>
                <a:gd name="connsiteY558" fmla="*/ 1973 h 2555961"/>
                <a:gd name="connsiteX559" fmla="*/ 2284119 w 2656808"/>
                <a:gd name="connsiteY559" fmla="*/ 7134 h 2555961"/>
                <a:gd name="connsiteX560" fmla="*/ 2189611 w 2656808"/>
                <a:gd name="connsiteY560" fmla="*/ 65963 h 2555961"/>
                <a:gd name="connsiteX561" fmla="*/ 2125771 w 2656808"/>
                <a:gd name="connsiteY561" fmla="*/ 122638 h 2555961"/>
                <a:gd name="connsiteX562" fmla="*/ 2064687 w 2656808"/>
                <a:gd name="connsiteY562" fmla="*/ 164781 h 2555961"/>
                <a:gd name="connsiteX563" fmla="*/ 2063635 w 2656808"/>
                <a:gd name="connsiteY563" fmla="*/ 165181 h 2555961"/>
                <a:gd name="connsiteX564" fmla="*/ 2062582 w 2656808"/>
                <a:gd name="connsiteY564" fmla="*/ 164680 h 2555961"/>
                <a:gd name="connsiteX565" fmla="*/ 2047299 w 2656808"/>
                <a:gd name="connsiteY565" fmla="*/ 157264 h 2555961"/>
                <a:gd name="connsiteX566" fmla="*/ 2011921 w 2656808"/>
                <a:gd name="connsiteY566" fmla="*/ 139375 h 2555961"/>
                <a:gd name="connsiteX567" fmla="*/ 1963815 w 2656808"/>
                <a:gd name="connsiteY567" fmla="*/ 127649 h 2555961"/>
                <a:gd name="connsiteX568" fmla="*/ 1925380 w 2656808"/>
                <a:gd name="connsiteY568" fmla="*/ 123690 h 2555961"/>
                <a:gd name="connsiteX569" fmla="*/ 1918165 w 2656808"/>
                <a:gd name="connsiteY569" fmla="*/ 122738 h 2555961"/>
                <a:gd name="connsiteX570" fmla="*/ 1915609 w 2656808"/>
                <a:gd name="connsiteY570" fmla="*/ 122588 h 2555961"/>
                <a:gd name="connsiteX571" fmla="*/ 1907892 w 2656808"/>
                <a:gd name="connsiteY571" fmla="*/ 128551 h 2555961"/>
                <a:gd name="connsiteX572" fmla="*/ 1890705 w 2656808"/>
                <a:gd name="connsiteY572" fmla="*/ 137170 h 2555961"/>
                <a:gd name="connsiteX573" fmla="*/ 1863745 w 2656808"/>
                <a:gd name="connsiteY573" fmla="*/ 121936 h 2555961"/>
                <a:gd name="connsiteX574" fmla="*/ 1863595 w 2656808"/>
                <a:gd name="connsiteY574" fmla="*/ 121435 h 2555961"/>
                <a:gd name="connsiteX575" fmla="*/ 1863595 w 2656808"/>
                <a:gd name="connsiteY575" fmla="*/ 120884 h 2555961"/>
                <a:gd name="connsiteX576" fmla="*/ 1879680 w 2656808"/>
                <a:gd name="connsiteY576" fmla="*/ 93223 h 2555961"/>
                <a:gd name="connsiteX577" fmla="*/ 1882837 w 2656808"/>
                <a:gd name="connsiteY577" fmla="*/ 89966 h 2555961"/>
                <a:gd name="connsiteX578" fmla="*/ 1821402 w 2656808"/>
                <a:gd name="connsiteY578" fmla="*/ 69772 h 2555961"/>
                <a:gd name="connsiteX579" fmla="*/ 1805467 w 2656808"/>
                <a:gd name="connsiteY579" fmla="*/ 74833 h 2555961"/>
                <a:gd name="connsiteX580" fmla="*/ 1800706 w 2656808"/>
                <a:gd name="connsiteY580" fmla="*/ 76086 h 2555961"/>
                <a:gd name="connsiteX581" fmla="*/ 1783569 w 2656808"/>
                <a:gd name="connsiteY581" fmla="*/ 91068 h 2555961"/>
                <a:gd name="connsiteX582" fmla="*/ 1760218 w 2656808"/>
                <a:gd name="connsiteY582" fmla="*/ 137721 h 2555961"/>
                <a:gd name="connsiteX583" fmla="*/ 1718626 w 2656808"/>
                <a:gd name="connsiteY583" fmla="*/ 212085 h 2555961"/>
                <a:gd name="connsiteX584" fmla="*/ 1708604 w 2656808"/>
                <a:gd name="connsiteY584" fmla="*/ 220854 h 2555961"/>
                <a:gd name="connsiteX585" fmla="*/ 1696979 w 2656808"/>
                <a:gd name="connsiteY585" fmla="*/ 217997 h 2555961"/>
                <a:gd name="connsiteX586" fmla="*/ 1696177 w 2656808"/>
                <a:gd name="connsiteY586" fmla="*/ 217446 h 2555961"/>
                <a:gd name="connsiteX587" fmla="*/ 1694824 w 2656808"/>
                <a:gd name="connsiteY587" fmla="*/ 212585 h 2555961"/>
                <a:gd name="connsiteX588" fmla="*/ 1687157 w 2656808"/>
                <a:gd name="connsiteY588" fmla="*/ 185526 h 2555961"/>
                <a:gd name="connsiteX589" fmla="*/ 1686656 w 2656808"/>
                <a:gd name="connsiteY589" fmla="*/ 183672 h 2555961"/>
                <a:gd name="connsiteX590" fmla="*/ 1705748 w 2656808"/>
                <a:gd name="connsiteY590" fmla="*/ 170343 h 2555961"/>
                <a:gd name="connsiteX591" fmla="*/ 1702591 w 2656808"/>
                <a:gd name="connsiteY591" fmla="*/ 137671 h 2555961"/>
                <a:gd name="connsiteX592" fmla="*/ 1698732 w 2656808"/>
                <a:gd name="connsiteY592" fmla="*/ 140277 h 2555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</a:cxnLst>
              <a:rect l="l" t="t" r="r" b="b"/>
              <a:pathLst>
                <a:path w="2656808" h="2555961">
                  <a:moveTo>
                    <a:pt x="1698382" y="140427"/>
                  </a:moveTo>
                  <a:cubicBezTo>
                    <a:pt x="1691968" y="144737"/>
                    <a:pt x="1685303" y="149196"/>
                    <a:pt x="1678638" y="153355"/>
                  </a:cubicBezTo>
                  <a:cubicBezTo>
                    <a:pt x="1675431" y="155360"/>
                    <a:pt x="1672675" y="158166"/>
                    <a:pt x="1669719" y="161122"/>
                  </a:cubicBezTo>
                  <a:cubicBezTo>
                    <a:pt x="1664958" y="165933"/>
                    <a:pt x="1659597" y="171345"/>
                    <a:pt x="1651379" y="174001"/>
                  </a:cubicBezTo>
                  <a:lnTo>
                    <a:pt x="1649123" y="174702"/>
                  </a:lnTo>
                  <a:lnTo>
                    <a:pt x="1637197" y="148896"/>
                  </a:lnTo>
                  <a:lnTo>
                    <a:pt x="1638350" y="147593"/>
                  </a:lnTo>
                  <a:cubicBezTo>
                    <a:pt x="1640404" y="145288"/>
                    <a:pt x="1642359" y="142983"/>
                    <a:pt x="1644313" y="140678"/>
                  </a:cubicBezTo>
                  <a:cubicBezTo>
                    <a:pt x="1654836" y="128250"/>
                    <a:pt x="1664758" y="116524"/>
                    <a:pt x="1681745" y="112315"/>
                  </a:cubicBezTo>
                  <a:cubicBezTo>
                    <a:pt x="1686856" y="111063"/>
                    <a:pt x="1689412" y="108908"/>
                    <a:pt x="1689963" y="105400"/>
                  </a:cubicBezTo>
                  <a:cubicBezTo>
                    <a:pt x="1689763" y="105400"/>
                    <a:pt x="1689613" y="105350"/>
                    <a:pt x="1689462" y="105300"/>
                  </a:cubicBezTo>
                  <a:cubicBezTo>
                    <a:pt x="1687558" y="104999"/>
                    <a:pt x="1685704" y="104698"/>
                    <a:pt x="1684101" y="104849"/>
                  </a:cubicBezTo>
                  <a:lnTo>
                    <a:pt x="1681645" y="105049"/>
                  </a:lnTo>
                  <a:cubicBezTo>
                    <a:pt x="1655688" y="107254"/>
                    <a:pt x="1628829" y="109509"/>
                    <a:pt x="1604275" y="120634"/>
                  </a:cubicBezTo>
                  <a:cubicBezTo>
                    <a:pt x="1597410" y="123740"/>
                    <a:pt x="1590144" y="126196"/>
                    <a:pt x="1583179" y="128601"/>
                  </a:cubicBezTo>
                  <a:cubicBezTo>
                    <a:pt x="1577667" y="130455"/>
                    <a:pt x="1571954" y="132409"/>
                    <a:pt x="1566542" y="134664"/>
                  </a:cubicBezTo>
                  <a:cubicBezTo>
                    <a:pt x="1541537" y="144937"/>
                    <a:pt x="1521343" y="148745"/>
                    <a:pt x="1500948" y="146991"/>
                  </a:cubicBezTo>
                  <a:cubicBezTo>
                    <a:pt x="1496639" y="146591"/>
                    <a:pt x="1491678" y="147042"/>
                    <a:pt x="1485364" y="148394"/>
                  </a:cubicBezTo>
                  <a:cubicBezTo>
                    <a:pt x="1484462" y="148595"/>
                    <a:pt x="1483159" y="149748"/>
                    <a:pt x="1481706" y="151050"/>
                  </a:cubicBezTo>
                  <a:cubicBezTo>
                    <a:pt x="1481405" y="151301"/>
                    <a:pt x="1481105" y="151602"/>
                    <a:pt x="1480754" y="151902"/>
                  </a:cubicBezTo>
                  <a:lnTo>
                    <a:pt x="1499846" y="166785"/>
                  </a:lnTo>
                  <a:lnTo>
                    <a:pt x="1498994" y="171696"/>
                  </a:lnTo>
                  <a:cubicBezTo>
                    <a:pt x="1498643" y="173650"/>
                    <a:pt x="1498392" y="175203"/>
                    <a:pt x="1498092" y="176707"/>
                  </a:cubicBezTo>
                  <a:cubicBezTo>
                    <a:pt x="1495436" y="189735"/>
                    <a:pt x="1489824" y="205119"/>
                    <a:pt x="1470030" y="208477"/>
                  </a:cubicBezTo>
                  <a:cubicBezTo>
                    <a:pt x="1464418" y="209429"/>
                    <a:pt x="1460659" y="213337"/>
                    <a:pt x="1457803" y="221104"/>
                  </a:cubicBezTo>
                  <a:cubicBezTo>
                    <a:pt x="1456500" y="224662"/>
                    <a:pt x="1455097" y="228170"/>
                    <a:pt x="1453694" y="231677"/>
                  </a:cubicBezTo>
                  <a:cubicBezTo>
                    <a:pt x="1451890" y="236137"/>
                    <a:pt x="1450086" y="240747"/>
                    <a:pt x="1448533" y="245307"/>
                  </a:cubicBezTo>
                  <a:cubicBezTo>
                    <a:pt x="1448132" y="246460"/>
                    <a:pt x="1448232" y="248114"/>
                    <a:pt x="1448383" y="250218"/>
                  </a:cubicBezTo>
                  <a:cubicBezTo>
                    <a:pt x="1448383" y="250569"/>
                    <a:pt x="1448383" y="250920"/>
                    <a:pt x="1448433" y="251321"/>
                  </a:cubicBezTo>
                  <a:lnTo>
                    <a:pt x="1468777" y="247111"/>
                  </a:lnTo>
                  <a:lnTo>
                    <a:pt x="1469529" y="249316"/>
                  </a:lnTo>
                  <a:cubicBezTo>
                    <a:pt x="1470531" y="252223"/>
                    <a:pt x="1471383" y="255129"/>
                    <a:pt x="1472185" y="257985"/>
                  </a:cubicBezTo>
                  <a:cubicBezTo>
                    <a:pt x="1473788" y="263698"/>
                    <a:pt x="1475342" y="269060"/>
                    <a:pt x="1478198" y="273319"/>
                  </a:cubicBezTo>
                  <a:cubicBezTo>
                    <a:pt x="1486817" y="286348"/>
                    <a:pt x="1491678" y="299176"/>
                    <a:pt x="1493031" y="312505"/>
                  </a:cubicBezTo>
                  <a:cubicBezTo>
                    <a:pt x="1494383" y="313557"/>
                    <a:pt x="1495736" y="314509"/>
                    <a:pt x="1497039" y="315512"/>
                  </a:cubicBezTo>
                  <a:cubicBezTo>
                    <a:pt x="1500798" y="318218"/>
                    <a:pt x="1504656" y="320974"/>
                    <a:pt x="1507312" y="324732"/>
                  </a:cubicBezTo>
                  <a:cubicBezTo>
                    <a:pt x="1511822" y="331146"/>
                    <a:pt x="1511872" y="339414"/>
                    <a:pt x="1507412" y="347983"/>
                  </a:cubicBezTo>
                  <a:lnTo>
                    <a:pt x="1507011" y="348785"/>
                  </a:lnTo>
                  <a:lnTo>
                    <a:pt x="1493081" y="355199"/>
                  </a:lnTo>
                  <a:lnTo>
                    <a:pt x="1492680" y="356953"/>
                  </a:lnTo>
                  <a:cubicBezTo>
                    <a:pt x="1492329" y="358506"/>
                    <a:pt x="1492028" y="359909"/>
                    <a:pt x="1491728" y="361362"/>
                  </a:cubicBezTo>
                  <a:cubicBezTo>
                    <a:pt x="1491277" y="364068"/>
                    <a:pt x="1490224" y="369781"/>
                    <a:pt x="1483009" y="369581"/>
                  </a:cubicBezTo>
                  <a:lnTo>
                    <a:pt x="1482107" y="369581"/>
                  </a:lnTo>
                  <a:cubicBezTo>
                    <a:pt x="1482107" y="369581"/>
                    <a:pt x="1481405" y="368979"/>
                    <a:pt x="1481405" y="368979"/>
                  </a:cubicBezTo>
                  <a:cubicBezTo>
                    <a:pt x="1475442" y="364269"/>
                    <a:pt x="1469128" y="359358"/>
                    <a:pt x="1462513" y="354147"/>
                  </a:cubicBezTo>
                  <a:lnTo>
                    <a:pt x="1437058" y="364620"/>
                  </a:lnTo>
                  <a:cubicBezTo>
                    <a:pt x="1435254" y="371685"/>
                    <a:pt x="1435354" y="378851"/>
                    <a:pt x="1435454" y="386417"/>
                  </a:cubicBezTo>
                  <a:cubicBezTo>
                    <a:pt x="1435604" y="395487"/>
                    <a:pt x="1435755" y="404858"/>
                    <a:pt x="1432397" y="414479"/>
                  </a:cubicBezTo>
                  <a:lnTo>
                    <a:pt x="1431546" y="416884"/>
                  </a:lnTo>
                  <a:lnTo>
                    <a:pt x="1429090" y="416183"/>
                  </a:lnTo>
                  <a:cubicBezTo>
                    <a:pt x="1427436" y="415682"/>
                    <a:pt x="1425833" y="415331"/>
                    <a:pt x="1424279" y="414980"/>
                  </a:cubicBezTo>
                  <a:cubicBezTo>
                    <a:pt x="1420822" y="414178"/>
                    <a:pt x="1417565" y="413427"/>
                    <a:pt x="1414709" y="411673"/>
                  </a:cubicBezTo>
                  <a:cubicBezTo>
                    <a:pt x="1397320" y="400799"/>
                    <a:pt x="1378178" y="397793"/>
                    <a:pt x="1357934" y="394585"/>
                  </a:cubicBezTo>
                  <a:cubicBezTo>
                    <a:pt x="1354627" y="394084"/>
                    <a:pt x="1351319" y="393533"/>
                    <a:pt x="1348012" y="392982"/>
                  </a:cubicBezTo>
                  <a:cubicBezTo>
                    <a:pt x="1332679" y="390426"/>
                    <a:pt x="1323658" y="394185"/>
                    <a:pt x="1316894" y="406011"/>
                  </a:cubicBezTo>
                  <a:cubicBezTo>
                    <a:pt x="1307674" y="422146"/>
                    <a:pt x="1293041" y="432920"/>
                    <a:pt x="1278910" y="443292"/>
                  </a:cubicBezTo>
                  <a:cubicBezTo>
                    <a:pt x="1276505" y="445046"/>
                    <a:pt x="1274100" y="446850"/>
                    <a:pt x="1271694" y="448654"/>
                  </a:cubicBezTo>
                  <a:cubicBezTo>
                    <a:pt x="1265030" y="453715"/>
                    <a:pt x="1257764" y="455219"/>
                    <a:pt x="1249495" y="453264"/>
                  </a:cubicBezTo>
                  <a:cubicBezTo>
                    <a:pt x="1233561" y="449556"/>
                    <a:pt x="1215471" y="445297"/>
                    <a:pt x="1200788" y="433120"/>
                  </a:cubicBezTo>
                  <a:cubicBezTo>
                    <a:pt x="1198233" y="430965"/>
                    <a:pt x="1195176" y="429212"/>
                    <a:pt x="1191669" y="427207"/>
                  </a:cubicBezTo>
                  <a:cubicBezTo>
                    <a:pt x="1190817" y="426706"/>
                    <a:pt x="1189915" y="426205"/>
                    <a:pt x="1189013" y="425654"/>
                  </a:cubicBezTo>
                  <a:cubicBezTo>
                    <a:pt x="1188712" y="426656"/>
                    <a:pt x="1188462" y="427608"/>
                    <a:pt x="1188161" y="428560"/>
                  </a:cubicBezTo>
                  <a:cubicBezTo>
                    <a:pt x="1187058" y="432318"/>
                    <a:pt x="1186106" y="435575"/>
                    <a:pt x="1185755" y="438833"/>
                  </a:cubicBezTo>
                  <a:cubicBezTo>
                    <a:pt x="1184002" y="455569"/>
                    <a:pt x="1182448" y="472657"/>
                    <a:pt x="1180945" y="489143"/>
                  </a:cubicBezTo>
                  <a:lnTo>
                    <a:pt x="1178239" y="518758"/>
                  </a:lnTo>
                  <a:cubicBezTo>
                    <a:pt x="1176986" y="532138"/>
                    <a:pt x="1175784" y="545467"/>
                    <a:pt x="1174681" y="558846"/>
                  </a:cubicBezTo>
                  <a:cubicBezTo>
                    <a:pt x="1173529" y="573078"/>
                    <a:pt x="1168969" y="581246"/>
                    <a:pt x="1160650" y="583701"/>
                  </a:cubicBezTo>
                  <a:lnTo>
                    <a:pt x="1159949" y="583901"/>
                  </a:lnTo>
                  <a:lnTo>
                    <a:pt x="1159248" y="583701"/>
                  </a:lnTo>
                  <a:cubicBezTo>
                    <a:pt x="1155589" y="582749"/>
                    <a:pt x="1152282" y="581747"/>
                    <a:pt x="1149275" y="580795"/>
                  </a:cubicBezTo>
                  <a:cubicBezTo>
                    <a:pt x="1143463" y="578991"/>
                    <a:pt x="1139003" y="577537"/>
                    <a:pt x="1134493" y="577688"/>
                  </a:cubicBezTo>
                  <a:cubicBezTo>
                    <a:pt x="1120212" y="578239"/>
                    <a:pt x="1110089" y="572877"/>
                    <a:pt x="1102673" y="560650"/>
                  </a:cubicBezTo>
                  <a:cubicBezTo>
                    <a:pt x="1102573" y="560600"/>
                    <a:pt x="1101821" y="560249"/>
                    <a:pt x="1101320" y="560049"/>
                  </a:cubicBezTo>
                  <a:cubicBezTo>
                    <a:pt x="1100919" y="559899"/>
                    <a:pt x="1100518" y="559698"/>
                    <a:pt x="1100117" y="559498"/>
                  </a:cubicBezTo>
                  <a:cubicBezTo>
                    <a:pt x="1093302" y="558596"/>
                    <a:pt x="1086538" y="557694"/>
                    <a:pt x="1078871" y="556642"/>
                  </a:cubicBezTo>
                  <a:lnTo>
                    <a:pt x="1077668" y="556491"/>
                  </a:lnTo>
                  <a:lnTo>
                    <a:pt x="1077017" y="555489"/>
                  </a:lnTo>
                  <a:cubicBezTo>
                    <a:pt x="1068247" y="542460"/>
                    <a:pt x="1059528" y="529382"/>
                    <a:pt x="1050759" y="516303"/>
                  </a:cubicBezTo>
                  <a:cubicBezTo>
                    <a:pt x="1045648" y="508636"/>
                    <a:pt x="1041388" y="502974"/>
                    <a:pt x="1033421" y="500268"/>
                  </a:cubicBezTo>
                  <a:cubicBezTo>
                    <a:pt x="1029712" y="499015"/>
                    <a:pt x="1026957" y="495708"/>
                    <a:pt x="1024351" y="492501"/>
                  </a:cubicBezTo>
                  <a:cubicBezTo>
                    <a:pt x="1023198" y="491098"/>
                    <a:pt x="1022046" y="489694"/>
                    <a:pt x="1020743" y="488392"/>
                  </a:cubicBezTo>
                  <a:lnTo>
                    <a:pt x="1018989" y="486638"/>
                  </a:lnTo>
                  <a:lnTo>
                    <a:pt x="1020593" y="484733"/>
                  </a:lnTo>
                  <a:cubicBezTo>
                    <a:pt x="1022096" y="482980"/>
                    <a:pt x="1023499" y="481326"/>
                    <a:pt x="1024852" y="479722"/>
                  </a:cubicBezTo>
                  <a:cubicBezTo>
                    <a:pt x="1028059" y="475964"/>
                    <a:pt x="1030865" y="472757"/>
                    <a:pt x="1033370" y="469300"/>
                  </a:cubicBezTo>
                  <a:cubicBezTo>
                    <a:pt x="1034273" y="468047"/>
                    <a:pt x="1035275" y="466293"/>
                    <a:pt x="1034924" y="464790"/>
                  </a:cubicBezTo>
                  <a:cubicBezTo>
                    <a:pt x="1034723" y="463938"/>
                    <a:pt x="1034122" y="463136"/>
                    <a:pt x="1033070" y="462384"/>
                  </a:cubicBezTo>
                  <a:lnTo>
                    <a:pt x="1016032" y="473809"/>
                  </a:lnTo>
                  <a:lnTo>
                    <a:pt x="1014479" y="472657"/>
                  </a:lnTo>
                  <a:cubicBezTo>
                    <a:pt x="1003004" y="464088"/>
                    <a:pt x="994285" y="456070"/>
                    <a:pt x="989023" y="444946"/>
                  </a:cubicBezTo>
                  <a:cubicBezTo>
                    <a:pt x="984814" y="435876"/>
                    <a:pt x="977548" y="430815"/>
                    <a:pt x="970282" y="426706"/>
                  </a:cubicBezTo>
                  <a:cubicBezTo>
                    <a:pt x="954648" y="417786"/>
                    <a:pt x="941669" y="410220"/>
                    <a:pt x="929392" y="402854"/>
                  </a:cubicBezTo>
                  <a:cubicBezTo>
                    <a:pt x="927538" y="401751"/>
                    <a:pt x="926185" y="400148"/>
                    <a:pt x="924481" y="398093"/>
                  </a:cubicBezTo>
                  <a:cubicBezTo>
                    <a:pt x="923630" y="397091"/>
                    <a:pt x="922627" y="395888"/>
                    <a:pt x="921374" y="394585"/>
                  </a:cubicBezTo>
                  <a:lnTo>
                    <a:pt x="918468" y="391479"/>
                  </a:lnTo>
                  <a:lnTo>
                    <a:pt x="922527" y="390176"/>
                  </a:lnTo>
                  <a:cubicBezTo>
                    <a:pt x="936558" y="385666"/>
                    <a:pt x="951340" y="383260"/>
                    <a:pt x="963968" y="396039"/>
                  </a:cubicBezTo>
                  <a:cubicBezTo>
                    <a:pt x="967776" y="399897"/>
                    <a:pt x="971685" y="403706"/>
                    <a:pt x="975544" y="407514"/>
                  </a:cubicBezTo>
                  <a:cubicBezTo>
                    <a:pt x="979001" y="410871"/>
                    <a:pt x="982409" y="414229"/>
                    <a:pt x="985816" y="417686"/>
                  </a:cubicBezTo>
                  <a:cubicBezTo>
                    <a:pt x="989524" y="421445"/>
                    <a:pt x="994235" y="423299"/>
                    <a:pt x="1001150" y="423699"/>
                  </a:cubicBezTo>
                  <a:cubicBezTo>
                    <a:pt x="1012875" y="424451"/>
                    <a:pt x="1020993" y="419640"/>
                    <a:pt x="1026606" y="408666"/>
                  </a:cubicBezTo>
                  <a:cubicBezTo>
                    <a:pt x="1024501" y="394786"/>
                    <a:pt x="1019690" y="385065"/>
                    <a:pt x="1011573" y="378049"/>
                  </a:cubicBezTo>
                  <a:cubicBezTo>
                    <a:pt x="1002904" y="370683"/>
                    <a:pt x="999196" y="361112"/>
                    <a:pt x="1000849" y="350388"/>
                  </a:cubicBezTo>
                  <a:cubicBezTo>
                    <a:pt x="1003054" y="335706"/>
                    <a:pt x="997943" y="322778"/>
                    <a:pt x="992481" y="309047"/>
                  </a:cubicBezTo>
                  <a:lnTo>
                    <a:pt x="990476" y="303936"/>
                  </a:lnTo>
                  <a:cubicBezTo>
                    <a:pt x="987720" y="296720"/>
                    <a:pt x="981958" y="288051"/>
                    <a:pt x="970182" y="287801"/>
                  </a:cubicBezTo>
                  <a:cubicBezTo>
                    <a:pt x="959558" y="287600"/>
                    <a:pt x="952192" y="282038"/>
                    <a:pt x="945528" y="276426"/>
                  </a:cubicBezTo>
                  <a:lnTo>
                    <a:pt x="944425" y="275474"/>
                  </a:lnTo>
                  <a:cubicBezTo>
                    <a:pt x="934704" y="267306"/>
                    <a:pt x="924682" y="258837"/>
                    <a:pt x="914660" y="250769"/>
                  </a:cubicBezTo>
                  <a:cubicBezTo>
                    <a:pt x="911904" y="248565"/>
                    <a:pt x="908797" y="246660"/>
                    <a:pt x="905740" y="244856"/>
                  </a:cubicBezTo>
                  <a:cubicBezTo>
                    <a:pt x="904738" y="244255"/>
                    <a:pt x="903736" y="243604"/>
                    <a:pt x="902734" y="243002"/>
                  </a:cubicBezTo>
                  <a:cubicBezTo>
                    <a:pt x="901481" y="243503"/>
                    <a:pt x="900278" y="244005"/>
                    <a:pt x="899126" y="244456"/>
                  </a:cubicBezTo>
                  <a:cubicBezTo>
                    <a:pt x="895869" y="245758"/>
                    <a:pt x="893062" y="246911"/>
                    <a:pt x="890607" y="248414"/>
                  </a:cubicBezTo>
                  <a:cubicBezTo>
                    <a:pt x="875023" y="258236"/>
                    <a:pt x="857835" y="259639"/>
                    <a:pt x="841650" y="259739"/>
                  </a:cubicBezTo>
                  <a:cubicBezTo>
                    <a:pt x="824261" y="259839"/>
                    <a:pt x="811533" y="255931"/>
                    <a:pt x="800358" y="247111"/>
                  </a:cubicBezTo>
                  <a:cubicBezTo>
                    <a:pt x="790537" y="239394"/>
                    <a:pt x="778160" y="235235"/>
                    <a:pt x="763528" y="234834"/>
                  </a:cubicBezTo>
                  <a:cubicBezTo>
                    <a:pt x="752954" y="242602"/>
                    <a:pt x="748645" y="253626"/>
                    <a:pt x="744085" y="265301"/>
                  </a:cubicBezTo>
                  <a:cubicBezTo>
                    <a:pt x="742732" y="268759"/>
                    <a:pt x="741379" y="272217"/>
                    <a:pt x="739826" y="275624"/>
                  </a:cubicBezTo>
                  <a:cubicBezTo>
                    <a:pt x="735116" y="286047"/>
                    <a:pt x="734464" y="295618"/>
                    <a:pt x="737771" y="305790"/>
                  </a:cubicBezTo>
                  <a:cubicBezTo>
                    <a:pt x="742832" y="321224"/>
                    <a:pt x="744636" y="338111"/>
                    <a:pt x="743083" y="355900"/>
                  </a:cubicBezTo>
                  <a:cubicBezTo>
                    <a:pt x="742832" y="358707"/>
                    <a:pt x="741830" y="361362"/>
                    <a:pt x="740878" y="363868"/>
                  </a:cubicBezTo>
                  <a:cubicBezTo>
                    <a:pt x="740477" y="364920"/>
                    <a:pt x="740076" y="366023"/>
                    <a:pt x="739725" y="367075"/>
                  </a:cubicBezTo>
                  <a:lnTo>
                    <a:pt x="739024" y="369230"/>
                  </a:lnTo>
                  <a:lnTo>
                    <a:pt x="736769" y="368879"/>
                  </a:lnTo>
                  <a:cubicBezTo>
                    <a:pt x="735516" y="368679"/>
                    <a:pt x="734464" y="368628"/>
                    <a:pt x="733462" y="368528"/>
                  </a:cubicBezTo>
                  <a:cubicBezTo>
                    <a:pt x="731407" y="368328"/>
                    <a:pt x="729603" y="368177"/>
                    <a:pt x="727849" y="367426"/>
                  </a:cubicBezTo>
                  <a:cubicBezTo>
                    <a:pt x="713367" y="361012"/>
                    <a:pt x="702143" y="358957"/>
                    <a:pt x="690918" y="368478"/>
                  </a:cubicBezTo>
                  <a:cubicBezTo>
                    <a:pt x="688463" y="370533"/>
                    <a:pt x="684905" y="370733"/>
                    <a:pt x="681748" y="370883"/>
                  </a:cubicBezTo>
                  <a:lnTo>
                    <a:pt x="680295" y="370984"/>
                  </a:lnTo>
                  <a:cubicBezTo>
                    <a:pt x="670524" y="371635"/>
                    <a:pt x="662105" y="374992"/>
                    <a:pt x="655992" y="380605"/>
                  </a:cubicBezTo>
                  <a:cubicBezTo>
                    <a:pt x="647473" y="388372"/>
                    <a:pt x="638553" y="389775"/>
                    <a:pt x="627078" y="385165"/>
                  </a:cubicBezTo>
                  <a:cubicBezTo>
                    <a:pt x="625174" y="384363"/>
                    <a:pt x="623169" y="383762"/>
                    <a:pt x="621165" y="383160"/>
                  </a:cubicBezTo>
                  <a:cubicBezTo>
                    <a:pt x="617858" y="382108"/>
                    <a:pt x="614400" y="381056"/>
                    <a:pt x="611293" y="379302"/>
                  </a:cubicBezTo>
                  <a:cubicBezTo>
                    <a:pt x="599768" y="372737"/>
                    <a:pt x="586839" y="370232"/>
                    <a:pt x="569301" y="370933"/>
                  </a:cubicBezTo>
                  <a:cubicBezTo>
                    <a:pt x="562737" y="371234"/>
                    <a:pt x="555170" y="371485"/>
                    <a:pt x="547654" y="370683"/>
                  </a:cubicBezTo>
                  <a:cubicBezTo>
                    <a:pt x="540487" y="369931"/>
                    <a:pt x="534124" y="368428"/>
                    <a:pt x="528712" y="366173"/>
                  </a:cubicBezTo>
                  <a:cubicBezTo>
                    <a:pt x="522097" y="363417"/>
                    <a:pt x="517236" y="358606"/>
                    <a:pt x="515032" y="352693"/>
                  </a:cubicBezTo>
                  <a:cubicBezTo>
                    <a:pt x="512827" y="346730"/>
                    <a:pt x="513478" y="339915"/>
                    <a:pt x="516785" y="333451"/>
                  </a:cubicBezTo>
                  <a:cubicBezTo>
                    <a:pt x="517938" y="331196"/>
                    <a:pt x="519592" y="329342"/>
                    <a:pt x="521145" y="327488"/>
                  </a:cubicBezTo>
                  <a:cubicBezTo>
                    <a:pt x="522198" y="326285"/>
                    <a:pt x="523250" y="325133"/>
                    <a:pt x="524102" y="323830"/>
                  </a:cubicBezTo>
                  <a:cubicBezTo>
                    <a:pt x="525104" y="322377"/>
                    <a:pt x="525856" y="320673"/>
                    <a:pt x="526908" y="318318"/>
                  </a:cubicBezTo>
                  <a:cubicBezTo>
                    <a:pt x="527008" y="318117"/>
                    <a:pt x="527108" y="317917"/>
                    <a:pt x="527209" y="317717"/>
                  </a:cubicBezTo>
                  <a:cubicBezTo>
                    <a:pt x="526608" y="317566"/>
                    <a:pt x="526006" y="317416"/>
                    <a:pt x="525454" y="317266"/>
                  </a:cubicBezTo>
                  <a:cubicBezTo>
                    <a:pt x="522749" y="316514"/>
                    <a:pt x="520594" y="315963"/>
                    <a:pt x="518539" y="315913"/>
                  </a:cubicBezTo>
                  <a:cubicBezTo>
                    <a:pt x="505762" y="315612"/>
                    <a:pt x="492132" y="315361"/>
                    <a:pt x="478451" y="315762"/>
                  </a:cubicBezTo>
                  <a:cubicBezTo>
                    <a:pt x="466926" y="316063"/>
                    <a:pt x="453296" y="315462"/>
                    <a:pt x="438614" y="308296"/>
                  </a:cubicBezTo>
                  <a:cubicBezTo>
                    <a:pt x="430245" y="316414"/>
                    <a:pt x="419823" y="317115"/>
                    <a:pt x="406794" y="310401"/>
                  </a:cubicBezTo>
                  <a:cubicBezTo>
                    <a:pt x="405541" y="309749"/>
                    <a:pt x="404188" y="309047"/>
                    <a:pt x="402835" y="308596"/>
                  </a:cubicBezTo>
                  <a:cubicBezTo>
                    <a:pt x="391059" y="304588"/>
                    <a:pt x="382340" y="306342"/>
                    <a:pt x="375475" y="314008"/>
                  </a:cubicBezTo>
                  <a:cubicBezTo>
                    <a:pt x="366155" y="324431"/>
                    <a:pt x="354078" y="329843"/>
                    <a:pt x="340398" y="335305"/>
                  </a:cubicBezTo>
                  <a:cubicBezTo>
                    <a:pt x="336740" y="336758"/>
                    <a:pt x="333132" y="338312"/>
                    <a:pt x="329875" y="339665"/>
                  </a:cubicBezTo>
                  <a:lnTo>
                    <a:pt x="325415" y="341519"/>
                  </a:lnTo>
                  <a:cubicBezTo>
                    <a:pt x="323060" y="345277"/>
                    <a:pt x="322809" y="349436"/>
                    <a:pt x="322559" y="353796"/>
                  </a:cubicBezTo>
                  <a:cubicBezTo>
                    <a:pt x="322258" y="359108"/>
                    <a:pt x="321907" y="365171"/>
                    <a:pt x="317548" y="370733"/>
                  </a:cubicBezTo>
                  <a:lnTo>
                    <a:pt x="315844" y="372888"/>
                  </a:lnTo>
                  <a:lnTo>
                    <a:pt x="313739" y="371134"/>
                  </a:lnTo>
                  <a:cubicBezTo>
                    <a:pt x="305221" y="364018"/>
                    <a:pt x="297153" y="357303"/>
                    <a:pt x="291140" y="347181"/>
                  </a:cubicBezTo>
                  <a:lnTo>
                    <a:pt x="290388" y="345878"/>
                  </a:lnTo>
                  <a:lnTo>
                    <a:pt x="291090" y="344575"/>
                  </a:lnTo>
                  <a:cubicBezTo>
                    <a:pt x="299859" y="327739"/>
                    <a:pt x="298556" y="313658"/>
                    <a:pt x="287181" y="301631"/>
                  </a:cubicBezTo>
                  <a:cubicBezTo>
                    <a:pt x="275656" y="324080"/>
                    <a:pt x="266135" y="328691"/>
                    <a:pt x="243635" y="324181"/>
                  </a:cubicBezTo>
                  <a:cubicBezTo>
                    <a:pt x="239376" y="323329"/>
                    <a:pt x="235467" y="321274"/>
                    <a:pt x="231709" y="319320"/>
                  </a:cubicBezTo>
                  <a:cubicBezTo>
                    <a:pt x="230456" y="318669"/>
                    <a:pt x="229254" y="318017"/>
                    <a:pt x="228001" y="317416"/>
                  </a:cubicBezTo>
                  <a:cubicBezTo>
                    <a:pt x="224142" y="315512"/>
                    <a:pt x="220334" y="313507"/>
                    <a:pt x="216225" y="311302"/>
                  </a:cubicBezTo>
                  <a:lnTo>
                    <a:pt x="213118" y="309649"/>
                  </a:lnTo>
                  <a:cubicBezTo>
                    <a:pt x="212467" y="310601"/>
                    <a:pt x="211765" y="311553"/>
                    <a:pt x="211114" y="312405"/>
                  </a:cubicBezTo>
                  <a:cubicBezTo>
                    <a:pt x="209160" y="315111"/>
                    <a:pt x="207456" y="317416"/>
                    <a:pt x="206804" y="319771"/>
                  </a:cubicBezTo>
                  <a:cubicBezTo>
                    <a:pt x="203197" y="332449"/>
                    <a:pt x="197033" y="343473"/>
                    <a:pt x="188013" y="353545"/>
                  </a:cubicBezTo>
                  <a:cubicBezTo>
                    <a:pt x="188164" y="353345"/>
                    <a:pt x="188214" y="354097"/>
                    <a:pt x="188214" y="354598"/>
                  </a:cubicBezTo>
                  <a:cubicBezTo>
                    <a:pt x="188214" y="354898"/>
                    <a:pt x="188214" y="355249"/>
                    <a:pt x="188214" y="355600"/>
                  </a:cubicBezTo>
                  <a:cubicBezTo>
                    <a:pt x="191321" y="357754"/>
                    <a:pt x="194678" y="360160"/>
                    <a:pt x="198586" y="362966"/>
                  </a:cubicBezTo>
                  <a:lnTo>
                    <a:pt x="199589" y="363668"/>
                  </a:lnTo>
                  <a:lnTo>
                    <a:pt x="199689" y="364870"/>
                  </a:lnTo>
                  <a:cubicBezTo>
                    <a:pt x="199939" y="367476"/>
                    <a:pt x="200090" y="370132"/>
                    <a:pt x="200240" y="372787"/>
                  </a:cubicBezTo>
                  <a:cubicBezTo>
                    <a:pt x="200892" y="383661"/>
                    <a:pt x="201493" y="393984"/>
                    <a:pt x="208558" y="401701"/>
                  </a:cubicBezTo>
                  <a:lnTo>
                    <a:pt x="209511" y="402753"/>
                  </a:lnTo>
                  <a:lnTo>
                    <a:pt x="209210" y="404106"/>
                  </a:lnTo>
                  <a:cubicBezTo>
                    <a:pt x="208709" y="406411"/>
                    <a:pt x="208308" y="408566"/>
                    <a:pt x="207907" y="410571"/>
                  </a:cubicBezTo>
                  <a:cubicBezTo>
                    <a:pt x="207105" y="414880"/>
                    <a:pt x="206354" y="418588"/>
                    <a:pt x="205001" y="422246"/>
                  </a:cubicBezTo>
                  <a:cubicBezTo>
                    <a:pt x="199489" y="436778"/>
                    <a:pt x="201092" y="452513"/>
                    <a:pt x="209911" y="470452"/>
                  </a:cubicBezTo>
                  <a:cubicBezTo>
                    <a:pt x="215073" y="480875"/>
                    <a:pt x="220384" y="491699"/>
                    <a:pt x="219733" y="504928"/>
                  </a:cubicBezTo>
                  <a:cubicBezTo>
                    <a:pt x="219482" y="510139"/>
                    <a:pt x="221988" y="514349"/>
                    <a:pt x="227600" y="518157"/>
                  </a:cubicBezTo>
                  <a:cubicBezTo>
                    <a:pt x="229655" y="519560"/>
                    <a:pt x="232010" y="520813"/>
                    <a:pt x="234265" y="522015"/>
                  </a:cubicBezTo>
                  <a:lnTo>
                    <a:pt x="235568" y="522717"/>
                  </a:lnTo>
                  <a:cubicBezTo>
                    <a:pt x="256514" y="533891"/>
                    <a:pt x="268590" y="550578"/>
                    <a:pt x="271497" y="572376"/>
                  </a:cubicBezTo>
                  <a:cubicBezTo>
                    <a:pt x="271948" y="575683"/>
                    <a:pt x="272449" y="579041"/>
                    <a:pt x="272950" y="582348"/>
                  </a:cubicBezTo>
                  <a:cubicBezTo>
                    <a:pt x="274202" y="590616"/>
                    <a:pt x="275505" y="599185"/>
                    <a:pt x="275606" y="607704"/>
                  </a:cubicBezTo>
                  <a:cubicBezTo>
                    <a:pt x="275706" y="619680"/>
                    <a:pt x="278462" y="630805"/>
                    <a:pt x="284224" y="642731"/>
                  </a:cubicBezTo>
                  <a:cubicBezTo>
                    <a:pt x="289536" y="653755"/>
                    <a:pt x="293846" y="665330"/>
                    <a:pt x="298055" y="676555"/>
                  </a:cubicBezTo>
                  <a:cubicBezTo>
                    <a:pt x="299308" y="679963"/>
                    <a:pt x="300560" y="683320"/>
                    <a:pt x="301863" y="686677"/>
                  </a:cubicBezTo>
                  <a:cubicBezTo>
                    <a:pt x="305722" y="696749"/>
                    <a:pt x="302866" y="705418"/>
                    <a:pt x="293345" y="712334"/>
                  </a:cubicBezTo>
                  <a:cubicBezTo>
                    <a:pt x="286930" y="717044"/>
                    <a:pt x="280617" y="721905"/>
                    <a:pt x="274303" y="726715"/>
                  </a:cubicBezTo>
                  <a:cubicBezTo>
                    <a:pt x="263880" y="734733"/>
                    <a:pt x="253106" y="743001"/>
                    <a:pt x="241982" y="750467"/>
                  </a:cubicBezTo>
                  <a:cubicBezTo>
                    <a:pt x="227751" y="760038"/>
                    <a:pt x="220384" y="773268"/>
                    <a:pt x="220084" y="789904"/>
                  </a:cubicBezTo>
                  <a:cubicBezTo>
                    <a:pt x="219833" y="804937"/>
                    <a:pt x="213770" y="815059"/>
                    <a:pt x="200440" y="822576"/>
                  </a:cubicBezTo>
                  <a:cubicBezTo>
                    <a:pt x="198336" y="823778"/>
                    <a:pt x="196332" y="825432"/>
                    <a:pt x="194377" y="826986"/>
                  </a:cubicBezTo>
                  <a:cubicBezTo>
                    <a:pt x="193776" y="827487"/>
                    <a:pt x="193175" y="827988"/>
                    <a:pt x="192573" y="828439"/>
                  </a:cubicBezTo>
                  <a:cubicBezTo>
                    <a:pt x="192323" y="831796"/>
                    <a:pt x="192172" y="835103"/>
                    <a:pt x="192072" y="838411"/>
                  </a:cubicBezTo>
                  <a:cubicBezTo>
                    <a:pt x="191771" y="846829"/>
                    <a:pt x="191421" y="855498"/>
                    <a:pt x="188915" y="863466"/>
                  </a:cubicBezTo>
                  <a:cubicBezTo>
                    <a:pt x="185758" y="873488"/>
                    <a:pt x="178743" y="883810"/>
                    <a:pt x="169222" y="892429"/>
                  </a:cubicBezTo>
                  <a:lnTo>
                    <a:pt x="168721" y="892880"/>
                  </a:lnTo>
                  <a:lnTo>
                    <a:pt x="168019" y="893031"/>
                  </a:lnTo>
                  <a:cubicBezTo>
                    <a:pt x="155241" y="895987"/>
                    <a:pt x="143215" y="894935"/>
                    <a:pt x="130136" y="889774"/>
                  </a:cubicBezTo>
                  <a:cubicBezTo>
                    <a:pt x="123071" y="886967"/>
                    <a:pt x="115604" y="887118"/>
                    <a:pt x="106634" y="890174"/>
                  </a:cubicBezTo>
                  <a:cubicBezTo>
                    <a:pt x="99619" y="892530"/>
                    <a:pt x="91702" y="895887"/>
                    <a:pt x="86039" y="902802"/>
                  </a:cubicBezTo>
                  <a:cubicBezTo>
                    <a:pt x="78923" y="911471"/>
                    <a:pt x="69402" y="914778"/>
                    <a:pt x="55973" y="913225"/>
                  </a:cubicBezTo>
                  <a:cubicBezTo>
                    <a:pt x="54670" y="913075"/>
                    <a:pt x="53418" y="912824"/>
                    <a:pt x="52115" y="912574"/>
                  </a:cubicBezTo>
                  <a:cubicBezTo>
                    <a:pt x="51063" y="912373"/>
                    <a:pt x="50010" y="912173"/>
                    <a:pt x="48958" y="912022"/>
                  </a:cubicBezTo>
                  <a:cubicBezTo>
                    <a:pt x="40188" y="910970"/>
                    <a:pt x="32973" y="912874"/>
                    <a:pt x="28613" y="917384"/>
                  </a:cubicBezTo>
                  <a:cubicBezTo>
                    <a:pt x="24454" y="921694"/>
                    <a:pt x="22901" y="928208"/>
                    <a:pt x="24153" y="936226"/>
                  </a:cubicBezTo>
                  <a:cubicBezTo>
                    <a:pt x="26458" y="951108"/>
                    <a:pt x="29064" y="967945"/>
                    <a:pt x="39637" y="981375"/>
                  </a:cubicBezTo>
                  <a:cubicBezTo>
                    <a:pt x="49459" y="993752"/>
                    <a:pt x="50661" y="1007683"/>
                    <a:pt x="50611" y="1018406"/>
                  </a:cubicBezTo>
                  <a:cubicBezTo>
                    <a:pt x="50511" y="1029280"/>
                    <a:pt x="50511" y="1040154"/>
                    <a:pt x="50461" y="1051078"/>
                  </a:cubicBezTo>
                  <a:cubicBezTo>
                    <a:pt x="50311" y="1101639"/>
                    <a:pt x="50210" y="1153904"/>
                    <a:pt x="44949" y="1205367"/>
                  </a:cubicBezTo>
                  <a:cubicBezTo>
                    <a:pt x="42594" y="1228618"/>
                    <a:pt x="36981" y="1245104"/>
                    <a:pt x="16286" y="1255427"/>
                  </a:cubicBezTo>
                  <a:cubicBezTo>
                    <a:pt x="7466" y="1259837"/>
                    <a:pt x="2255" y="1265850"/>
                    <a:pt x="0" y="1274168"/>
                  </a:cubicBezTo>
                  <a:cubicBezTo>
                    <a:pt x="13730" y="1283088"/>
                    <a:pt x="13480" y="1297319"/>
                    <a:pt x="13279" y="1311149"/>
                  </a:cubicBezTo>
                  <a:lnTo>
                    <a:pt x="13279" y="1313855"/>
                  </a:lnTo>
                  <a:cubicBezTo>
                    <a:pt x="13129" y="1322775"/>
                    <a:pt x="12979" y="1331945"/>
                    <a:pt x="13430" y="1340965"/>
                  </a:cubicBezTo>
                  <a:lnTo>
                    <a:pt x="13530" y="1342619"/>
                  </a:lnTo>
                  <a:cubicBezTo>
                    <a:pt x="13830" y="1348181"/>
                    <a:pt x="14081" y="1353893"/>
                    <a:pt x="16236" y="1358403"/>
                  </a:cubicBezTo>
                  <a:cubicBezTo>
                    <a:pt x="21698" y="1369878"/>
                    <a:pt x="23752" y="1382406"/>
                    <a:pt x="22399" y="1396687"/>
                  </a:cubicBezTo>
                  <a:cubicBezTo>
                    <a:pt x="20345" y="1418185"/>
                    <a:pt x="27611" y="1435372"/>
                    <a:pt x="45199" y="1450806"/>
                  </a:cubicBezTo>
                  <a:lnTo>
                    <a:pt x="47104" y="1452460"/>
                  </a:lnTo>
                  <a:cubicBezTo>
                    <a:pt x="54871" y="1459225"/>
                    <a:pt x="62888" y="1466240"/>
                    <a:pt x="67950" y="1476413"/>
                  </a:cubicBezTo>
                  <a:lnTo>
                    <a:pt x="68350" y="1477264"/>
                  </a:lnTo>
                  <a:lnTo>
                    <a:pt x="68150" y="1478166"/>
                  </a:lnTo>
                  <a:cubicBezTo>
                    <a:pt x="66346" y="1487286"/>
                    <a:pt x="62086" y="1495855"/>
                    <a:pt x="55171" y="1504324"/>
                  </a:cubicBezTo>
                  <a:cubicBezTo>
                    <a:pt x="51212" y="1509184"/>
                    <a:pt x="47405" y="1514296"/>
                    <a:pt x="43696" y="1519207"/>
                  </a:cubicBezTo>
                  <a:lnTo>
                    <a:pt x="40890" y="1522965"/>
                  </a:lnTo>
                  <a:cubicBezTo>
                    <a:pt x="33925" y="1532185"/>
                    <a:pt x="31069" y="1540654"/>
                    <a:pt x="31770" y="1549523"/>
                  </a:cubicBezTo>
                  <a:cubicBezTo>
                    <a:pt x="32572" y="1559144"/>
                    <a:pt x="29766" y="1568415"/>
                    <a:pt x="23101" y="1577785"/>
                  </a:cubicBezTo>
                  <a:cubicBezTo>
                    <a:pt x="21097" y="1580591"/>
                    <a:pt x="19493" y="1583849"/>
                    <a:pt x="17789" y="1587306"/>
                  </a:cubicBezTo>
                  <a:cubicBezTo>
                    <a:pt x="17138" y="1588659"/>
                    <a:pt x="16436" y="1590012"/>
                    <a:pt x="15684" y="1591415"/>
                  </a:cubicBezTo>
                  <a:cubicBezTo>
                    <a:pt x="16637" y="1593369"/>
                    <a:pt x="17539" y="1595324"/>
                    <a:pt x="18441" y="1597278"/>
                  </a:cubicBezTo>
                  <a:cubicBezTo>
                    <a:pt x="21047" y="1602890"/>
                    <a:pt x="23452" y="1608152"/>
                    <a:pt x="26408" y="1613313"/>
                  </a:cubicBezTo>
                  <a:cubicBezTo>
                    <a:pt x="28162" y="1616370"/>
                    <a:pt x="31119" y="1619226"/>
                    <a:pt x="32722" y="1619377"/>
                  </a:cubicBezTo>
                  <a:cubicBezTo>
                    <a:pt x="45801" y="1620679"/>
                    <a:pt x="54871" y="1627845"/>
                    <a:pt x="62688" y="1635412"/>
                  </a:cubicBezTo>
                  <a:cubicBezTo>
                    <a:pt x="65995" y="1638569"/>
                    <a:pt x="71407" y="1640423"/>
                    <a:pt x="76168" y="1642077"/>
                  </a:cubicBezTo>
                  <a:cubicBezTo>
                    <a:pt x="88645" y="1646286"/>
                    <a:pt x="102575" y="1648391"/>
                    <a:pt x="119613" y="1648190"/>
                  </a:cubicBezTo>
                  <a:cubicBezTo>
                    <a:pt x="123421" y="1648190"/>
                    <a:pt x="127230" y="1648090"/>
                    <a:pt x="131038" y="1647939"/>
                  </a:cubicBezTo>
                  <a:cubicBezTo>
                    <a:pt x="142864" y="1647589"/>
                    <a:pt x="155091" y="1647238"/>
                    <a:pt x="166867" y="1650094"/>
                  </a:cubicBezTo>
                  <a:lnTo>
                    <a:pt x="167819" y="1650345"/>
                  </a:lnTo>
                  <a:lnTo>
                    <a:pt x="168420" y="1651146"/>
                  </a:lnTo>
                  <a:cubicBezTo>
                    <a:pt x="181499" y="1669036"/>
                    <a:pt x="184255" y="1675700"/>
                    <a:pt x="189717" y="1702008"/>
                  </a:cubicBezTo>
                  <a:lnTo>
                    <a:pt x="189968" y="1703111"/>
                  </a:lnTo>
                  <a:lnTo>
                    <a:pt x="167068" y="1736634"/>
                  </a:lnTo>
                  <a:cubicBezTo>
                    <a:pt x="182751" y="1740092"/>
                    <a:pt x="193575" y="1749212"/>
                    <a:pt x="204098" y="1758031"/>
                  </a:cubicBezTo>
                  <a:cubicBezTo>
                    <a:pt x="211415" y="1764195"/>
                    <a:pt x="218280" y="1769958"/>
                    <a:pt x="226548" y="1773716"/>
                  </a:cubicBezTo>
                  <a:lnTo>
                    <a:pt x="227901" y="1774317"/>
                  </a:lnTo>
                  <a:lnTo>
                    <a:pt x="228101" y="1775770"/>
                  </a:lnTo>
                  <a:cubicBezTo>
                    <a:pt x="229204" y="1783587"/>
                    <a:pt x="230456" y="1791254"/>
                    <a:pt x="231709" y="1798921"/>
                  </a:cubicBezTo>
                  <a:cubicBezTo>
                    <a:pt x="235517" y="1822072"/>
                    <a:pt x="239125" y="1843870"/>
                    <a:pt x="238073" y="1866720"/>
                  </a:cubicBezTo>
                  <a:cubicBezTo>
                    <a:pt x="237472" y="1879598"/>
                    <a:pt x="240880" y="1889220"/>
                    <a:pt x="249498" y="1898891"/>
                  </a:cubicBezTo>
                  <a:cubicBezTo>
                    <a:pt x="266335" y="1917832"/>
                    <a:pt x="269142" y="1939781"/>
                    <a:pt x="257416" y="1960777"/>
                  </a:cubicBezTo>
                  <a:cubicBezTo>
                    <a:pt x="254509" y="1965988"/>
                    <a:pt x="250150" y="1970147"/>
                    <a:pt x="245590" y="1974557"/>
                  </a:cubicBezTo>
                  <a:cubicBezTo>
                    <a:pt x="243836" y="1976261"/>
                    <a:pt x="242032" y="1977964"/>
                    <a:pt x="240278" y="1979819"/>
                  </a:cubicBezTo>
                  <a:cubicBezTo>
                    <a:pt x="240428" y="1980821"/>
                    <a:pt x="240629" y="1981873"/>
                    <a:pt x="240829" y="1982926"/>
                  </a:cubicBezTo>
                  <a:cubicBezTo>
                    <a:pt x="241481" y="1986584"/>
                    <a:pt x="242183" y="1990342"/>
                    <a:pt x="242483" y="1994250"/>
                  </a:cubicBezTo>
                  <a:cubicBezTo>
                    <a:pt x="243685" y="2009684"/>
                    <a:pt x="249799" y="2021811"/>
                    <a:pt x="261174" y="2031282"/>
                  </a:cubicBezTo>
                  <a:cubicBezTo>
                    <a:pt x="264531" y="2034088"/>
                    <a:pt x="267288" y="2037495"/>
                    <a:pt x="270194" y="2041053"/>
                  </a:cubicBezTo>
                  <a:cubicBezTo>
                    <a:pt x="271547" y="2042707"/>
                    <a:pt x="272900" y="2044410"/>
                    <a:pt x="274403" y="2046064"/>
                  </a:cubicBezTo>
                  <a:lnTo>
                    <a:pt x="275455" y="2047267"/>
                  </a:lnTo>
                  <a:lnTo>
                    <a:pt x="271296" y="2058892"/>
                  </a:lnTo>
                  <a:cubicBezTo>
                    <a:pt x="269843" y="2063052"/>
                    <a:pt x="268390" y="2067111"/>
                    <a:pt x="266886" y="2071169"/>
                  </a:cubicBezTo>
                  <a:cubicBezTo>
                    <a:pt x="264932" y="2076531"/>
                    <a:pt x="263028" y="2081893"/>
                    <a:pt x="261074" y="2087255"/>
                  </a:cubicBezTo>
                  <a:cubicBezTo>
                    <a:pt x="256414" y="2100233"/>
                    <a:pt x="251603" y="2113613"/>
                    <a:pt x="246592" y="2126741"/>
                  </a:cubicBezTo>
                  <a:cubicBezTo>
                    <a:pt x="239627" y="2145032"/>
                    <a:pt x="237021" y="2159614"/>
                    <a:pt x="238224" y="2173995"/>
                  </a:cubicBezTo>
                  <a:cubicBezTo>
                    <a:pt x="238875" y="2182163"/>
                    <a:pt x="235818" y="2188978"/>
                    <a:pt x="232812" y="2195593"/>
                  </a:cubicBezTo>
                  <a:cubicBezTo>
                    <a:pt x="232211" y="2196896"/>
                    <a:pt x="231659" y="2198198"/>
                    <a:pt x="231058" y="2199501"/>
                  </a:cubicBezTo>
                  <a:cubicBezTo>
                    <a:pt x="221737" y="2221299"/>
                    <a:pt x="214171" y="2247056"/>
                    <a:pt x="228753" y="2273414"/>
                  </a:cubicBezTo>
                  <a:cubicBezTo>
                    <a:pt x="236219" y="2276270"/>
                    <a:pt x="243435" y="2274616"/>
                    <a:pt x="251051" y="2272913"/>
                  </a:cubicBezTo>
                  <a:cubicBezTo>
                    <a:pt x="254459" y="2272161"/>
                    <a:pt x="257917" y="2271359"/>
                    <a:pt x="261475" y="2270958"/>
                  </a:cubicBezTo>
                  <a:cubicBezTo>
                    <a:pt x="276808" y="2269355"/>
                    <a:pt x="286079" y="2263592"/>
                    <a:pt x="291591" y="2252267"/>
                  </a:cubicBezTo>
                  <a:cubicBezTo>
                    <a:pt x="292493" y="2250463"/>
                    <a:pt x="294347" y="2249912"/>
                    <a:pt x="295850" y="2249411"/>
                  </a:cubicBezTo>
                  <a:cubicBezTo>
                    <a:pt x="296251" y="2249261"/>
                    <a:pt x="296652" y="2249160"/>
                    <a:pt x="297003" y="2249010"/>
                  </a:cubicBezTo>
                  <a:lnTo>
                    <a:pt x="297654" y="2248710"/>
                  </a:lnTo>
                  <a:lnTo>
                    <a:pt x="298356" y="2248710"/>
                  </a:lnTo>
                  <a:cubicBezTo>
                    <a:pt x="298807" y="2248810"/>
                    <a:pt x="299257" y="2248860"/>
                    <a:pt x="299709" y="2248860"/>
                  </a:cubicBezTo>
                  <a:cubicBezTo>
                    <a:pt x="300861" y="2248910"/>
                    <a:pt x="302114" y="2248960"/>
                    <a:pt x="303417" y="2249361"/>
                  </a:cubicBezTo>
                  <a:cubicBezTo>
                    <a:pt x="305521" y="2249912"/>
                    <a:pt x="307626" y="2250614"/>
                    <a:pt x="309731" y="2251315"/>
                  </a:cubicBezTo>
                  <a:cubicBezTo>
                    <a:pt x="318400" y="2254222"/>
                    <a:pt x="325866" y="2256777"/>
                    <a:pt x="333533" y="2249111"/>
                  </a:cubicBezTo>
                  <a:cubicBezTo>
                    <a:pt x="335637" y="2247006"/>
                    <a:pt x="339145" y="2247106"/>
                    <a:pt x="342202" y="2247256"/>
                  </a:cubicBezTo>
                  <a:cubicBezTo>
                    <a:pt x="343004" y="2247256"/>
                    <a:pt x="343805" y="2247306"/>
                    <a:pt x="344557" y="2247256"/>
                  </a:cubicBezTo>
                  <a:lnTo>
                    <a:pt x="347865" y="2247156"/>
                  </a:lnTo>
                  <a:cubicBezTo>
                    <a:pt x="353827" y="2247006"/>
                    <a:pt x="359991" y="2246805"/>
                    <a:pt x="366055" y="2247156"/>
                  </a:cubicBezTo>
                  <a:cubicBezTo>
                    <a:pt x="379785" y="2247858"/>
                    <a:pt x="391611" y="2243047"/>
                    <a:pt x="402184" y="2232524"/>
                  </a:cubicBezTo>
                  <a:cubicBezTo>
                    <a:pt x="405190" y="2229517"/>
                    <a:pt x="408598" y="2226811"/>
                    <a:pt x="411905" y="2224256"/>
                  </a:cubicBezTo>
                  <a:cubicBezTo>
                    <a:pt x="413408" y="2223053"/>
                    <a:pt x="414912" y="2221900"/>
                    <a:pt x="416415" y="2220648"/>
                  </a:cubicBezTo>
                  <a:lnTo>
                    <a:pt x="418920" y="2218593"/>
                  </a:lnTo>
                  <a:lnTo>
                    <a:pt x="420474" y="2221399"/>
                  </a:lnTo>
                  <a:cubicBezTo>
                    <a:pt x="429544" y="2237635"/>
                    <a:pt x="439265" y="2248760"/>
                    <a:pt x="455952" y="2261939"/>
                  </a:cubicBezTo>
                  <a:lnTo>
                    <a:pt x="456904" y="2261187"/>
                  </a:lnTo>
                  <a:cubicBezTo>
                    <a:pt x="458407" y="2259934"/>
                    <a:pt x="459911" y="2258732"/>
                    <a:pt x="461464" y="2257429"/>
                  </a:cubicBezTo>
                  <a:cubicBezTo>
                    <a:pt x="477800" y="2243448"/>
                    <a:pt x="489325" y="2225057"/>
                    <a:pt x="500500" y="2207268"/>
                  </a:cubicBezTo>
                  <a:lnTo>
                    <a:pt x="503857" y="2201907"/>
                  </a:lnTo>
                  <a:cubicBezTo>
                    <a:pt x="511123" y="2190431"/>
                    <a:pt x="519892" y="2179858"/>
                    <a:pt x="535026" y="2179858"/>
                  </a:cubicBezTo>
                  <a:lnTo>
                    <a:pt x="535176" y="2179858"/>
                  </a:lnTo>
                  <a:cubicBezTo>
                    <a:pt x="542091" y="2171289"/>
                    <a:pt x="544998" y="2161768"/>
                    <a:pt x="547804" y="2152548"/>
                  </a:cubicBezTo>
                  <a:lnTo>
                    <a:pt x="548355" y="2150844"/>
                  </a:lnTo>
                  <a:cubicBezTo>
                    <a:pt x="551161" y="2141424"/>
                    <a:pt x="556823" y="2134859"/>
                    <a:pt x="566044" y="2130299"/>
                  </a:cubicBezTo>
                  <a:cubicBezTo>
                    <a:pt x="568750" y="2128946"/>
                    <a:pt x="571456" y="2127643"/>
                    <a:pt x="574212" y="2126341"/>
                  </a:cubicBezTo>
                  <a:cubicBezTo>
                    <a:pt x="584084" y="2121630"/>
                    <a:pt x="594306" y="2116719"/>
                    <a:pt x="602825" y="2110155"/>
                  </a:cubicBezTo>
                  <a:cubicBezTo>
                    <a:pt x="624723" y="2093168"/>
                    <a:pt x="648074" y="2095423"/>
                    <a:pt x="667968" y="2099882"/>
                  </a:cubicBezTo>
                  <a:cubicBezTo>
                    <a:pt x="677839" y="2102087"/>
                    <a:pt x="688062" y="2106447"/>
                    <a:pt x="696831" y="2112109"/>
                  </a:cubicBezTo>
                  <a:cubicBezTo>
                    <a:pt x="705149" y="2117571"/>
                    <a:pt x="712866" y="2124086"/>
                    <a:pt x="720333" y="2130350"/>
                  </a:cubicBezTo>
                  <a:cubicBezTo>
                    <a:pt x="723590" y="2133106"/>
                    <a:pt x="726897" y="2135862"/>
                    <a:pt x="730254" y="2138568"/>
                  </a:cubicBezTo>
                  <a:lnTo>
                    <a:pt x="730856" y="2139018"/>
                  </a:lnTo>
                  <a:lnTo>
                    <a:pt x="745889" y="2180309"/>
                  </a:lnTo>
                  <a:cubicBezTo>
                    <a:pt x="759519" y="2181763"/>
                    <a:pt x="773400" y="2181612"/>
                    <a:pt x="786879" y="2181512"/>
                  </a:cubicBezTo>
                  <a:cubicBezTo>
                    <a:pt x="801461" y="2181362"/>
                    <a:pt x="816544" y="2181211"/>
                    <a:pt x="831327" y="2183065"/>
                  </a:cubicBezTo>
                  <a:lnTo>
                    <a:pt x="832379" y="2183216"/>
                  </a:lnTo>
                  <a:lnTo>
                    <a:pt x="833030" y="2184017"/>
                  </a:lnTo>
                  <a:cubicBezTo>
                    <a:pt x="840998" y="2193388"/>
                    <a:pt x="845107" y="2202809"/>
                    <a:pt x="846059" y="2213683"/>
                  </a:cubicBezTo>
                  <a:cubicBezTo>
                    <a:pt x="846611" y="2220498"/>
                    <a:pt x="847913" y="2226360"/>
                    <a:pt x="850018" y="2231021"/>
                  </a:cubicBezTo>
                  <a:cubicBezTo>
                    <a:pt x="853876" y="2239740"/>
                    <a:pt x="855530" y="2248409"/>
                    <a:pt x="855129" y="2257529"/>
                  </a:cubicBezTo>
                  <a:cubicBezTo>
                    <a:pt x="854678" y="2267701"/>
                    <a:pt x="857785" y="2277122"/>
                    <a:pt x="865552" y="2288948"/>
                  </a:cubicBezTo>
                  <a:cubicBezTo>
                    <a:pt x="878631" y="2308892"/>
                    <a:pt x="884443" y="2328184"/>
                    <a:pt x="883291" y="2348078"/>
                  </a:cubicBezTo>
                  <a:cubicBezTo>
                    <a:pt x="883140" y="2350583"/>
                    <a:pt x="883191" y="2353089"/>
                    <a:pt x="883291" y="2355594"/>
                  </a:cubicBezTo>
                  <a:cubicBezTo>
                    <a:pt x="883341" y="2358551"/>
                    <a:pt x="883441" y="2361607"/>
                    <a:pt x="883191" y="2364664"/>
                  </a:cubicBezTo>
                  <a:cubicBezTo>
                    <a:pt x="882038" y="2379347"/>
                    <a:pt x="886398" y="2393027"/>
                    <a:pt x="896820" y="2407508"/>
                  </a:cubicBezTo>
                  <a:lnTo>
                    <a:pt x="919771" y="2408911"/>
                  </a:lnTo>
                  <a:lnTo>
                    <a:pt x="920222" y="2410866"/>
                  </a:lnTo>
                  <a:cubicBezTo>
                    <a:pt x="926586" y="2439579"/>
                    <a:pt x="935105" y="2462078"/>
                    <a:pt x="955650" y="2478013"/>
                  </a:cubicBezTo>
                  <a:cubicBezTo>
                    <a:pt x="958306" y="2476761"/>
                    <a:pt x="960861" y="2475508"/>
                    <a:pt x="963417" y="2474255"/>
                  </a:cubicBezTo>
                  <a:cubicBezTo>
                    <a:pt x="969931" y="2471048"/>
                    <a:pt x="976045" y="2468042"/>
                    <a:pt x="982459" y="2465386"/>
                  </a:cubicBezTo>
                  <a:cubicBezTo>
                    <a:pt x="1006111" y="2455514"/>
                    <a:pt x="1031516" y="2448899"/>
                    <a:pt x="1056722" y="2467390"/>
                  </a:cubicBezTo>
                  <a:cubicBezTo>
                    <a:pt x="1057574" y="2467991"/>
                    <a:pt x="1058626" y="2468492"/>
                    <a:pt x="1059728" y="2468944"/>
                  </a:cubicBezTo>
                  <a:cubicBezTo>
                    <a:pt x="1060781" y="2469394"/>
                    <a:pt x="1061833" y="2469896"/>
                    <a:pt x="1062835" y="2470447"/>
                  </a:cubicBezTo>
                  <a:cubicBezTo>
                    <a:pt x="1077267" y="2479216"/>
                    <a:pt x="1091448" y="2482924"/>
                    <a:pt x="1106181" y="2481621"/>
                  </a:cubicBezTo>
                  <a:cubicBezTo>
                    <a:pt x="1119359" y="2480519"/>
                    <a:pt x="1131537" y="2484077"/>
                    <a:pt x="1141408" y="2491944"/>
                  </a:cubicBezTo>
                  <a:cubicBezTo>
                    <a:pt x="1149025" y="2498007"/>
                    <a:pt x="1157143" y="2499410"/>
                    <a:pt x="1168518" y="2499711"/>
                  </a:cubicBezTo>
                  <a:lnTo>
                    <a:pt x="1173679" y="2499861"/>
                  </a:lnTo>
                  <a:cubicBezTo>
                    <a:pt x="1188361" y="2500262"/>
                    <a:pt x="1203545" y="2500613"/>
                    <a:pt x="1218277" y="2502918"/>
                  </a:cubicBezTo>
                  <a:cubicBezTo>
                    <a:pt x="1252101" y="2508080"/>
                    <a:pt x="1253204" y="2508681"/>
                    <a:pt x="1277707" y="2533235"/>
                  </a:cubicBezTo>
                  <a:lnTo>
                    <a:pt x="1278409" y="2533936"/>
                  </a:lnTo>
                  <a:cubicBezTo>
                    <a:pt x="1296749" y="2552327"/>
                    <a:pt x="1319950" y="2558190"/>
                    <a:pt x="1347461" y="2551325"/>
                  </a:cubicBezTo>
                  <a:cubicBezTo>
                    <a:pt x="1358335" y="2548568"/>
                    <a:pt x="1368357" y="2546764"/>
                    <a:pt x="1378078" y="2546764"/>
                  </a:cubicBezTo>
                  <a:cubicBezTo>
                    <a:pt x="1387800" y="2546764"/>
                    <a:pt x="1397220" y="2548568"/>
                    <a:pt x="1406791" y="2553179"/>
                  </a:cubicBezTo>
                  <a:cubicBezTo>
                    <a:pt x="1416763" y="2557939"/>
                    <a:pt x="1427136" y="2556586"/>
                    <a:pt x="1437559" y="2549170"/>
                  </a:cubicBezTo>
                  <a:cubicBezTo>
                    <a:pt x="1442519" y="2545562"/>
                    <a:pt x="1447882" y="2542355"/>
                    <a:pt x="1453042" y="2539248"/>
                  </a:cubicBezTo>
                  <a:lnTo>
                    <a:pt x="1457703" y="2536442"/>
                  </a:lnTo>
                  <a:cubicBezTo>
                    <a:pt x="1473387" y="2526921"/>
                    <a:pt x="1488070" y="2525317"/>
                    <a:pt x="1502601" y="2531431"/>
                  </a:cubicBezTo>
                  <a:cubicBezTo>
                    <a:pt x="1502902" y="2531330"/>
                    <a:pt x="1503403" y="2531130"/>
                    <a:pt x="1503754" y="2530980"/>
                  </a:cubicBezTo>
                  <a:cubicBezTo>
                    <a:pt x="1504005" y="2530880"/>
                    <a:pt x="1504306" y="2530729"/>
                    <a:pt x="1504606" y="2530629"/>
                  </a:cubicBezTo>
                  <a:lnTo>
                    <a:pt x="1510118" y="2511036"/>
                  </a:lnTo>
                  <a:lnTo>
                    <a:pt x="1511822" y="2510785"/>
                  </a:lnTo>
                  <a:cubicBezTo>
                    <a:pt x="1513175" y="2510585"/>
                    <a:pt x="1514378" y="2510335"/>
                    <a:pt x="1515530" y="2510134"/>
                  </a:cubicBezTo>
                  <a:cubicBezTo>
                    <a:pt x="1518036" y="2509683"/>
                    <a:pt x="1520140" y="2509282"/>
                    <a:pt x="1522395" y="2509182"/>
                  </a:cubicBezTo>
                  <a:cubicBezTo>
                    <a:pt x="1525051" y="2509032"/>
                    <a:pt x="1527707" y="2508981"/>
                    <a:pt x="1530363" y="2508931"/>
                  </a:cubicBezTo>
                  <a:cubicBezTo>
                    <a:pt x="1539333" y="2508781"/>
                    <a:pt x="1547801" y="2508631"/>
                    <a:pt x="1555719" y="2503870"/>
                  </a:cubicBezTo>
                  <a:cubicBezTo>
                    <a:pt x="1559777" y="2501465"/>
                    <a:pt x="1566041" y="2503519"/>
                    <a:pt x="1571052" y="2505173"/>
                  </a:cubicBezTo>
                  <a:cubicBezTo>
                    <a:pt x="1575261" y="2506526"/>
                    <a:pt x="1579170" y="2508130"/>
                    <a:pt x="1582928" y="2509683"/>
                  </a:cubicBezTo>
                  <a:cubicBezTo>
                    <a:pt x="1587037" y="2511336"/>
                    <a:pt x="1591297" y="2513091"/>
                    <a:pt x="1595556" y="2514393"/>
                  </a:cubicBezTo>
                  <a:cubicBezTo>
                    <a:pt x="1598011" y="2515145"/>
                    <a:pt x="1600867" y="2515145"/>
                    <a:pt x="1603925" y="2515145"/>
                  </a:cubicBezTo>
                  <a:cubicBezTo>
                    <a:pt x="1604826" y="2515145"/>
                    <a:pt x="1605728" y="2515145"/>
                    <a:pt x="1606630" y="2515145"/>
                  </a:cubicBezTo>
                  <a:cubicBezTo>
                    <a:pt x="1612694" y="2499210"/>
                    <a:pt x="1623367" y="2487083"/>
                    <a:pt x="1639202" y="2478064"/>
                  </a:cubicBezTo>
                  <a:cubicBezTo>
                    <a:pt x="1642760" y="2476009"/>
                    <a:pt x="1645415" y="2473554"/>
                    <a:pt x="1646267" y="2471449"/>
                  </a:cubicBezTo>
                  <a:cubicBezTo>
                    <a:pt x="1652381" y="2456266"/>
                    <a:pt x="1664708" y="2453760"/>
                    <a:pt x="1677085" y="2453359"/>
                  </a:cubicBezTo>
                  <a:cubicBezTo>
                    <a:pt x="1691567" y="2452858"/>
                    <a:pt x="1701839" y="2444339"/>
                    <a:pt x="1704596" y="2430559"/>
                  </a:cubicBezTo>
                  <a:cubicBezTo>
                    <a:pt x="1708604" y="2410716"/>
                    <a:pt x="1710759" y="2394480"/>
                    <a:pt x="1711461" y="2379597"/>
                  </a:cubicBezTo>
                  <a:cubicBezTo>
                    <a:pt x="1712112" y="2364263"/>
                    <a:pt x="1712764" y="2349882"/>
                    <a:pt x="1731254" y="2342816"/>
                  </a:cubicBezTo>
                  <a:cubicBezTo>
                    <a:pt x="1739823" y="2339509"/>
                    <a:pt x="1740424" y="2330639"/>
                    <a:pt x="1739422" y="2323724"/>
                  </a:cubicBezTo>
                  <a:cubicBezTo>
                    <a:pt x="1737969" y="2313652"/>
                    <a:pt x="1733709" y="2306937"/>
                    <a:pt x="1726143" y="2302678"/>
                  </a:cubicBezTo>
                  <a:cubicBezTo>
                    <a:pt x="1723537" y="2301225"/>
                    <a:pt x="1721032" y="2299471"/>
                    <a:pt x="1718626" y="2297817"/>
                  </a:cubicBezTo>
                  <a:cubicBezTo>
                    <a:pt x="1715169" y="2295412"/>
                    <a:pt x="1711911" y="2293157"/>
                    <a:pt x="1708354" y="2291654"/>
                  </a:cubicBezTo>
                  <a:cubicBezTo>
                    <a:pt x="1704295" y="2289950"/>
                    <a:pt x="1699785" y="2289148"/>
                    <a:pt x="1695024" y="2288296"/>
                  </a:cubicBezTo>
                  <a:cubicBezTo>
                    <a:pt x="1692820" y="2287896"/>
                    <a:pt x="1690615" y="2287495"/>
                    <a:pt x="1688410" y="2286994"/>
                  </a:cubicBezTo>
                  <a:lnTo>
                    <a:pt x="1686255" y="2286492"/>
                  </a:lnTo>
                  <a:lnTo>
                    <a:pt x="1686255" y="2284288"/>
                  </a:lnTo>
                  <a:cubicBezTo>
                    <a:pt x="1686656" y="2266148"/>
                    <a:pt x="1698181" y="2257178"/>
                    <a:pt x="1710258" y="2249712"/>
                  </a:cubicBezTo>
                  <a:cubicBezTo>
                    <a:pt x="1710508" y="2247607"/>
                    <a:pt x="1710659" y="2245553"/>
                    <a:pt x="1710809" y="2243498"/>
                  </a:cubicBezTo>
                  <a:cubicBezTo>
                    <a:pt x="1711260" y="2237535"/>
                    <a:pt x="1711711" y="2231922"/>
                    <a:pt x="1713565" y="2226561"/>
                  </a:cubicBezTo>
                  <a:cubicBezTo>
                    <a:pt x="1715319" y="2221399"/>
                    <a:pt x="1718276" y="2216940"/>
                    <a:pt x="1721483" y="2212179"/>
                  </a:cubicBezTo>
                  <a:cubicBezTo>
                    <a:pt x="1722434" y="2210776"/>
                    <a:pt x="1723337" y="2209373"/>
                    <a:pt x="1724239" y="2207920"/>
                  </a:cubicBezTo>
                  <a:cubicBezTo>
                    <a:pt x="1707702" y="2195092"/>
                    <a:pt x="1691116" y="2181562"/>
                    <a:pt x="1686155" y="2158912"/>
                  </a:cubicBezTo>
                  <a:lnTo>
                    <a:pt x="1685604" y="2156256"/>
                  </a:lnTo>
                  <a:lnTo>
                    <a:pt x="1690564" y="2155204"/>
                  </a:lnTo>
                  <a:cubicBezTo>
                    <a:pt x="1696929" y="2153851"/>
                    <a:pt x="1702441" y="2152698"/>
                    <a:pt x="1708304" y="2151446"/>
                  </a:cubicBezTo>
                  <a:cubicBezTo>
                    <a:pt x="1708304" y="2150844"/>
                    <a:pt x="1708304" y="2150193"/>
                    <a:pt x="1708304" y="2149642"/>
                  </a:cubicBezTo>
                  <a:cubicBezTo>
                    <a:pt x="1708304" y="2147387"/>
                    <a:pt x="1708253" y="2145583"/>
                    <a:pt x="1707753" y="2144080"/>
                  </a:cubicBezTo>
                  <a:cubicBezTo>
                    <a:pt x="1703443" y="2130149"/>
                    <a:pt x="1704095" y="2116018"/>
                    <a:pt x="1709807" y="2100734"/>
                  </a:cubicBezTo>
                  <a:cubicBezTo>
                    <a:pt x="1712062" y="2094721"/>
                    <a:pt x="1713214" y="2088057"/>
                    <a:pt x="1714367" y="2081642"/>
                  </a:cubicBezTo>
                  <a:cubicBezTo>
                    <a:pt x="1714718" y="2079738"/>
                    <a:pt x="1715018" y="2077784"/>
                    <a:pt x="1715369" y="2075880"/>
                  </a:cubicBezTo>
                  <a:cubicBezTo>
                    <a:pt x="1716271" y="2071169"/>
                    <a:pt x="1717023" y="2066459"/>
                    <a:pt x="1717724" y="2061749"/>
                  </a:cubicBezTo>
                  <a:cubicBezTo>
                    <a:pt x="1718576" y="2056337"/>
                    <a:pt x="1719428" y="2050925"/>
                    <a:pt x="1720481" y="2045563"/>
                  </a:cubicBezTo>
                  <a:cubicBezTo>
                    <a:pt x="1723136" y="2032084"/>
                    <a:pt x="1729600" y="2019907"/>
                    <a:pt x="1740875" y="2007329"/>
                  </a:cubicBezTo>
                  <a:cubicBezTo>
                    <a:pt x="1750145" y="1996906"/>
                    <a:pt x="1761470" y="1995052"/>
                    <a:pt x="1772344" y="1994601"/>
                  </a:cubicBezTo>
                  <a:cubicBezTo>
                    <a:pt x="1774800" y="1994501"/>
                    <a:pt x="1777505" y="1993398"/>
                    <a:pt x="1780111" y="1992296"/>
                  </a:cubicBezTo>
                  <a:cubicBezTo>
                    <a:pt x="1797650" y="1985331"/>
                    <a:pt x="1814788" y="1978466"/>
                    <a:pt x="1831925" y="1971651"/>
                  </a:cubicBezTo>
                  <a:lnTo>
                    <a:pt x="1857381" y="1961478"/>
                  </a:lnTo>
                  <a:cubicBezTo>
                    <a:pt x="1867253" y="1957570"/>
                    <a:pt x="1871562" y="1951807"/>
                    <a:pt x="1871312" y="1942938"/>
                  </a:cubicBezTo>
                  <a:cubicBezTo>
                    <a:pt x="1871111" y="1932715"/>
                    <a:pt x="1876072" y="1924397"/>
                    <a:pt x="1880783" y="1917432"/>
                  </a:cubicBezTo>
                  <a:cubicBezTo>
                    <a:pt x="1884391" y="1912070"/>
                    <a:pt x="1890353" y="1910065"/>
                    <a:pt x="1896317" y="1912120"/>
                  </a:cubicBezTo>
                  <a:cubicBezTo>
                    <a:pt x="1900526" y="1913573"/>
                    <a:pt x="1904435" y="1915627"/>
                    <a:pt x="1908243" y="1917632"/>
                  </a:cubicBezTo>
                  <a:cubicBezTo>
                    <a:pt x="1909546" y="1918334"/>
                    <a:pt x="1910849" y="1918985"/>
                    <a:pt x="1912152" y="1919686"/>
                  </a:cubicBezTo>
                  <a:cubicBezTo>
                    <a:pt x="1930141" y="1913272"/>
                    <a:pt x="1945876" y="1903100"/>
                    <a:pt x="1961109" y="1893279"/>
                  </a:cubicBezTo>
                  <a:cubicBezTo>
                    <a:pt x="1963715" y="1891575"/>
                    <a:pt x="1966371" y="1889871"/>
                    <a:pt x="1968976" y="1888217"/>
                  </a:cubicBezTo>
                  <a:cubicBezTo>
                    <a:pt x="1972634" y="1885862"/>
                    <a:pt x="1975391" y="1880601"/>
                    <a:pt x="1976743" y="1876491"/>
                  </a:cubicBezTo>
                  <a:cubicBezTo>
                    <a:pt x="1979550" y="1868073"/>
                    <a:pt x="1981754" y="1858702"/>
                    <a:pt x="1983809" y="1847027"/>
                  </a:cubicBezTo>
                  <a:cubicBezTo>
                    <a:pt x="1985312" y="1838558"/>
                    <a:pt x="1989722" y="1832645"/>
                    <a:pt x="1997740" y="1828436"/>
                  </a:cubicBezTo>
                  <a:lnTo>
                    <a:pt x="1999043" y="1827734"/>
                  </a:lnTo>
                  <a:lnTo>
                    <a:pt x="2016982" y="1837957"/>
                  </a:lnTo>
                  <a:cubicBezTo>
                    <a:pt x="2017583" y="1830290"/>
                    <a:pt x="2014777" y="1824077"/>
                    <a:pt x="2011971" y="1818063"/>
                  </a:cubicBezTo>
                  <a:cubicBezTo>
                    <a:pt x="2011420" y="1816861"/>
                    <a:pt x="2010868" y="1815708"/>
                    <a:pt x="2010367" y="1814505"/>
                  </a:cubicBezTo>
                  <a:cubicBezTo>
                    <a:pt x="2007611" y="1808142"/>
                    <a:pt x="2004354" y="1801828"/>
                    <a:pt x="2001247" y="1795714"/>
                  </a:cubicBezTo>
                  <a:cubicBezTo>
                    <a:pt x="1997990" y="1789400"/>
                    <a:pt x="1994633" y="1782886"/>
                    <a:pt x="1991776" y="1776221"/>
                  </a:cubicBezTo>
                  <a:cubicBezTo>
                    <a:pt x="1987567" y="1766350"/>
                    <a:pt x="1982907" y="1754624"/>
                    <a:pt x="1980352" y="1742347"/>
                  </a:cubicBezTo>
                  <a:cubicBezTo>
                    <a:pt x="1976743" y="1724758"/>
                    <a:pt x="1972885" y="1709074"/>
                    <a:pt x="1962412" y="1695494"/>
                  </a:cubicBezTo>
                  <a:cubicBezTo>
                    <a:pt x="1958754" y="1690783"/>
                    <a:pt x="1955848" y="1683267"/>
                    <a:pt x="1957300" y="1678005"/>
                  </a:cubicBezTo>
                  <a:cubicBezTo>
                    <a:pt x="1958854" y="1672393"/>
                    <a:pt x="1959956" y="1666480"/>
                    <a:pt x="1961059" y="1660818"/>
                  </a:cubicBezTo>
                  <a:cubicBezTo>
                    <a:pt x="1963314" y="1648992"/>
                    <a:pt x="1965669" y="1636765"/>
                    <a:pt x="1971883" y="1625440"/>
                  </a:cubicBezTo>
                  <a:lnTo>
                    <a:pt x="1972685" y="1623987"/>
                  </a:lnTo>
                  <a:cubicBezTo>
                    <a:pt x="1978948" y="1612612"/>
                    <a:pt x="1985363" y="1600836"/>
                    <a:pt x="1985663" y="1587757"/>
                  </a:cubicBezTo>
                  <a:lnTo>
                    <a:pt x="1985663" y="1586304"/>
                  </a:lnTo>
                  <a:cubicBezTo>
                    <a:pt x="1985663" y="1586304"/>
                    <a:pt x="1986916" y="1585552"/>
                    <a:pt x="1986916" y="1585552"/>
                  </a:cubicBezTo>
                  <a:cubicBezTo>
                    <a:pt x="1988469" y="1584600"/>
                    <a:pt x="1989872" y="1583698"/>
                    <a:pt x="1991275" y="1582796"/>
                  </a:cubicBezTo>
                  <a:cubicBezTo>
                    <a:pt x="1994232" y="1580942"/>
                    <a:pt x="1997038" y="1579138"/>
                    <a:pt x="1999944" y="1577585"/>
                  </a:cubicBezTo>
                  <a:cubicBezTo>
                    <a:pt x="2008564" y="1572925"/>
                    <a:pt x="2012372" y="1566410"/>
                    <a:pt x="2011921" y="1557040"/>
                  </a:cubicBezTo>
                  <a:cubicBezTo>
                    <a:pt x="2011820" y="1554735"/>
                    <a:pt x="2011870" y="1552379"/>
                    <a:pt x="2011921" y="1550024"/>
                  </a:cubicBezTo>
                  <a:cubicBezTo>
                    <a:pt x="2011971" y="1547669"/>
                    <a:pt x="2012071" y="1545264"/>
                    <a:pt x="2011921" y="1542908"/>
                  </a:cubicBezTo>
                  <a:cubicBezTo>
                    <a:pt x="2010567" y="1519607"/>
                    <a:pt x="2014226" y="1496958"/>
                    <a:pt x="2018786" y="1471803"/>
                  </a:cubicBezTo>
                  <a:cubicBezTo>
                    <a:pt x="2019487" y="1468044"/>
                    <a:pt x="2020840" y="1464386"/>
                    <a:pt x="2022193" y="1460878"/>
                  </a:cubicBezTo>
                  <a:cubicBezTo>
                    <a:pt x="2022795" y="1459225"/>
                    <a:pt x="2023446" y="1457571"/>
                    <a:pt x="2024047" y="1455867"/>
                  </a:cubicBezTo>
                  <a:lnTo>
                    <a:pt x="2024599" y="1454264"/>
                  </a:lnTo>
                  <a:lnTo>
                    <a:pt x="2026252" y="1454063"/>
                  </a:lnTo>
                  <a:cubicBezTo>
                    <a:pt x="2049102" y="1451057"/>
                    <a:pt x="2068044" y="1450957"/>
                    <a:pt x="2086284" y="1460427"/>
                  </a:cubicBezTo>
                  <a:cubicBezTo>
                    <a:pt x="2089090" y="1461881"/>
                    <a:pt x="2092147" y="1463033"/>
                    <a:pt x="2095354" y="1464186"/>
                  </a:cubicBezTo>
                  <a:cubicBezTo>
                    <a:pt x="2096657" y="1464637"/>
                    <a:pt x="2097910" y="1465138"/>
                    <a:pt x="2099213" y="1465639"/>
                  </a:cubicBezTo>
                  <a:cubicBezTo>
                    <a:pt x="2118956" y="1473205"/>
                    <a:pt x="2119307" y="1473205"/>
                    <a:pt x="2139752" y="1463885"/>
                  </a:cubicBezTo>
                  <a:lnTo>
                    <a:pt x="2141105" y="1463284"/>
                  </a:lnTo>
                  <a:lnTo>
                    <a:pt x="2157841" y="1474258"/>
                  </a:lnTo>
                  <a:cubicBezTo>
                    <a:pt x="2158693" y="1473155"/>
                    <a:pt x="2159545" y="1472053"/>
                    <a:pt x="2160347" y="1471051"/>
                  </a:cubicBezTo>
                  <a:cubicBezTo>
                    <a:pt x="2162802" y="1467894"/>
                    <a:pt x="2164957" y="1465037"/>
                    <a:pt x="2167312" y="1462282"/>
                  </a:cubicBezTo>
                  <a:cubicBezTo>
                    <a:pt x="2171371" y="1457471"/>
                    <a:pt x="2175530" y="1452760"/>
                    <a:pt x="2179639" y="1448050"/>
                  </a:cubicBezTo>
                  <a:lnTo>
                    <a:pt x="2184400" y="1442688"/>
                  </a:lnTo>
                  <a:cubicBezTo>
                    <a:pt x="2190263" y="1435974"/>
                    <a:pt x="2197378" y="1433017"/>
                    <a:pt x="2205546" y="1433819"/>
                  </a:cubicBezTo>
                  <a:cubicBezTo>
                    <a:pt x="2214716" y="1434771"/>
                    <a:pt x="2223436" y="1432115"/>
                    <a:pt x="2232155" y="1425801"/>
                  </a:cubicBezTo>
                  <a:lnTo>
                    <a:pt x="2233808" y="1424599"/>
                  </a:lnTo>
                  <a:lnTo>
                    <a:pt x="2257761" y="1443540"/>
                  </a:lnTo>
                  <a:cubicBezTo>
                    <a:pt x="2263573" y="1436675"/>
                    <a:pt x="2264075" y="1429309"/>
                    <a:pt x="2264075" y="1422294"/>
                  </a:cubicBezTo>
                  <a:cubicBezTo>
                    <a:pt x="2264075" y="1417633"/>
                    <a:pt x="2264075" y="1413023"/>
                    <a:pt x="2264075" y="1408363"/>
                  </a:cubicBezTo>
                  <a:cubicBezTo>
                    <a:pt x="2264075" y="1398942"/>
                    <a:pt x="2263975" y="1389171"/>
                    <a:pt x="2264325" y="1379600"/>
                  </a:cubicBezTo>
                  <a:cubicBezTo>
                    <a:pt x="2264576" y="1372233"/>
                    <a:pt x="2266129" y="1364767"/>
                    <a:pt x="2267532" y="1358303"/>
                  </a:cubicBezTo>
                  <a:cubicBezTo>
                    <a:pt x="2268134" y="1355547"/>
                    <a:pt x="2269136" y="1352891"/>
                    <a:pt x="2270088" y="1350286"/>
                  </a:cubicBezTo>
                  <a:cubicBezTo>
                    <a:pt x="2271592" y="1346226"/>
                    <a:pt x="2272994" y="1342418"/>
                    <a:pt x="2272844" y="1338810"/>
                  </a:cubicBezTo>
                  <a:cubicBezTo>
                    <a:pt x="2272644" y="1334150"/>
                    <a:pt x="2270739" y="1329440"/>
                    <a:pt x="2268735" y="1324429"/>
                  </a:cubicBezTo>
                  <a:cubicBezTo>
                    <a:pt x="2267833" y="1322174"/>
                    <a:pt x="2266931" y="1319969"/>
                    <a:pt x="2266179" y="1317714"/>
                  </a:cubicBezTo>
                  <a:lnTo>
                    <a:pt x="2265879" y="1316812"/>
                  </a:lnTo>
                  <a:lnTo>
                    <a:pt x="2266229" y="1315910"/>
                  </a:lnTo>
                  <a:cubicBezTo>
                    <a:pt x="2275199" y="1292358"/>
                    <a:pt x="2275901" y="1290454"/>
                    <a:pt x="2254904" y="1276022"/>
                  </a:cubicBezTo>
                  <a:lnTo>
                    <a:pt x="2250044" y="1272665"/>
                  </a:lnTo>
                  <a:cubicBezTo>
                    <a:pt x="2228447" y="1257882"/>
                    <a:pt x="2227595" y="1257331"/>
                    <a:pt x="2225841" y="1240845"/>
                  </a:cubicBezTo>
                  <a:cubicBezTo>
                    <a:pt x="2225340" y="1236185"/>
                    <a:pt x="2224689" y="1229771"/>
                    <a:pt x="2223135" y="1221051"/>
                  </a:cubicBezTo>
                  <a:cubicBezTo>
                    <a:pt x="2222984" y="1220200"/>
                    <a:pt x="2222834" y="1219298"/>
                    <a:pt x="2222784" y="1218496"/>
                  </a:cubicBezTo>
                  <a:cubicBezTo>
                    <a:pt x="2222283" y="1213786"/>
                    <a:pt x="2221582" y="1208975"/>
                    <a:pt x="2220880" y="1204164"/>
                  </a:cubicBezTo>
                  <a:cubicBezTo>
                    <a:pt x="2219276" y="1193290"/>
                    <a:pt x="2217573" y="1182016"/>
                    <a:pt x="2218524" y="1171042"/>
                  </a:cubicBezTo>
                  <a:cubicBezTo>
                    <a:pt x="2220579" y="1147239"/>
                    <a:pt x="2227494" y="1123237"/>
                    <a:pt x="2239220" y="1099635"/>
                  </a:cubicBezTo>
                  <a:lnTo>
                    <a:pt x="2240022" y="1098031"/>
                  </a:lnTo>
                  <a:lnTo>
                    <a:pt x="2241826" y="1098181"/>
                  </a:lnTo>
                  <a:cubicBezTo>
                    <a:pt x="2265077" y="1099835"/>
                    <a:pt x="2280561" y="1086005"/>
                    <a:pt x="2294391" y="1071623"/>
                  </a:cubicBezTo>
                  <a:lnTo>
                    <a:pt x="2295293" y="1070671"/>
                  </a:lnTo>
                  <a:lnTo>
                    <a:pt x="2309826" y="1072325"/>
                  </a:lnTo>
                  <a:cubicBezTo>
                    <a:pt x="2310126" y="1071824"/>
                    <a:pt x="2310477" y="1071322"/>
                    <a:pt x="2310777" y="1070821"/>
                  </a:cubicBezTo>
                  <a:cubicBezTo>
                    <a:pt x="2311980" y="1068967"/>
                    <a:pt x="2313033" y="1067364"/>
                    <a:pt x="2313784" y="1065660"/>
                  </a:cubicBezTo>
                  <a:cubicBezTo>
                    <a:pt x="2319597" y="1052782"/>
                    <a:pt x="2318945" y="1043812"/>
                    <a:pt x="2311579" y="1035644"/>
                  </a:cubicBezTo>
                  <a:cubicBezTo>
                    <a:pt x="2308973" y="1032687"/>
                    <a:pt x="2307270" y="1029230"/>
                    <a:pt x="2305416" y="1025522"/>
                  </a:cubicBezTo>
                  <a:cubicBezTo>
                    <a:pt x="2304614" y="1023918"/>
                    <a:pt x="2303812" y="1022265"/>
                    <a:pt x="2302910" y="1020611"/>
                  </a:cubicBezTo>
                  <a:lnTo>
                    <a:pt x="2301908" y="1018857"/>
                  </a:lnTo>
                  <a:lnTo>
                    <a:pt x="2303311" y="1017404"/>
                  </a:lnTo>
                  <a:cubicBezTo>
                    <a:pt x="2312281" y="1008234"/>
                    <a:pt x="2321200" y="1003774"/>
                    <a:pt x="2330521" y="1003774"/>
                  </a:cubicBezTo>
                  <a:cubicBezTo>
                    <a:pt x="2345153" y="1003774"/>
                    <a:pt x="2352970" y="994453"/>
                    <a:pt x="2360336" y="984081"/>
                  </a:cubicBezTo>
                  <a:cubicBezTo>
                    <a:pt x="2362741" y="980773"/>
                    <a:pt x="2364846" y="977316"/>
                    <a:pt x="2367302" y="973307"/>
                  </a:cubicBezTo>
                  <a:cubicBezTo>
                    <a:pt x="2368504" y="971403"/>
                    <a:pt x="2369757" y="969348"/>
                    <a:pt x="2371110" y="967194"/>
                  </a:cubicBezTo>
                  <a:lnTo>
                    <a:pt x="2372363" y="965189"/>
                  </a:lnTo>
                  <a:lnTo>
                    <a:pt x="2383888" y="970701"/>
                  </a:lnTo>
                  <a:cubicBezTo>
                    <a:pt x="2391054" y="974109"/>
                    <a:pt x="2397919" y="977416"/>
                    <a:pt x="2404884" y="980573"/>
                  </a:cubicBezTo>
                  <a:lnTo>
                    <a:pt x="2408843" y="982427"/>
                  </a:lnTo>
                  <a:cubicBezTo>
                    <a:pt x="2417662" y="986586"/>
                    <a:pt x="2426031" y="990495"/>
                    <a:pt x="2436303" y="990094"/>
                  </a:cubicBezTo>
                  <a:lnTo>
                    <a:pt x="2446475" y="967444"/>
                  </a:lnTo>
                  <a:lnTo>
                    <a:pt x="2447177" y="966993"/>
                  </a:lnTo>
                  <a:cubicBezTo>
                    <a:pt x="2460857" y="958610"/>
                    <a:pt x="2469877" y="950923"/>
                    <a:pt x="2474136" y="943943"/>
                  </a:cubicBezTo>
                  <a:lnTo>
                    <a:pt x="2474437" y="943441"/>
                  </a:lnTo>
                  <a:cubicBezTo>
                    <a:pt x="2481853" y="931415"/>
                    <a:pt x="2489370" y="919489"/>
                    <a:pt x="2496886" y="907613"/>
                  </a:cubicBezTo>
                  <a:lnTo>
                    <a:pt x="2503751" y="896739"/>
                  </a:lnTo>
                  <a:cubicBezTo>
                    <a:pt x="2503351" y="895486"/>
                    <a:pt x="2502899" y="894233"/>
                    <a:pt x="2502448" y="892930"/>
                  </a:cubicBezTo>
                  <a:cubicBezTo>
                    <a:pt x="2500995" y="888721"/>
                    <a:pt x="2499442" y="884362"/>
                    <a:pt x="2499542" y="879802"/>
                  </a:cubicBezTo>
                  <a:cubicBezTo>
                    <a:pt x="2499643" y="874841"/>
                    <a:pt x="2501045" y="870030"/>
                    <a:pt x="2502549" y="864969"/>
                  </a:cubicBezTo>
                  <a:cubicBezTo>
                    <a:pt x="2503050" y="863265"/>
                    <a:pt x="2503551" y="861562"/>
                    <a:pt x="2504052" y="859808"/>
                  </a:cubicBezTo>
                  <a:cubicBezTo>
                    <a:pt x="2501797" y="858154"/>
                    <a:pt x="2499592" y="856500"/>
                    <a:pt x="2497387" y="854897"/>
                  </a:cubicBezTo>
                  <a:cubicBezTo>
                    <a:pt x="2491574" y="850587"/>
                    <a:pt x="2486062" y="846478"/>
                    <a:pt x="2480350" y="842520"/>
                  </a:cubicBezTo>
                  <a:cubicBezTo>
                    <a:pt x="2474086" y="838160"/>
                    <a:pt x="2470879" y="832247"/>
                    <a:pt x="2470579" y="824530"/>
                  </a:cubicBezTo>
                  <a:lnTo>
                    <a:pt x="2470579" y="822726"/>
                  </a:lnTo>
                  <a:cubicBezTo>
                    <a:pt x="2469676" y="802031"/>
                    <a:pt x="2468825" y="780634"/>
                    <a:pt x="2482756" y="761993"/>
                  </a:cubicBezTo>
                  <a:cubicBezTo>
                    <a:pt x="2482756" y="761842"/>
                    <a:pt x="2482756" y="761642"/>
                    <a:pt x="2482805" y="761441"/>
                  </a:cubicBezTo>
                  <a:cubicBezTo>
                    <a:pt x="2482805" y="761291"/>
                    <a:pt x="2482805" y="761141"/>
                    <a:pt x="2482805" y="760991"/>
                  </a:cubicBezTo>
                  <a:cubicBezTo>
                    <a:pt x="2473585" y="753875"/>
                    <a:pt x="2469376" y="744454"/>
                    <a:pt x="2469977" y="732328"/>
                  </a:cubicBezTo>
                  <a:cubicBezTo>
                    <a:pt x="2470478" y="720802"/>
                    <a:pt x="2473836" y="709778"/>
                    <a:pt x="2480400" y="697651"/>
                  </a:cubicBezTo>
                  <a:cubicBezTo>
                    <a:pt x="2486012" y="687329"/>
                    <a:pt x="2486714" y="679562"/>
                    <a:pt x="2482805" y="670943"/>
                  </a:cubicBezTo>
                  <a:cubicBezTo>
                    <a:pt x="2480450" y="665781"/>
                    <a:pt x="2480601" y="659718"/>
                    <a:pt x="2480751" y="653855"/>
                  </a:cubicBezTo>
                  <a:cubicBezTo>
                    <a:pt x="2480751" y="652252"/>
                    <a:pt x="2480851" y="650648"/>
                    <a:pt x="2480801" y="649095"/>
                  </a:cubicBezTo>
                  <a:cubicBezTo>
                    <a:pt x="2480801" y="646790"/>
                    <a:pt x="2482204" y="644885"/>
                    <a:pt x="2483307" y="643332"/>
                  </a:cubicBezTo>
                  <a:cubicBezTo>
                    <a:pt x="2483657" y="642831"/>
                    <a:pt x="2484058" y="642330"/>
                    <a:pt x="2484309" y="641879"/>
                  </a:cubicBezTo>
                  <a:lnTo>
                    <a:pt x="2484910" y="640827"/>
                  </a:lnTo>
                  <a:lnTo>
                    <a:pt x="2504753" y="636517"/>
                  </a:lnTo>
                  <a:lnTo>
                    <a:pt x="2511268" y="621083"/>
                  </a:lnTo>
                  <a:lnTo>
                    <a:pt x="2521591" y="618227"/>
                  </a:lnTo>
                  <a:cubicBezTo>
                    <a:pt x="2531713" y="615471"/>
                    <a:pt x="2542136" y="612615"/>
                    <a:pt x="2552559" y="609658"/>
                  </a:cubicBezTo>
                  <a:cubicBezTo>
                    <a:pt x="2567391" y="605449"/>
                    <a:pt x="2579117" y="600538"/>
                    <a:pt x="2587836" y="590165"/>
                  </a:cubicBezTo>
                  <a:cubicBezTo>
                    <a:pt x="2589841" y="587810"/>
                    <a:pt x="2592647" y="586357"/>
                    <a:pt x="2594852" y="585154"/>
                  </a:cubicBezTo>
                  <a:cubicBezTo>
                    <a:pt x="2595653" y="584753"/>
                    <a:pt x="2596405" y="584352"/>
                    <a:pt x="2597006" y="583952"/>
                  </a:cubicBezTo>
                  <a:lnTo>
                    <a:pt x="2598058" y="583250"/>
                  </a:lnTo>
                  <a:lnTo>
                    <a:pt x="2620558" y="590466"/>
                  </a:lnTo>
                  <a:cubicBezTo>
                    <a:pt x="2627323" y="583300"/>
                    <a:pt x="2629979" y="575282"/>
                    <a:pt x="2632785" y="566814"/>
                  </a:cubicBezTo>
                  <a:cubicBezTo>
                    <a:pt x="2633286" y="565260"/>
                    <a:pt x="2633837" y="563657"/>
                    <a:pt x="2634388" y="562103"/>
                  </a:cubicBezTo>
                  <a:cubicBezTo>
                    <a:pt x="2637395" y="553635"/>
                    <a:pt x="2640953" y="546970"/>
                    <a:pt x="2648620" y="541909"/>
                  </a:cubicBezTo>
                  <a:cubicBezTo>
                    <a:pt x="2657589" y="536046"/>
                    <a:pt x="2658892" y="531085"/>
                    <a:pt x="2653981" y="521564"/>
                  </a:cubicBezTo>
                  <a:cubicBezTo>
                    <a:pt x="2652127" y="517956"/>
                    <a:pt x="2649772" y="514449"/>
                    <a:pt x="2647518" y="511091"/>
                  </a:cubicBezTo>
                  <a:cubicBezTo>
                    <a:pt x="2646314" y="509338"/>
                    <a:pt x="2645162" y="507584"/>
                    <a:pt x="2644009" y="505780"/>
                  </a:cubicBezTo>
                  <a:cubicBezTo>
                    <a:pt x="2635090" y="491799"/>
                    <a:pt x="2627674" y="476515"/>
                    <a:pt x="2621210" y="459027"/>
                  </a:cubicBezTo>
                  <a:lnTo>
                    <a:pt x="2621009" y="458526"/>
                  </a:lnTo>
                  <a:lnTo>
                    <a:pt x="2621009" y="458025"/>
                  </a:lnTo>
                  <a:cubicBezTo>
                    <a:pt x="2621109" y="455219"/>
                    <a:pt x="2622512" y="452964"/>
                    <a:pt x="2623765" y="451009"/>
                  </a:cubicBezTo>
                  <a:cubicBezTo>
                    <a:pt x="2625569" y="448203"/>
                    <a:pt x="2626672" y="446399"/>
                    <a:pt x="2624818" y="443192"/>
                  </a:cubicBezTo>
                  <a:cubicBezTo>
                    <a:pt x="2622362" y="442340"/>
                    <a:pt x="2619857" y="441438"/>
                    <a:pt x="2617201" y="440536"/>
                  </a:cubicBezTo>
                  <a:cubicBezTo>
                    <a:pt x="2610035" y="438081"/>
                    <a:pt x="2601967" y="435275"/>
                    <a:pt x="2594100" y="432268"/>
                  </a:cubicBezTo>
                  <a:lnTo>
                    <a:pt x="2590492" y="430915"/>
                  </a:lnTo>
                  <a:cubicBezTo>
                    <a:pt x="2583577" y="428310"/>
                    <a:pt x="2576361" y="425604"/>
                    <a:pt x="2569947" y="421745"/>
                  </a:cubicBezTo>
                  <a:cubicBezTo>
                    <a:pt x="2562631" y="417335"/>
                    <a:pt x="2555465" y="412475"/>
                    <a:pt x="2548550" y="407764"/>
                  </a:cubicBezTo>
                  <a:cubicBezTo>
                    <a:pt x="2541985" y="403305"/>
                    <a:pt x="2535221" y="398745"/>
                    <a:pt x="2528356" y="394535"/>
                  </a:cubicBezTo>
                  <a:cubicBezTo>
                    <a:pt x="2518484" y="388472"/>
                    <a:pt x="2514775" y="379603"/>
                    <a:pt x="2517031" y="367476"/>
                  </a:cubicBezTo>
                  <a:cubicBezTo>
                    <a:pt x="2518033" y="362114"/>
                    <a:pt x="2519586" y="356953"/>
                    <a:pt x="2521089" y="351942"/>
                  </a:cubicBezTo>
                  <a:cubicBezTo>
                    <a:pt x="2521591" y="350238"/>
                    <a:pt x="2522092" y="348584"/>
                    <a:pt x="2522543" y="346981"/>
                  </a:cubicBezTo>
                  <a:lnTo>
                    <a:pt x="2507209" y="325333"/>
                  </a:lnTo>
                  <a:lnTo>
                    <a:pt x="2508312" y="323780"/>
                  </a:lnTo>
                  <a:cubicBezTo>
                    <a:pt x="2512370" y="318117"/>
                    <a:pt x="2516279" y="312455"/>
                    <a:pt x="2520188" y="306843"/>
                  </a:cubicBezTo>
                  <a:cubicBezTo>
                    <a:pt x="2528756" y="294465"/>
                    <a:pt x="2536874" y="282790"/>
                    <a:pt x="2545794" y="271365"/>
                  </a:cubicBezTo>
                  <a:cubicBezTo>
                    <a:pt x="2572853" y="236688"/>
                    <a:pt x="2604824" y="196901"/>
                    <a:pt x="2643157" y="163077"/>
                  </a:cubicBezTo>
                  <a:cubicBezTo>
                    <a:pt x="2641053" y="155159"/>
                    <a:pt x="2636493" y="148294"/>
                    <a:pt x="2631632" y="141078"/>
                  </a:cubicBezTo>
                  <a:cubicBezTo>
                    <a:pt x="2624717" y="130756"/>
                    <a:pt x="2617601" y="120132"/>
                    <a:pt x="2617702" y="105901"/>
                  </a:cubicBezTo>
                  <a:lnTo>
                    <a:pt x="2594200" y="96280"/>
                  </a:lnTo>
                  <a:lnTo>
                    <a:pt x="2593749" y="95629"/>
                  </a:lnTo>
                  <a:cubicBezTo>
                    <a:pt x="2592196" y="93374"/>
                    <a:pt x="2590742" y="90868"/>
                    <a:pt x="2589389" y="88463"/>
                  </a:cubicBezTo>
                  <a:cubicBezTo>
                    <a:pt x="2586533" y="83452"/>
                    <a:pt x="2583577" y="78240"/>
                    <a:pt x="2579568" y="76035"/>
                  </a:cubicBezTo>
                  <a:cubicBezTo>
                    <a:pt x="2570698" y="71125"/>
                    <a:pt x="2562280" y="65162"/>
                    <a:pt x="2551005" y="55841"/>
                  </a:cubicBezTo>
                  <a:lnTo>
                    <a:pt x="2545894" y="76988"/>
                  </a:lnTo>
                  <a:lnTo>
                    <a:pt x="2532464" y="83051"/>
                  </a:lnTo>
                  <a:cubicBezTo>
                    <a:pt x="2530260" y="86859"/>
                    <a:pt x="2530109" y="90918"/>
                    <a:pt x="2529909" y="95178"/>
                  </a:cubicBezTo>
                  <a:cubicBezTo>
                    <a:pt x="2529659" y="100890"/>
                    <a:pt x="2529408" y="106853"/>
                    <a:pt x="2524196" y="112165"/>
                  </a:cubicBezTo>
                  <a:lnTo>
                    <a:pt x="2522192" y="114219"/>
                  </a:lnTo>
                  <a:lnTo>
                    <a:pt x="2494581" y="83452"/>
                  </a:lnTo>
                  <a:cubicBezTo>
                    <a:pt x="2475189" y="88613"/>
                    <a:pt x="2452188" y="93023"/>
                    <a:pt x="2427384" y="88262"/>
                  </a:cubicBezTo>
                  <a:lnTo>
                    <a:pt x="2425980" y="88012"/>
                  </a:lnTo>
                  <a:lnTo>
                    <a:pt x="2423676" y="82600"/>
                  </a:lnTo>
                  <a:cubicBezTo>
                    <a:pt x="2421922" y="78491"/>
                    <a:pt x="2420167" y="74232"/>
                    <a:pt x="2418313" y="70022"/>
                  </a:cubicBezTo>
                  <a:cubicBezTo>
                    <a:pt x="2416760" y="66515"/>
                    <a:pt x="2415207" y="63057"/>
                    <a:pt x="2413603" y="59549"/>
                  </a:cubicBezTo>
                  <a:cubicBezTo>
                    <a:pt x="2410346" y="52383"/>
                    <a:pt x="2406989" y="44967"/>
                    <a:pt x="2404082" y="37451"/>
                  </a:cubicBezTo>
                  <a:cubicBezTo>
                    <a:pt x="2400324" y="27729"/>
                    <a:pt x="2393559" y="22368"/>
                    <a:pt x="2381483" y="19411"/>
                  </a:cubicBezTo>
                  <a:cubicBezTo>
                    <a:pt x="2355426" y="13047"/>
                    <a:pt x="2335632" y="7635"/>
                    <a:pt x="2317442" y="1973"/>
                  </a:cubicBezTo>
                  <a:cubicBezTo>
                    <a:pt x="2305416" y="-1786"/>
                    <a:pt x="2295444" y="-232"/>
                    <a:pt x="2284119" y="7134"/>
                  </a:cubicBezTo>
                  <a:cubicBezTo>
                    <a:pt x="2255306" y="25775"/>
                    <a:pt x="2222684" y="46921"/>
                    <a:pt x="2189611" y="65963"/>
                  </a:cubicBezTo>
                  <a:cubicBezTo>
                    <a:pt x="2161650" y="82099"/>
                    <a:pt x="2140754" y="100640"/>
                    <a:pt x="2125771" y="122638"/>
                  </a:cubicBezTo>
                  <a:cubicBezTo>
                    <a:pt x="2109685" y="146140"/>
                    <a:pt x="2085883" y="157114"/>
                    <a:pt x="2064687" y="164781"/>
                  </a:cubicBezTo>
                  <a:lnTo>
                    <a:pt x="2063635" y="165181"/>
                  </a:lnTo>
                  <a:lnTo>
                    <a:pt x="2062582" y="164680"/>
                  </a:lnTo>
                  <a:cubicBezTo>
                    <a:pt x="2057521" y="162175"/>
                    <a:pt x="2052410" y="159719"/>
                    <a:pt x="2047299" y="157264"/>
                  </a:cubicBezTo>
                  <a:cubicBezTo>
                    <a:pt x="2035572" y="151652"/>
                    <a:pt x="2023496" y="145839"/>
                    <a:pt x="2011921" y="139375"/>
                  </a:cubicBezTo>
                  <a:cubicBezTo>
                    <a:pt x="1995385" y="130154"/>
                    <a:pt x="1980101" y="126396"/>
                    <a:pt x="1963815" y="127649"/>
                  </a:cubicBezTo>
                  <a:cubicBezTo>
                    <a:pt x="1950336" y="128701"/>
                    <a:pt x="1937407" y="127348"/>
                    <a:pt x="1925380" y="123690"/>
                  </a:cubicBezTo>
                  <a:cubicBezTo>
                    <a:pt x="1923126" y="122989"/>
                    <a:pt x="1920620" y="122888"/>
                    <a:pt x="1918165" y="122738"/>
                  </a:cubicBezTo>
                  <a:cubicBezTo>
                    <a:pt x="1917313" y="122738"/>
                    <a:pt x="1916411" y="122638"/>
                    <a:pt x="1915609" y="122588"/>
                  </a:cubicBezTo>
                  <a:cubicBezTo>
                    <a:pt x="1912753" y="124091"/>
                    <a:pt x="1910397" y="126246"/>
                    <a:pt x="1907892" y="128551"/>
                  </a:cubicBezTo>
                  <a:cubicBezTo>
                    <a:pt x="1903282" y="132760"/>
                    <a:pt x="1898471" y="137120"/>
                    <a:pt x="1890705" y="137170"/>
                  </a:cubicBezTo>
                  <a:cubicBezTo>
                    <a:pt x="1879329" y="137170"/>
                    <a:pt x="1868205" y="135466"/>
                    <a:pt x="1863745" y="121936"/>
                  </a:cubicBezTo>
                  <a:lnTo>
                    <a:pt x="1863595" y="121435"/>
                  </a:lnTo>
                  <a:lnTo>
                    <a:pt x="1863595" y="120884"/>
                  </a:lnTo>
                  <a:cubicBezTo>
                    <a:pt x="1864647" y="108707"/>
                    <a:pt x="1872314" y="100840"/>
                    <a:pt x="1879680" y="93223"/>
                  </a:cubicBezTo>
                  <a:cubicBezTo>
                    <a:pt x="1880733" y="92121"/>
                    <a:pt x="1881785" y="91068"/>
                    <a:pt x="1882837" y="89966"/>
                  </a:cubicBezTo>
                  <a:cubicBezTo>
                    <a:pt x="1867303" y="71977"/>
                    <a:pt x="1848962" y="57645"/>
                    <a:pt x="1821402" y="69772"/>
                  </a:cubicBezTo>
                  <a:cubicBezTo>
                    <a:pt x="1816241" y="72027"/>
                    <a:pt x="1810779" y="73430"/>
                    <a:pt x="1805467" y="74833"/>
                  </a:cubicBezTo>
                  <a:cubicBezTo>
                    <a:pt x="1803863" y="75234"/>
                    <a:pt x="1802310" y="75635"/>
                    <a:pt x="1800706" y="76086"/>
                  </a:cubicBezTo>
                  <a:cubicBezTo>
                    <a:pt x="1792890" y="78190"/>
                    <a:pt x="1787428" y="82951"/>
                    <a:pt x="1783569" y="91068"/>
                  </a:cubicBezTo>
                  <a:cubicBezTo>
                    <a:pt x="1777406" y="104097"/>
                    <a:pt x="1769188" y="121185"/>
                    <a:pt x="1760218" y="137721"/>
                  </a:cubicBezTo>
                  <a:cubicBezTo>
                    <a:pt x="1747139" y="161824"/>
                    <a:pt x="1733659" y="185626"/>
                    <a:pt x="1718626" y="212085"/>
                  </a:cubicBezTo>
                  <a:cubicBezTo>
                    <a:pt x="1715820" y="216995"/>
                    <a:pt x="1712463" y="219952"/>
                    <a:pt x="1708604" y="220854"/>
                  </a:cubicBezTo>
                  <a:cubicBezTo>
                    <a:pt x="1704996" y="221706"/>
                    <a:pt x="1701087" y="220753"/>
                    <a:pt x="1696979" y="217997"/>
                  </a:cubicBezTo>
                  <a:lnTo>
                    <a:pt x="1696177" y="217446"/>
                  </a:lnTo>
                  <a:lnTo>
                    <a:pt x="1694824" y="212585"/>
                  </a:lnTo>
                  <a:cubicBezTo>
                    <a:pt x="1692318" y="203716"/>
                    <a:pt x="1689763" y="194746"/>
                    <a:pt x="1687157" y="185526"/>
                  </a:cubicBezTo>
                  <a:lnTo>
                    <a:pt x="1686656" y="183672"/>
                  </a:lnTo>
                  <a:lnTo>
                    <a:pt x="1705748" y="170343"/>
                  </a:lnTo>
                  <a:lnTo>
                    <a:pt x="1702591" y="137671"/>
                  </a:lnTo>
                  <a:lnTo>
                    <a:pt x="1698732" y="140277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13" name="Полилиния: фигура 112">
              <a:extLst>
                <a:ext uri="{FF2B5EF4-FFF2-40B4-BE49-F238E27FC236}">
                  <a16:creationId xmlns:a16="http://schemas.microsoft.com/office/drawing/2014/main" id="{5647DE31-FA3B-4B85-B9F8-16D52E83E619}"/>
                </a:ext>
              </a:extLst>
            </p:cNvPr>
            <p:cNvSpPr/>
            <p:nvPr/>
          </p:nvSpPr>
          <p:spPr>
            <a:xfrm>
              <a:off x="4147621" y="1982710"/>
              <a:ext cx="1529128" cy="1986591"/>
            </a:xfrm>
            <a:custGeom>
              <a:avLst/>
              <a:gdLst>
                <a:gd name="connsiteX0" fmla="*/ 408726 w 1226125"/>
                <a:gd name="connsiteY0" fmla="*/ 396061 h 1592940"/>
                <a:gd name="connsiteX1" fmla="*/ 403966 w 1226125"/>
                <a:gd name="connsiteY1" fmla="*/ 392403 h 1592940"/>
                <a:gd name="connsiteX2" fmla="*/ 389835 w 1226125"/>
                <a:gd name="connsiteY2" fmla="*/ 381830 h 1592940"/>
                <a:gd name="connsiteX3" fmla="*/ 368989 w 1226125"/>
                <a:gd name="connsiteY3" fmla="*/ 385387 h 1592940"/>
                <a:gd name="connsiteX4" fmla="*/ 360120 w 1226125"/>
                <a:gd name="connsiteY4" fmla="*/ 404128 h 1592940"/>
                <a:gd name="connsiteX5" fmla="*/ 365080 w 1226125"/>
                <a:gd name="connsiteY5" fmla="*/ 412697 h 1592940"/>
                <a:gd name="connsiteX6" fmla="*/ 375954 w 1226125"/>
                <a:gd name="connsiteY6" fmla="*/ 433042 h 1592940"/>
                <a:gd name="connsiteX7" fmla="*/ 370041 w 1226125"/>
                <a:gd name="connsiteY7" fmla="*/ 475185 h 1592940"/>
                <a:gd name="connsiteX8" fmla="*/ 361723 w 1226125"/>
                <a:gd name="connsiteY8" fmla="*/ 487512 h 1592940"/>
                <a:gd name="connsiteX9" fmla="*/ 347241 w 1226125"/>
                <a:gd name="connsiteY9" fmla="*/ 504950 h 1592940"/>
                <a:gd name="connsiteX10" fmla="*/ 339274 w 1226125"/>
                <a:gd name="connsiteY10" fmla="*/ 516475 h 1592940"/>
                <a:gd name="connsiteX11" fmla="*/ 343483 w 1226125"/>
                <a:gd name="connsiteY11" fmla="*/ 549498 h 1592940"/>
                <a:gd name="connsiteX12" fmla="*/ 359869 w 1226125"/>
                <a:gd name="connsiteY12" fmla="*/ 594898 h 1592940"/>
                <a:gd name="connsiteX13" fmla="*/ 359869 w 1226125"/>
                <a:gd name="connsiteY13" fmla="*/ 596150 h 1592940"/>
                <a:gd name="connsiteX14" fmla="*/ 358967 w 1226125"/>
                <a:gd name="connsiteY14" fmla="*/ 596952 h 1592940"/>
                <a:gd name="connsiteX15" fmla="*/ 296379 w 1226125"/>
                <a:gd name="connsiteY15" fmla="*/ 636539 h 1592940"/>
                <a:gd name="connsiteX16" fmla="*/ 267867 w 1226125"/>
                <a:gd name="connsiteY16" fmla="*/ 659239 h 1592940"/>
                <a:gd name="connsiteX17" fmla="*/ 242010 w 1226125"/>
                <a:gd name="connsiteY17" fmla="*/ 673871 h 1592940"/>
                <a:gd name="connsiteX18" fmla="*/ 189194 w 1226125"/>
                <a:gd name="connsiteY18" fmla="*/ 680937 h 1592940"/>
                <a:gd name="connsiteX19" fmla="*/ 167296 w 1226125"/>
                <a:gd name="connsiteY19" fmla="*/ 683091 h 1592940"/>
                <a:gd name="connsiteX20" fmla="*/ 138081 w 1226125"/>
                <a:gd name="connsiteY20" fmla="*/ 701081 h 1592940"/>
                <a:gd name="connsiteX21" fmla="*/ 125153 w 1226125"/>
                <a:gd name="connsiteY21" fmla="*/ 713809 h 1592940"/>
                <a:gd name="connsiteX22" fmla="*/ 87721 w 1226125"/>
                <a:gd name="connsiteY22" fmla="*/ 738513 h 1592940"/>
                <a:gd name="connsiteX23" fmla="*/ 80254 w 1226125"/>
                <a:gd name="connsiteY23" fmla="*/ 745078 h 1592940"/>
                <a:gd name="connsiteX24" fmla="*/ 76596 w 1226125"/>
                <a:gd name="connsiteY24" fmla="*/ 747984 h 1592940"/>
                <a:gd name="connsiteX25" fmla="*/ 75394 w 1226125"/>
                <a:gd name="connsiteY25" fmla="*/ 748986 h 1592940"/>
                <a:gd name="connsiteX26" fmla="*/ 73890 w 1226125"/>
                <a:gd name="connsiteY26" fmla="*/ 748435 h 1592940"/>
                <a:gd name="connsiteX27" fmla="*/ 67677 w 1226125"/>
                <a:gd name="connsiteY27" fmla="*/ 745930 h 1592940"/>
                <a:gd name="connsiteX28" fmla="*/ 53947 w 1226125"/>
                <a:gd name="connsiteY28" fmla="*/ 740919 h 1592940"/>
                <a:gd name="connsiteX29" fmla="*/ 39515 w 1226125"/>
                <a:gd name="connsiteY29" fmla="*/ 743374 h 1592940"/>
                <a:gd name="connsiteX30" fmla="*/ 43173 w 1226125"/>
                <a:gd name="connsiteY30" fmla="*/ 764019 h 1592940"/>
                <a:gd name="connsiteX31" fmla="*/ 50389 w 1226125"/>
                <a:gd name="connsiteY31" fmla="*/ 792983 h 1592940"/>
                <a:gd name="connsiteX32" fmla="*/ 45578 w 1226125"/>
                <a:gd name="connsiteY32" fmla="*/ 817837 h 1592940"/>
                <a:gd name="connsiteX33" fmla="*/ 28340 w 1226125"/>
                <a:gd name="connsiteY33" fmla="*/ 851161 h 1592940"/>
                <a:gd name="connsiteX34" fmla="*/ 24582 w 1226125"/>
                <a:gd name="connsiteY34" fmla="*/ 862235 h 1592940"/>
                <a:gd name="connsiteX35" fmla="*/ 22628 w 1226125"/>
                <a:gd name="connsiteY35" fmla="*/ 867146 h 1592940"/>
                <a:gd name="connsiteX36" fmla="*/ 22127 w 1226125"/>
                <a:gd name="connsiteY36" fmla="*/ 868499 h 1592940"/>
                <a:gd name="connsiteX37" fmla="*/ 20724 w 1226125"/>
                <a:gd name="connsiteY37" fmla="*/ 868799 h 1592940"/>
                <a:gd name="connsiteX38" fmla="*/ 17366 w 1226125"/>
                <a:gd name="connsiteY38" fmla="*/ 869651 h 1592940"/>
                <a:gd name="connsiteX39" fmla="*/ 10802 w 1226125"/>
                <a:gd name="connsiteY39" fmla="*/ 871054 h 1592940"/>
                <a:gd name="connsiteX40" fmla="*/ 279 w 1226125"/>
                <a:gd name="connsiteY40" fmla="*/ 880575 h 1592940"/>
                <a:gd name="connsiteX41" fmla="*/ 7344 w 1226125"/>
                <a:gd name="connsiteY41" fmla="*/ 896009 h 1592940"/>
                <a:gd name="connsiteX42" fmla="*/ 14610 w 1226125"/>
                <a:gd name="connsiteY42" fmla="*/ 899216 h 1592940"/>
                <a:gd name="connsiteX43" fmla="*/ 20022 w 1226125"/>
                <a:gd name="connsiteY43" fmla="*/ 901371 h 1592940"/>
                <a:gd name="connsiteX44" fmla="*/ 22377 w 1226125"/>
                <a:gd name="connsiteY44" fmla="*/ 902323 h 1592940"/>
                <a:gd name="connsiteX45" fmla="*/ 32550 w 1226125"/>
                <a:gd name="connsiteY45" fmla="*/ 912145 h 1592940"/>
                <a:gd name="connsiteX46" fmla="*/ 32750 w 1226125"/>
                <a:gd name="connsiteY46" fmla="*/ 912946 h 1592940"/>
                <a:gd name="connsiteX47" fmla="*/ 32500 w 1226125"/>
                <a:gd name="connsiteY47" fmla="*/ 913748 h 1592940"/>
                <a:gd name="connsiteX48" fmla="*/ 31247 w 1226125"/>
                <a:gd name="connsiteY48" fmla="*/ 917106 h 1592940"/>
                <a:gd name="connsiteX49" fmla="*/ 28391 w 1226125"/>
                <a:gd name="connsiteY49" fmla="*/ 925825 h 1592940"/>
                <a:gd name="connsiteX50" fmla="*/ 29743 w 1226125"/>
                <a:gd name="connsiteY50" fmla="*/ 936699 h 1592940"/>
                <a:gd name="connsiteX51" fmla="*/ 40668 w 1226125"/>
                <a:gd name="connsiteY51" fmla="*/ 941760 h 1592940"/>
                <a:gd name="connsiteX52" fmla="*/ 44125 w 1226125"/>
                <a:gd name="connsiteY52" fmla="*/ 941810 h 1592940"/>
                <a:gd name="connsiteX53" fmla="*/ 50539 w 1226125"/>
                <a:gd name="connsiteY53" fmla="*/ 942361 h 1592940"/>
                <a:gd name="connsiteX54" fmla="*/ 85316 w 1226125"/>
                <a:gd name="connsiteY54" fmla="*/ 942912 h 1592940"/>
                <a:gd name="connsiteX55" fmla="*/ 111473 w 1226125"/>
                <a:gd name="connsiteY55" fmla="*/ 952984 h 1592940"/>
                <a:gd name="connsiteX56" fmla="*/ 119591 w 1226125"/>
                <a:gd name="connsiteY56" fmla="*/ 952884 h 1592940"/>
                <a:gd name="connsiteX57" fmla="*/ 139384 w 1226125"/>
                <a:gd name="connsiteY57" fmla="*/ 954187 h 1592940"/>
                <a:gd name="connsiteX58" fmla="*/ 172307 w 1226125"/>
                <a:gd name="connsiteY58" fmla="*/ 968619 h 1592940"/>
                <a:gd name="connsiteX59" fmla="*/ 204678 w 1226125"/>
                <a:gd name="connsiteY59" fmla="*/ 991168 h 1592940"/>
                <a:gd name="connsiteX60" fmla="*/ 218258 w 1226125"/>
                <a:gd name="connsiteY60" fmla="*/ 1001040 h 1592940"/>
                <a:gd name="connsiteX61" fmla="*/ 219510 w 1226125"/>
                <a:gd name="connsiteY61" fmla="*/ 1001942 h 1592940"/>
                <a:gd name="connsiteX62" fmla="*/ 219410 w 1226125"/>
                <a:gd name="connsiteY62" fmla="*/ 1003445 h 1592940"/>
                <a:gd name="connsiteX63" fmla="*/ 207684 w 1226125"/>
                <a:gd name="connsiteY63" fmla="*/ 1019430 h 1592940"/>
                <a:gd name="connsiteX64" fmla="*/ 199466 w 1226125"/>
                <a:gd name="connsiteY64" fmla="*/ 1027598 h 1592940"/>
                <a:gd name="connsiteX65" fmla="*/ 236448 w 1226125"/>
                <a:gd name="connsiteY65" fmla="*/ 1069390 h 1592940"/>
                <a:gd name="connsiteX66" fmla="*/ 238051 w 1226125"/>
                <a:gd name="connsiteY66" fmla="*/ 1068889 h 1592940"/>
                <a:gd name="connsiteX67" fmla="*/ 244816 w 1226125"/>
                <a:gd name="connsiteY67" fmla="*/ 1066183 h 1592940"/>
                <a:gd name="connsiteX68" fmla="*/ 294225 w 1226125"/>
                <a:gd name="connsiteY68" fmla="*/ 1061172 h 1592940"/>
                <a:gd name="connsiteX69" fmla="*/ 309258 w 1226125"/>
                <a:gd name="connsiteY69" fmla="*/ 1059468 h 1592940"/>
                <a:gd name="connsiteX70" fmla="*/ 338121 w 1226125"/>
                <a:gd name="connsiteY70" fmla="*/ 1056712 h 1592940"/>
                <a:gd name="connsiteX71" fmla="*/ 339574 w 1226125"/>
                <a:gd name="connsiteY71" fmla="*/ 1057063 h 1592940"/>
                <a:gd name="connsiteX72" fmla="*/ 340025 w 1226125"/>
                <a:gd name="connsiteY72" fmla="*/ 1058516 h 1592940"/>
                <a:gd name="connsiteX73" fmla="*/ 356912 w 1226125"/>
                <a:gd name="connsiteY73" fmla="*/ 1074902 h 1592940"/>
                <a:gd name="connsiteX74" fmla="*/ 378810 w 1226125"/>
                <a:gd name="connsiteY74" fmla="*/ 1098254 h 1592940"/>
                <a:gd name="connsiteX75" fmla="*/ 379311 w 1226125"/>
                <a:gd name="connsiteY75" fmla="*/ 1099607 h 1592940"/>
                <a:gd name="connsiteX76" fmla="*/ 378460 w 1226125"/>
                <a:gd name="connsiteY76" fmla="*/ 1100759 h 1592940"/>
                <a:gd name="connsiteX77" fmla="*/ 376455 w 1226125"/>
                <a:gd name="connsiteY77" fmla="*/ 1103616 h 1592940"/>
                <a:gd name="connsiteX78" fmla="*/ 372547 w 1226125"/>
                <a:gd name="connsiteY78" fmla="*/ 1108927 h 1592940"/>
                <a:gd name="connsiteX79" fmla="*/ 376806 w 1226125"/>
                <a:gd name="connsiteY79" fmla="*/ 1175574 h 1592940"/>
                <a:gd name="connsiteX80" fmla="*/ 389534 w 1226125"/>
                <a:gd name="connsiteY80" fmla="*/ 1209348 h 1592940"/>
                <a:gd name="connsiteX81" fmla="*/ 389283 w 1226125"/>
                <a:gd name="connsiteY81" fmla="*/ 1219721 h 1592940"/>
                <a:gd name="connsiteX82" fmla="*/ 391238 w 1226125"/>
                <a:gd name="connsiteY82" fmla="*/ 1250037 h 1592940"/>
                <a:gd name="connsiteX83" fmla="*/ 443703 w 1226125"/>
                <a:gd name="connsiteY83" fmla="*/ 1257053 h 1592940"/>
                <a:gd name="connsiteX84" fmla="*/ 450518 w 1226125"/>
                <a:gd name="connsiteY84" fmla="*/ 1255399 h 1592940"/>
                <a:gd name="connsiteX85" fmla="*/ 479281 w 1226125"/>
                <a:gd name="connsiteY85" fmla="*/ 1252492 h 1592940"/>
                <a:gd name="connsiteX86" fmla="*/ 480283 w 1226125"/>
                <a:gd name="connsiteY86" fmla="*/ 1252643 h 1592940"/>
                <a:gd name="connsiteX87" fmla="*/ 480935 w 1226125"/>
                <a:gd name="connsiteY87" fmla="*/ 1253394 h 1592940"/>
                <a:gd name="connsiteX88" fmla="*/ 506641 w 1226125"/>
                <a:gd name="connsiteY88" fmla="*/ 1297291 h 1592940"/>
                <a:gd name="connsiteX89" fmla="*/ 548082 w 1226125"/>
                <a:gd name="connsiteY89" fmla="*/ 1335224 h 1592940"/>
                <a:gd name="connsiteX90" fmla="*/ 561562 w 1226125"/>
                <a:gd name="connsiteY90" fmla="*/ 1338131 h 1592940"/>
                <a:gd name="connsiteX91" fmla="*/ 575843 w 1226125"/>
                <a:gd name="connsiteY91" fmla="*/ 1341238 h 1592940"/>
                <a:gd name="connsiteX92" fmla="*/ 577848 w 1226125"/>
                <a:gd name="connsiteY92" fmla="*/ 1341839 h 1592940"/>
                <a:gd name="connsiteX93" fmla="*/ 600447 w 1226125"/>
                <a:gd name="connsiteY93" fmla="*/ 1351410 h 1592940"/>
                <a:gd name="connsiteX94" fmla="*/ 667194 w 1226125"/>
                <a:gd name="connsiteY94" fmla="*/ 1395507 h 1592940"/>
                <a:gd name="connsiteX95" fmla="*/ 682828 w 1226125"/>
                <a:gd name="connsiteY95" fmla="*/ 1414849 h 1592940"/>
                <a:gd name="connsiteX96" fmla="*/ 691648 w 1226125"/>
                <a:gd name="connsiteY96" fmla="*/ 1435946 h 1592940"/>
                <a:gd name="connsiteX97" fmla="*/ 719960 w 1226125"/>
                <a:gd name="connsiteY97" fmla="*/ 1456641 h 1592940"/>
                <a:gd name="connsiteX98" fmla="*/ 726474 w 1226125"/>
                <a:gd name="connsiteY98" fmla="*/ 1456641 h 1592940"/>
                <a:gd name="connsiteX99" fmla="*/ 730032 w 1226125"/>
                <a:gd name="connsiteY99" fmla="*/ 1456641 h 1592940"/>
                <a:gd name="connsiteX100" fmla="*/ 740455 w 1226125"/>
                <a:gd name="connsiteY100" fmla="*/ 1456641 h 1592940"/>
                <a:gd name="connsiteX101" fmla="*/ 791968 w 1226125"/>
                <a:gd name="connsiteY101" fmla="*/ 1468016 h 1592940"/>
                <a:gd name="connsiteX102" fmla="*/ 819028 w 1226125"/>
                <a:gd name="connsiteY102" fmla="*/ 1469770 h 1592940"/>
                <a:gd name="connsiteX103" fmla="*/ 824991 w 1226125"/>
                <a:gd name="connsiteY103" fmla="*/ 1467715 h 1592940"/>
                <a:gd name="connsiteX104" fmla="*/ 882167 w 1226125"/>
                <a:gd name="connsiteY104" fmla="*/ 1444565 h 1592940"/>
                <a:gd name="connsiteX105" fmla="*/ 910629 w 1226125"/>
                <a:gd name="connsiteY105" fmla="*/ 1441859 h 1592940"/>
                <a:gd name="connsiteX106" fmla="*/ 911832 w 1226125"/>
                <a:gd name="connsiteY106" fmla="*/ 1442510 h 1592940"/>
                <a:gd name="connsiteX107" fmla="*/ 911982 w 1226125"/>
                <a:gd name="connsiteY107" fmla="*/ 1443913 h 1592940"/>
                <a:gd name="connsiteX108" fmla="*/ 912433 w 1226125"/>
                <a:gd name="connsiteY108" fmla="*/ 1448774 h 1592940"/>
                <a:gd name="connsiteX109" fmla="*/ 913986 w 1226125"/>
                <a:gd name="connsiteY109" fmla="*/ 1461151 h 1592940"/>
                <a:gd name="connsiteX110" fmla="*/ 914087 w 1226125"/>
                <a:gd name="connsiteY110" fmla="*/ 1461702 h 1592940"/>
                <a:gd name="connsiteX111" fmla="*/ 917895 w 1226125"/>
                <a:gd name="connsiteY111" fmla="*/ 1473027 h 1592940"/>
                <a:gd name="connsiteX112" fmla="*/ 956780 w 1226125"/>
                <a:gd name="connsiteY112" fmla="*/ 1494174 h 1592940"/>
                <a:gd name="connsiteX113" fmla="*/ 961791 w 1226125"/>
                <a:gd name="connsiteY113" fmla="*/ 1494174 h 1592940"/>
                <a:gd name="connsiteX114" fmla="*/ 964247 w 1226125"/>
                <a:gd name="connsiteY114" fmla="*/ 1494274 h 1592940"/>
                <a:gd name="connsiteX115" fmla="*/ 983990 w 1226125"/>
                <a:gd name="connsiteY115" fmla="*/ 1505599 h 1592940"/>
                <a:gd name="connsiteX116" fmla="*/ 991406 w 1226125"/>
                <a:gd name="connsiteY116" fmla="*/ 1516573 h 1592940"/>
                <a:gd name="connsiteX117" fmla="*/ 1003633 w 1226125"/>
                <a:gd name="connsiteY117" fmla="*/ 1535314 h 1592940"/>
                <a:gd name="connsiteX118" fmla="*/ 1029941 w 1226125"/>
                <a:gd name="connsiteY118" fmla="*/ 1549445 h 1592940"/>
                <a:gd name="connsiteX119" fmla="*/ 1035303 w 1226125"/>
                <a:gd name="connsiteY119" fmla="*/ 1549094 h 1592940"/>
                <a:gd name="connsiteX120" fmla="*/ 1065219 w 1226125"/>
                <a:gd name="connsiteY120" fmla="*/ 1565079 h 1592940"/>
                <a:gd name="connsiteX121" fmla="*/ 1072284 w 1226125"/>
                <a:gd name="connsiteY121" fmla="*/ 1574099 h 1592940"/>
                <a:gd name="connsiteX122" fmla="*/ 1079751 w 1226125"/>
                <a:gd name="connsiteY122" fmla="*/ 1583620 h 1592940"/>
                <a:gd name="connsiteX123" fmla="*/ 1086215 w 1226125"/>
                <a:gd name="connsiteY123" fmla="*/ 1590736 h 1592940"/>
                <a:gd name="connsiteX124" fmla="*/ 1088319 w 1226125"/>
                <a:gd name="connsiteY124" fmla="*/ 1592941 h 1592940"/>
                <a:gd name="connsiteX125" fmla="*/ 1093581 w 1226125"/>
                <a:gd name="connsiteY125" fmla="*/ 1589884 h 1592940"/>
                <a:gd name="connsiteX126" fmla="*/ 1109666 w 1226125"/>
                <a:gd name="connsiteY126" fmla="*/ 1580714 h 1592940"/>
                <a:gd name="connsiteX127" fmla="*/ 1160428 w 1226125"/>
                <a:gd name="connsiteY127" fmla="*/ 1519529 h 1592940"/>
                <a:gd name="connsiteX128" fmla="*/ 1163384 w 1226125"/>
                <a:gd name="connsiteY128" fmla="*/ 1512815 h 1592940"/>
                <a:gd name="connsiteX129" fmla="*/ 1173557 w 1226125"/>
                <a:gd name="connsiteY129" fmla="*/ 1494124 h 1592940"/>
                <a:gd name="connsiteX130" fmla="*/ 1176313 w 1226125"/>
                <a:gd name="connsiteY130" fmla="*/ 1487860 h 1592940"/>
                <a:gd name="connsiteX131" fmla="*/ 1177064 w 1226125"/>
                <a:gd name="connsiteY131" fmla="*/ 1485655 h 1592940"/>
                <a:gd name="connsiteX132" fmla="*/ 1173306 w 1226125"/>
                <a:gd name="connsiteY132" fmla="*/ 1482899 h 1592940"/>
                <a:gd name="connsiteX133" fmla="*/ 1162883 w 1226125"/>
                <a:gd name="connsiteY133" fmla="*/ 1475132 h 1592940"/>
                <a:gd name="connsiteX134" fmla="*/ 1154765 w 1226125"/>
                <a:gd name="connsiteY134" fmla="*/ 1444314 h 1592940"/>
                <a:gd name="connsiteX135" fmla="*/ 1174609 w 1226125"/>
                <a:gd name="connsiteY135" fmla="*/ 1428780 h 1592940"/>
                <a:gd name="connsiteX136" fmla="*/ 1189792 w 1226125"/>
                <a:gd name="connsiteY136" fmla="*/ 1419610 h 1592940"/>
                <a:gd name="connsiteX137" fmla="*/ 1199514 w 1226125"/>
                <a:gd name="connsiteY137" fmla="*/ 1405078 h 1592940"/>
                <a:gd name="connsiteX138" fmla="*/ 1214597 w 1226125"/>
                <a:gd name="connsiteY138" fmla="*/ 1382177 h 1592940"/>
                <a:gd name="connsiteX139" fmla="*/ 1225471 w 1226125"/>
                <a:gd name="connsiteY139" fmla="*/ 1317536 h 1592940"/>
                <a:gd name="connsiteX140" fmla="*/ 1222063 w 1226125"/>
                <a:gd name="connsiteY140" fmla="*/ 1309017 h 1592940"/>
                <a:gd name="connsiteX141" fmla="*/ 1220710 w 1226125"/>
                <a:gd name="connsiteY141" fmla="*/ 1306160 h 1592940"/>
                <a:gd name="connsiteX142" fmla="*/ 1174158 w 1226125"/>
                <a:gd name="connsiteY142" fmla="*/ 1284713 h 1592940"/>
                <a:gd name="connsiteX143" fmla="*/ 1155667 w 1226125"/>
                <a:gd name="connsiteY143" fmla="*/ 1279903 h 1592940"/>
                <a:gd name="connsiteX144" fmla="*/ 1155116 w 1226125"/>
                <a:gd name="connsiteY144" fmla="*/ 1278850 h 1592940"/>
                <a:gd name="connsiteX145" fmla="*/ 1145746 w 1226125"/>
                <a:gd name="connsiteY145" fmla="*/ 1247281 h 1592940"/>
                <a:gd name="connsiteX146" fmla="*/ 1145746 w 1226125"/>
                <a:gd name="connsiteY146" fmla="*/ 1245928 h 1592940"/>
                <a:gd name="connsiteX147" fmla="*/ 1147499 w 1226125"/>
                <a:gd name="connsiteY147" fmla="*/ 1244675 h 1592940"/>
                <a:gd name="connsiteX148" fmla="*/ 1161230 w 1226125"/>
                <a:gd name="connsiteY148" fmla="*/ 1227638 h 1592940"/>
                <a:gd name="connsiteX149" fmla="*/ 1160478 w 1226125"/>
                <a:gd name="connsiteY149" fmla="*/ 1169159 h 1592940"/>
                <a:gd name="connsiteX150" fmla="*/ 1158023 w 1226125"/>
                <a:gd name="connsiteY150" fmla="*/ 1167756 h 1592940"/>
                <a:gd name="connsiteX151" fmla="*/ 1153012 w 1226125"/>
                <a:gd name="connsiteY151" fmla="*/ 1165401 h 1592940"/>
                <a:gd name="connsiteX152" fmla="*/ 1128758 w 1226125"/>
                <a:gd name="connsiteY152" fmla="*/ 1138743 h 1592940"/>
                <a:gd name="connsiteX153" fmla="*/ 1127856 w 1226125"/>
                <a:gd name="connsiteY153" fmla="*/ 1135736 h 1592940"/>
                <a:gd name="connsiteX154" fmla="*/ 1126353 w 1226125"/>
                <a:gd name="connsiteY154" fmla="*/ 1129071 h 1592940"/>
                <a:gd name="connsiteX155" fmla="*/ 1125752 w 1226125"/>
                <a:gd name="connsiteY155" fmla="*/ 1112585 h 1592940"/>
                <a:gd name="connsiteX156" fmla="*/ 1129510 w 1226125"/>
                <a:gd name="connsiteY156" fmla="*/ 1041279 h 1592940"/>
                <a:gd name="connsiteX157" fmla="*/ 1129961 w 1226125"/>
                <a:gd name="connsiteY157" fmla="*/ 1039374 h 1592940"/>
                <a:gd name="connsiteX158" fmla="*/ 1132416 w 1226125"/>
                <a:gd name="connsiteY158" fmla="*/ 1019130 h 1592940"/>
                <a:gd name="connsiteX159" fmla="*/ 1130863 w 1226125"/>
                <a:gd name="connsiteY159" fmla="*/ 1008957 h 1592940"/>
                <a:gd name="connsiteX160" fmla="*/ 1111120 w 1226125"/>
                <a:gd name="connsiteY160" fmla="*/ 946169 h 1592940"/>
                <a:gd name="connsiteX161" fmla="*/ 1112422 w 1226125"/>
                <a:gd name="connsiteY161" fmla="*/ 921265 h 1592940"/>
                <a:gd name="connsiteX162" fmla="*/ 1116331 w 1226125"/>
                <a:gd name="connsiteY162" fmla="*/ 917106 h 1592940"/>
                <a:gd name="connsiteX163" fmla="*/ 1123346 w 1226125"/>
                <a:gd name="connsiteY163" fmla="*/ 905630 h 1592940"/>
                <a:gd name="connsiteX164" fmla="*/ 1117734 w 1226125"/>
                <a:gd name="connsiteY164" fmla="*/ 852514 h 1592940"/>
                <a:gd name="connsiteX165" fmla="*/ 1117985 w 1226125"/>
                <a:gd name="connsiteY165" fmla="*/ 850409 h 1592940"/>
                <a:gd name="connsiteX166" fmla="*/ 1125902 w 1226125"/>
                <a:gd name="connsiteY166" fmla="*/ 846200 h 1592940"/>
                <a:gd name="connsiteX167" fmla="*/ 1143942 w 1226125"/>
                <a:gd name="connsiteY167" fmla="*/ 836629 h 1592940"/>
                <a:gd name="connsiteX168" fmla="*/ 1156319 w 1226125"/>
                <a:gd name="connsiteY168" fmla="*/ 825705 h 1592940"/>
                <a:gd name="connsiteX169" fmla="*/ 1161781 w 1226125"/>
                <a:gd name="connsiteY169" fmla="*/ 812526 h 1592940"/>
                <a:gd name="connsiteX170" fmla="*/ 1171853 w 1226125"/>
                <a:gd name="connsiteY170" fmla="*/ 784113 h 1592940"/>
                <a:gd name="connsiteX171" fmla="*/ 1183528 w 1226125"/>
                <a:gd name="connsiteY171" fmla="*/ 715613 h 1592940"/>
                <a:gd name="connsiteX172" fmla="*/ 1187738 w 1226125"/>
                <a:gd name="connsiteY172" fmla="*/ 688654 h 1592940"/>
                <a:gd name="connsiteX173" fmla="*/ 1185032 w 1226125"/>
                <a:gd name="connsiteY173" fmla="*/ 675124 h 1592940"/>
                <a:gd name="connsiteX174" fmla="*/ 1172605 w 1226125"/>
                <a:gd name="connsiteY174" fmla="*/ 658788 h 1592940"/>
                <a:gd name="connsiteX175" fmla="*/ 1167894 w 1226125"/>
                <a:gd name="connsiteY175" fmla="*/ 652474 h 1592940"/>
                <a:gd name="connsiteX176" fmla="*/ 1166341 w 1226125"/>
                <a:gd name="connsiteY176" fmla="*/ 652925 h 1592940"/>
                <a:gd name="connsiteX177" fmla="*/ 1134671 w 1226125"/>
                <a:gd name="connsiteY177" fmla="*/ 664952 h 1592940"/>
                <a:gd name="connsiteX178" fmla="*/ 1104104 w 1226125"/>
                <a:gd name="connsiteY178" fmla="*/ 650169 h 1592940"/>
                <a:gd name="connsiteX179" fmla="*/ 1103703 w 1226125"/>
                <a:gd name="connsiteY179" fmla="*/ 649718 h 1592940"/>
                <a:gd name="connsiteX180" fmla="*/ 1097890 w 1226125"/>
                <a:gd name="connsiteY180" fmla="*/ 644507 h 1592940"/>
                <a:gd name="connsiteX181" fmla="*/ 1057502 w 1226125"/>
                <a:gd name="connsiteY181" fmla="*/ 592542 h 1592940"/>
                <a:gd name="connsiteX182" fmla="*/ 1051789 w 1226125"/>
                <a:gd name="connsiteY182" fmla="*/ 544487 h 1592940"/>
                <a:gd name="connsiteX183" fmla="*/ 1051940 w 1226125"/>
                <a:gd name="connsiteY183" fmla="*/ 543585 h 1592940"/>
                <a:gd name="connsiteX184" fmla="*/ 1052641 w 1226125"/>
                <a:gd name="connsiteY184" fmla="*/ 542984 h 1592940"/>
                <a:gd name="connsiteX185" fmla="*/ 1058153 w 1226125"/>
                <a:gd name="connsiteY185" fmla="*/ 538424 h 1592940"/>
                <a:gd name="connsiteX186" fmla="*/ 1072635 w 1226125"/>
                <a:gd name="connsiteY186" fmla="*/ 522539 h 1592940"/>
                <a:gd name="connsiteX187" fmla="*/ 1090073 w 1226125"/>
                <a:gd name="connsiteY187" fmla="*/ 508207 h 1592940"/>
                <a:gd name="connsiteX188" fmla="*/ 1136275 w 1226125"/>
                <a:gd name="connsiteY188" fmla="*/ 477490 h 1592940"/>
                <a:gd name="connsiteX189" fmla="*/ 1140785 w 1226125"/>
                <a:gd name="connsiteY189" fmla="*/ 475886 h 1592940"/>
                <a:gd name="connsiteX190" fmla="*/ 1142037 w 1226125"/>
                <a:gd name="connsiteY190" fmla="*/ 475736 h 1592940"/>
                <a:gd name="connsiteX191" fmla="*/ 1142538 w 1226125"/>
                <a:gd name="connsiteY191" fmla="*/ 475636 h 1592940"/>
                <a:gd name="connsiteX192" fmla="*/ 1143040 w 1226125"/>
                <a:gd name="connsiteY192" fmla="*/ 475736 h 1592940"/>
                <a:gd name="connsiteX193" fmla="*/ 1153312 w 1226125"/>
                <a:gd name="connsiteY193" fmla="*/ 479394 h 1592940"/>
                <a:gd name="connsiteX194" fmla="*/ 1171151 w 1226125"/>
                <a:gd name="connsiteY194" fmla="*/ 481098 h 1592940"/>
                <a:gd name="connsiteX195" fmla="*/ 1181324 w 1226125"/>
                <a:gd name="connsiteY195" fmla="*/ 417658 h 1592940"/>
                <a:gd name="connsiteX196" fmla="*/ 1164286 w 1226125"/>
                <a:gd name="connsiteY196" fmla="*/ 381228 h 1592940"/>
                <a:gd name="connsiteX197" fmla="*/ 1152661 w 1226125"/>
                <a:gd name="connsiteY197" fmla="*/ 370705 h 1592940"/>
                <a:gd name="connsiteX198" fmla="*/ 1149955 w 1226125"/>
                <a:gd name="connsiteY198" fmla="*/ 367398 h 1592940"/>
                <a:gd name="connsiteX199" fmla="*/ 1145044 w 1226125"/>
                <a:gd name="connsiteY199" fmla="*/ 357676 h 1592940"/>
                <a:gd name="connsiteX200" fmla="*/ 1144793 w 1226125"/>
                <a:gd name="connsiteY200" fmla="*/ 355121 h 1592940"/>
                <a:gd name="connsiteX201" fmla="*/ 1147499 w 1226125"/>
                <a:gd name="connsiteY201" fmla="*/ 318089 h 1592940"/>
                <a:gd name="connsiteX202" fmla="*/ 1148101 w 1226125"/>
                <a:gd name="connsiteY202" fmla="*/ 316586 h 1592940"/>
                <a:gd name="connsiteX203" fmla="*/ 1149704 w 1226125"/>
                <a:gd name="connsiteY203" fmla="*/ 316386 h 1592940"/>
                <a:gd name="connsiteX204" fmla="*/ 1156419 w 1226125"/>
                <a:gd name="connsiteY204" fmla="*/ 315684 h 1592940"/>
                <a:gd name="connsiteX205" fmla="*/ 1170349 w 1226125"/>
                <a:gd name="connsiteY205" fmla="*/ 314031 h 1592940"/>
                <a:gd name="connsiteX206" fmla="*/ 1189642 w 1226125"/>
                <a:gd name="connsiteY206" fmla="*/ 291982 h 1592940"/>
                <a:gd name="connsiteX207" fmla="*/ 1181324 w 1226125"/>
                <a:gd name="connsiteY207" fmla="*/ 268631 h 1592940"/>
                <a:gd name="connsiteX208" fmla="*/ 1139732 w 1226125"/>
                <a:gd name="connsiteY208" fmla="*/ 213359 h 1592940"/>
                <a:gd name="connsiteX209" fmla="*/ 1135172 w 1226125"/>
                <a:gd name="connsiteY209" fmla="*/ 208298 h 1592940"/>
                <a:gd name="connsiteX210" fmla="*/ 1109366 w 1226125"/>
                <a:gd name="connsiteY210" fmla="*/ 212107 h 1592940"/>
                <a:gd name="connsiteX211" fmla="*/ 1114778 w 1226125"/>
                <a:gd name="connsiteY211" fmla="*/ 257657 h 1592940"/>
                <a:gd name="connsiteX212" fmla="*/ 1114176 w 1226125"/>
                <a:gd name="connsiteY212" fmla="*/ 259561 h 1592940"/>
                <a:gd name="connsiteX213" fmla="*/ 1112222 w 1226125"/>
                <a:gd name="connsiteY213" fmla="*/ 259561 h 1592940"/>
                <a:gd name="connsiteX214" fmla="*/ 1061861 w 1226125"/>
                <a:gd name="connsiteY214" fmla="*/ 230848 h 1592940"/>
                <a:gd name="connsiteX215" fmla="*/ 1060408 w 1226125"/>
                <a:gd name="connsiteY215" fmla="*/ 229695 h 1592940"/>
                <a:gd name="connsiteX216" fmla="*/ 1058905 w 1226125"/>
                <a:gd name="connsiteY216" fmla="*/ 228593 h 1592940"/>
                <a:gd name="connsiteX217" fmla="*/ 1036455 w 1226125"/>
                <a:gd name="connsiteY217" fmla="*/ 234155 h 1592940"/>
                <a:gd name="connsiteX218" fmla="*/ 1036205 w 1226125"/>
                <a:gd name="connsiteY218" fmla="*/ 234255 h 1592940"/>
                <a:gd name="connsiteX219" fmla="*/ 1051388 w 1226125"/>
                <a:gd name="connsiteY219" fmla="*/ 322349 h 1592940"/>
                <a:gd name="connsiteX220" fmla="*/ 1053844 w 1226125"/>
                <a:gd name="connsiteY220" fmla="*/ 322699 h 1592940"/>
                <a:gd name="connsiteX221" fmla="*/ 1063665 w 1226125"/>
                <a:gd name="connsiteY221" fmla="*/ 324604 h 1592940"/>
                <a:gd name="connsiteX222" fmla="*/ 1088620 w 1226125"/>
                <a:gd name="connsiteY222" fmla="*/ 363489 h 1592940"/>
                <a:gd name="connsiteX223" fmla="*/ 1082507 w 1226125"/>
                <a:gd name="connsiteY223" fmla="*/ 393806 h 1592940"/>
                <a:gd name="connsiteX224" fmla="*/ 1079049 w 1226125"/>
                <a:gd name="connsiteY224" fmla="*/ 399719 h 1592940"/>
                <a:gd name="connsiteX225" fmla="*/ 1076393 w 1226125"/>
                <a:gd name="connsiteY225" fmla="*/ 403277 h 1592940"/>
                <a:gd name="connsiteX226" fmla="*/ 1073888 w 1226125"/>
                <a:gd name="connsiteY226" fmla="*/ 406985 h 1592940"/>
                <a:gd name="connsiteX227" fmla="*/ 1071833 w 1226125"/>
                <a:gd name="connsiteY227" fmla="*/ 403026 h 1592940"/>
                <a:gd name="connsiteX228" fmla="*/ 1067022 w 1226125"/>
                <a:gd name="connsiteY228" fmla="*/ 394106 h 1592940"/>
                <a:gd name="connsiteX229" fmla="*/ 1058755 w 1226125"/>
                <a:gd name="connsiteY229" fmla="*/ 377871 h 1592940"/>
                <a:gd name="connsiteX230" fmla="*/ 1037257 w 1226125"/>
                <a:gd name="connsiteY230" fmla="*/ 356674 h 1592940"/>
                <a:gd name="connsiteX231" fmla="*/ 1015459 w 1226125"/>
                <a:gd name="connsiteY231" fmla="*/ 346001 h 1592940"/>
                <a:gd name="connsiteX232" fmla="*/ 1009596 w 1226125"/>
                <a:gd name="connsiteY232" fmla="*/ 342944 h 1592940"/>
                <a:gd name="connsiteX233" fmla="*/ 949515 w 1226125"/>
                <a:gd name="connsiteY233" fmla="*/ 295841 h 1592940"/>
                <a:gd name="connsiteX234" fmla="*/ 948161 w 1226125"/>
                <a:gd name="connsiteY234" fmla="*/ 294387 h 1592940"/>
                <a:gd name="connsiteX235" fmla="*/ 949164 w 1226125"/>
                <a:gd name="connsiteY235" fmla="*/ 292684 h 1592940"/>
                <a:gd name="connsiteX236" fmla="*/ 953874 w 1226125"/>
                <a:gd name="connsiteY236" fmla="*/ 284365 h 1592940"/>
                <a:gd name="connsiteX237" fmla="*/ 965650 w 1226125"/>
                <a:gd name="connsiteY237" fmla="*/ 264371 h 1592940"/>
                <a:gd name="connsiteX238" fmla="*/ 967905 w 1226125"/>
                <a:gd name="connsiteY238" fmla="*/ 231750 h 1592940"/>
                <a:gd name="connsiteX239" fmla="*/ 967805 w 1226125"/>
                <a:gd name="connsiteY239" fmla="*/ 226689 h 1592940"/>
                <a:gd name="connsiteX240" fmla="*/ 968306 w 1226125"/>
                <a:gd name="connsiteY240" fmla="*/ 224083 h 1592940"/>
                <a:gd name="connsiteX241" fmla="*/ 968406 w 1226125"/>
                <a:gd name="connsiteY241" fmla="*/ 223181 h 1592940"/>
                <a:gd name="connsiteX242" fmla="*/ 969007 w 1226125"/>
                <a:gd name="connsiteY242" fmla="*/ 222529 h 1592940"/>
                <a:gd name="connsiteX243" fmla="*/ 973918 w 1226125"/>
                <a:gd name="connsiteY243" fmla="*/ 217619 h 1592940"/>
                <a:gd name="connsiteX244" fmla="*/ 986095 w 1226125"/>
                <a:gd name="connsiteY244" fmla="*/ 204891 h 1592940"/>
                <a:gd name="connsiteX245" fmla="*/ 1000677 w 1226125"/>
                <a:gd name="connsiteY245" fmla="*/ 186701 h 1592940"/>
                <a:gd name="connsiteX246" fmla="*/ 1005137 w 1226125"/>
                <a:gd name="connsiteY246" fmla="*/ 180988 h 1592940"/>
                <a:gd name="connsiteX247" fmla="*/ 1012703 w 1226125"/>
                <a:gd name="connsiteY247" fmla="*/ 156434 h 1592940"/>
                <a:gd name="connsiteX248" fmla="*/ 1019719 w 1226125"/>
                <a:gd name="connsiteY248" fmla="*/ 111285 h 1592940"/>
                <a:gd name="connsiteX249" fmla="*/ 1021122 w 1226125"/>
                <a:gd name="connsiteY249" fmla="*/ 97705 h 1592940"/>
                <a:gd name="connsiteX250" fmla="*/ 1018867 w 1226125"/>
                <a:gd name="connsiteY250" fmla="*/ 100912 h 1592940"/>
                <a:gd name="connsiteX251" fmla="*/ 1012202 w 1226125"/>
                <a:gd name="connsiteY251" fmla="*/ 130577 h 1592940"/>
                <a:gd name="connsiteX252" fmla="*/ 988650 w 1226125"/>
                <a:gd name="connsiteY252" fmla="*/ 174775 h 1592940"/>
                <a:gd name="connsiteX253" fmla="*/ 956329 w 1226125"/>
                <a:gd name="connsiteY253" fmla="*/ 191160 h 1592940"/>
                <a:gd name="connsiteX254" fmla="*/ 950015 w 1226125"/>
                <a:gd name="connsiteY254" fmla="*/ 192463 h 1592940"/>
                <a:gd name="connsiteX255" fmla="*/ 945105 w 1226125"/>
                <a:gd name="connsiteY255" fmla="*/ 193666 h 1592940"/>
                <a:gd name="connsiteX256" fmla="*/ 903113 w 1226125"/>
                <a:gd name="connsiteY256" fmla="*/ 220776 h 1592940"/>
                <a:gd name="connsiteX257" fmla="*/ 891938 w 1226125"/>
                <a:gd name="connsiteY257" fmla="*/ 233604 h 1592940"/>
                <a:gd name="connsiteX258" fmla="*/ 885373 w 1226125"/>
                <a:gd name="connsiteY258" fmla="*/ 240318 h 1592940"/>
                <a:gd name="connsiteX259" fmla="*/ 878859 w 1226125"/>
                <a:gd name="connsiteY259" fmla="*/ 248887 h 1592940"/>
                <a:gd name="connsiteX260" fmla="*/ 876855 w 1226125"/>
                <a:gd name="connsiteY260" fmla="*/ 251694 h 1592940"/>
                <a:gd name="connsiteX261" fmla="*/ 882317 w 1226125"/>
                <a:gd name="connsiteY261" fmla="*/ 281960 h 1592940"/>
                <a:gd name="connsiteX262" fmla="*/ 880864 w 1226125"/>
                <a:gd name="connsiteY262" fmla="*/ 311575 h 1592940"/>
                <a:gd name="connsiteX263" fmla="*/ 885424 w 1226125"/>
                <a:gd name="connsiteY263" fmla="*/ 350611 h 1592940"/>
                <a:gd name="connsiteX264" fmla="*/ 885524 w 1226125"/>
                <a:gd name="connsiteY264" fmla="*/ 356824 h 1592940"/>
                <a:gd name="connsiteX265" fmla="*/ 874850 w 1226125"/>
                <a:gd name="connsiteY265" fmla="*/ 381729 h 1592940"/>
                <a:gd name="connsiteX266" fmla="*/ 859316 w 1226125"/>
                <a:gd name="connsiteY266" fmla="*/ 397113 h 1592940"/>
                <a:gd name="connsiteX267" fmla="*/ 846338 w 1226125"/>
                <a:gd name="connsiteY267" fmla="*/ 410092 h 1592940"/>
                <a:gd name="connsiteX268" fmla="*/ 834261 w 1226125"/>
                <a:gd name="connsiteY268" fmla="*/ 428732 h 1592940"/>
                <a:gd name="connsiteX269" fmla="*/ 833459 w 1226125"/>
                <a:gd name="connsiteY269" fmla="*/ 430737 h 1592940"/>
                <a:gd name="connsiteX270" fmla="*/ 818376 w 1226125"/>
                <a:gd name="connsiteY270" fmla="*/ 465864 h 1592940"/>
                <a:gd name="connsiteX271" fmla="*/ 810258 w 1226125"/>
                <a:gd name="connsiteY271" fmla="*/ 500691 h 1592940"/>
                <a:gd name="connsiteX272" fmla="*/ 802491 w 1226125"/>
                <a:gd name="connsiteY272" fmla="*/ 536269 h 1592940"/>
                <a:gd name="connsiteX273" fmla="*/ 797230 w 1226125"/>
                <a:gd name="connsiteY273" fmla="*/ 556263 h 1592940"/>
                <a:gd name="connsiteX274" fmla="*/ 801289 w 1226125"/>
                <a:gd name="connsiteY274" fmla="*/ 556914 h 1592940"/>
                <a:gd name="connsiteX275" fmla="*/ 815921 w 1226125"/>
                <a:gd name="connsiteY275" fmla="*/ 560622 h 1592940"/>
                <a:gd name="connsiteX276" fmla="*/ 829801 w 1226125"/>
                <a:gd name="connsiteY276" fmla="*/ 569993 h 1592940"/>
                <a:gd name="connsiteX277" fmla="*/ 834111 w 1226125"/>
                <a:gd name="connsiteY277" fmla="*/ 573350 h 1592940"/>
                <a:gd name="connsiteX278" fmla="*/ 836917 w 1226125"/>
                <a:gd name="connsiteY278" fmla="*/ 572398 h 1592940"/>
                <a:gd name="connsiteX279" fmla="*/ 844985 w 1226125"/>
                <a:gd name="connsiteY279" fmla="*/ 569792 h 1592940"/>
                <a:gd name="connsiteX280" fmla="*/ 885373 w 1226125"/>
                <a:gd name="connsiteY280" fmla="*/ 576557 h 1592940"/>
                <a:gd name="connsiteX281" fmla="*/ 904566 w 1226125"/>
                <a:gd name="connsiteY281" fmla="*/ 589636 h 1592940"/>
                <a:gd name="connsiteX282" fmla="*/ 920551 w 1226125"/>
                <a:gd name="connsiteY282" fmla="*/ 600360 h 1592940"/>
                <a:gd name="connsiteX283" fmla="*/ 932928 w 1226125"/>
                <a:gd name="connsiteY283" fmla="*/ 612687 h 1592940"/>
                <a:gd name="connsiteX284" fmla="*/ 957332 w 1226125"/>
                <a:gd name="connsiteY284" fmla="*/ 661494 h 1592940"/>
                <a:gd name="connsiteX285" fmla="*/ 957632 w 1226125"/>
                <a:gd name="connsiteY285" fmla="*/ 679784 h 1592940"/>
                <a:gd name="connsiteX286" fmla="*/ 956630 w 1226125"/>
                <a:gd name="connsiteY286" fmla="*/ 702685 h 1592940"/>
                <a:gd name="connsiteX287" fmla="*/ 957131 w 1226125"/>
                <a:gd name="connsiteY287" fmla="*/ 704338 h 1592940"/>
                <a:gd name="connsiteX288" fmla="*/ 957532 w 1226125"/>
                <a:gd name="connsiteY288" fmla="*/ 744627 h 1592940"/>
                <a:gd name="connsiteX289" fmla="*/ 957031 w 1226125"/>
                <a:gd name="connsiteY289" fmla="*/ 746030 h 1592940"/>
                <a:gd name="connsiteX290" fmla="*/ 955578 w 1226125"/>
                <a:gd name="connsiteY290" fmla="*/ 746330 h 1592940"/>
                <a:gd name="connsiteX291" fmla="*/ 907121 w 1226125"/>
                <a:gd name="connsiteY291" fmla="*/ 788673 h 1592940"/>
                <a:gd name="connsiteX292" fmla="*/ 911380 w 1226125"/>
                <a:gd name="connsiteY292" fmla="*/ 793183 h 1592940"/>
                <a:gd name="connsiteX293" fmla="*/ 924910 w 1226125"/>
                <a:gd name="connsiteY293" fmla="*/ 806964 h 1592940"/>
                <a:gd name="connsiteX294" fmla="*/ 947760 w 1226125"/>
                <a:gd name="connsiteY294" fmla="*/ 827158 h 1592940"/>
                <a:gd name="connsiteX295" fmla="*/ 955227 w 1226125"/>
                <a:gd name="connsiteY295" fmla="*/ 832319 h 1592940"/>
                <a:gd name="connsiteX296" fmla="*/ 970060 w 1226125"/>
                <a:gd name="connsiteY296" fmla="*/ 845398 h 1592940"/>
                <a:gd name="connsiteX297" fmla="*/ 971713 w 1226125"/>
                <a:gd name="connsiteY297" fmla="*/ 848104 h 1592940"/>
                <a:gd name="connsiteX298" fmla="*/ 968757 w 1226125"/>
                <a:gd name="connsiteY298" fmla="*/ 849307 h 1592940"/>
                <a:gd name="connsiteX299" fmla="*/ 930673 w 1226125"/>
                <a:gd name="connsiteY299" fmla="*/ 846500 h 1592940"/>
                <a:gd name="connsiteX300" fmla="*/ 926664 w 1226125"/>
                <a:gd name="connsiteY300" fmla="*/ 844947 h 1592940"/>
                <a:gd name="connsiteX301" fmla="*/ 916342 w 1226125"/>
                <a:gd name="connsiteY301" fmla="*/ 848004 h 1592940"/>
                <a:gd name="connsiteX302" fmla="*/ 893992 w 1226125"/>
                <a:gd name="connsiteY302" fmla="*/ 848605 h 1592940"/>
                <a:gd name="connsiteX303" fmla="*/ 892940 w 1226125"/>
                <a:gd name="connsiteY303" fmla="*/ 848004 h 1592940"/>
                <a:gd name="connsiteX304" fmla="*/ 892690 w 1226125"/>
                <a:gd name="connsiteY304" fmla="*/ 846801 h 1592940"/>
                <a:gd name="connsiteX305" fmla="*/ 892088 w 1226125"/>
                <a:gd name="connsiteY305" fmla="*/ 844095 h 1592940"/>
                <a:gd name="connsiteX306" fmla="*/ 890585 w 1226125"/>
                <a:gd name="connsiteY306" fmla="*/ 836078 h 1592940"/>
                <a:gd name="connsiteX307" fmla="*/ 890585 w 1226125"/>
                <a:gd name="connsiteY307" fmla="*/ 830165 h 1592940"/>
                <a:gd name="connsiteX308" fmla="*/ 890034 w 1226125"/>
                <a:gd name="connsiteY308" fmla="*/ 822949 h 1592940"/>
                <a:gd name="connsiteX309" fmla="*/ 889482 w 1226125"/>
                <a:gd name="connsiteY309" fmla="*/ 764520 h 1592940"/>
                <a:gd name="connsiteX310" fmla="*/ 904415 w 1226125"/>
                <a:gd name="connsiteY310" fmla="*/ 718068 h 1592940"/>
                <a:gd name="connsiteX311" fmla="*/ 905618 w 1226125"/>
                <a:gd name="connsiteY311" fmla="*/ 671817 h 1592940"/>
                <a:gd name="connsiteX312" fmla="*/ 899555 w 1226125"/>
                <a:gd name="connsiteY312" fmla="*/ 641149 h 1592940"/>
                <a:gd name="connsiteX313" fmla="*/ 898352 w 1226125"/>
                <a:gd name="connsiteY313" fmla="*/ 632330 h 1592940"/>
                <a:gd name="connsiteX314" fmla="*/ 897851 w 1226125"/>
                <a:gd name="connsiteY314" fmla="*/ 629875 h 1592940"/>
                <a:gd name="connsiteX315" fmla="*/ 896748 w 1226125"/>
                <a:gd name="connsiteY315" fmla="*/ 629223 h 1592940"/>
                <a:gd name="connsiteX316" fmla="*/ 895045 w 1226125"/>
                <a:gd name="connsiteY316" fmla="*/ 628321 h 1592940"/>
                <a:gd name="connsiteX317" fmla="*/ 892690 w 1226125"/>
                <a:gd name="connsiteY317" fmla="*/ 628321 h 1592940"/>
                <a:gd name="connsiteX318" fmla="*/ 814819 w 1226125"/>
                <a:gd name="connsiteY318" fmla="*/ 627569 h 1592940"/>
                <a:gd name="connsiteX319" fmla="*/ 806400 w 1226125"/>
                <a:gd name="connsiteY319" fmla="*/ 630726 h 1592940"/>
                <a:gd name="connsiteX320" fmla="*/ 803895 w 1226125"/>
                <a:gd name="connsiteY320" fmla="*/ 633933 h 1592940"/>
                <a:gd name="connsiteX321" fmla="*/ 782197 w 1226125"/>
                <a:gd name="connsiteY321" fmla="*/ 681237 h 1592940"/>
                <a:gd name="connsiteX322" fmla="*/ 775983 w 1226125"/>
                <a:gd name="connsiteY322" fmla="*/ 719221 h 1592940"/>
                <a:gd name="connsiteX323" fmla="*/ 774430 w 1226125"/>
                <a:gd name="connsiteY323" fmla="*/ 724232 h 1592940"/>
                <a:gd name="connsiteX324" fmla="*/ 768166 w 1226125"/>
                <a:gd name="connsiteY324" fmla="*/ 746280 h 1592940"/>
                <a:gd name="connsiteX325" fmla="*/ 728629 w 1226125"/>
                <a:gd name="connsiteY325" fmla="*/ 789826 h 1592940"/>
                <a:gd name="connsiteX326" fmla="*/ 711191 w 1226125"/>
                <a:gd name="connsiteY326" fmla="*/ 806763 h 1592940"/>
                <a:gd name="connsiteX327" fmla="*/ 671002 w 1226125"/>
                <a:gd name="connsiteY327" fmla="*/ 846901 h 1592940"/>
                <a:gd name="connsiteX328" fmla="*/ 650207 w 1226125"/>
                <a:gd name="connsiteY328" fmla="*/ 856823 h 1592940"/>
                <a:gd name="connsiteX329" fmla="*/ 643893 w 1226125"/>
                <a:gd name="connsiteY329" fmla="*/ 860181 h 1592940"/>
                <a:gd name="connsiteX330" fmla="*/ 632919 w 1226125"/>
                <a:gd name="connsiteY330" fmla="*/ 866444 h 1592940"/>
                <a:gd name="connsiteX331" fmla="*/ 628409 w 1226125"/>
                <a:gd name="connsiteY331" fmla="*/ 869100 h 1592940"/>
                <a:gd name="connsiteX332" fmla="*/ 627457 w 1226125"/>
                <a:gd name="connsiteY332" fmla="*/ 869651 h 1592940"/>
                <a:gd name="connsiteX333" fmla="*/ 607663 w 1226125"/>
                <a:gd name="connsiteY333" fmla="*/ 864440 h 1592940"/>
                <a:gd name="connsiteX334" fmla="*/ 604406 w 1226125"/>
                <a:gd name="connsiteY334" fmla="*/ 868248 h 1592940"/>
                <a:gd name="connsiteX335" fmla="*/ 596188 w 1226125"/>
                <a:gd name="connsiteY335" fmla="*/ 879172 h 1592940"/>
                <a:gd name="connsiteX336" fmla="*/ 556401 w 1226125"/>
                <a:gd name="connsiteY336" fmla="*/ 898565 h 1592940"/>
                <a:gd name="connsiteX337" fmla="*/ 551390 w 1226125"/>
                <a:gd name="connsiteY337" fmla="*/ 897212 h 1592940"/>
                <a:gd name="connsiteX338" fmla="*/ 548433 w 1226125"/>
                <a:gd name="connsiteY338" fmla="*/ 896310 h 1592940"/>
                <a:gd name="connsiteX339" fmla="*/ 546830 w 1226125"/>
                <a:gd name="connsiteY339" fmla="*/ 895859 h 1592940"/>
                <a:gd name="connsiteX340" fmla="*/ 546529 w 1226125"/>
                <a:gd name="connsiteY340" fmla="*/ 894205 h 1592940"/>
                <a:gd name="connsiteX341" fmla="*/ 523879 w 1226125"/>
                <a:gd name="connsiteY341" fmla="*/ 875665 h 1592940"/>
                <a:gd name="connsiteX342" fmla="*/ 482037 w 1226125"/>
                <a:gd name="connsiteY342" fmla="*/ 857074 h 1592940"/>
                <a:gd name="connsiteX343" fmla="*/ 468558 w 1226125"/>
                <a:gd name="connsiteY343" fmla="*/ 848956 h 1592940"/>
                <a:gd name="connsiteX344" fmla="*/ 442651 w 1226125"/>
                <a:gd name="connsiteY344" fmla="*/ 820092 h 1592940"/>
                <a:gd name="connsiteX345" fmla="*/ 440847 w 1226125"/>
                <a:gd name="connsiteY345" fmla="*/ 815132 h 1592940"/>
                <a:gd name="connsiteX346" fmla="*/ 433230 w 1226125"/>
                <a:gd name="connsiteY346" fmla="*/ 790427 h 1592940"/>
                <a:gd name="connsiteX347" fmla="*/ 436236 w 1226125"/>
                <a:gd name="connsiteY347" fmla="*/ 756703 h 1592940"/>
                <a:gd name="connsiteX348" fmla="*/ 437439 w 1226125"/>
                <a:gd name="connsiteY348" fmla="*/ 754699 h 1592940"/>
                <a:gd name="connsiteX349" fmla="*/ 451270 w 1226125"/>
                <a:gd name="connsiteY349" fmla="*/ 760612 h 1592940"/>
                <a:gd name="connsiteX350" fmla="*/ 516563 w 1226125"/>
                <a:gd name="connsiteY350" fmla="*/ 788774 h 1592940"/>
                <a:gd name="connsiteX351" fmla="*/ 523979 w 1226125"/>
                <a:gd name="connsiteY351" fmla="*/ 792933 h 1592940"/>
                <a:gd name="connsiteX352" fmla="*/ 525082 w 1226125"/>
                <a:gd name="connsiteY352" fmla="*/ 793634 h 1592940"/>
                <a:gd name="connsiteX353" fmla="*/ 526986 w 1226125"/>
                <a:gd name="connsiteY353" fmla="*/ 796290 h 1592940"/>
                <a:gd name="connsiteX354" fmla="*/ 527387 w 1226125"/>
                <a:gd name="connsiteY354" fmla="*/ 797242 h 1592940"/>
                <a:gd name="connsiteX355" fmla="*/ 527738 w 1226125"/>
                <a:gd name="connsiteY355" fmla="*/ 797994 h 1592940"/>
                <a:gd name="connsiteX356" fmla="*/ 527638 w 1226125"/>
                <a:gd name="connsiteY356" fmla="*/ 798846 h 1592940"/>
                <a:gd name="connsiteX357" fmla="*/ 514408 w 1226125"/>
                <a:gd name="connsiteY357" fmla="*/ 813578 h 1592940"/>
                <a:gd name="connsiteX358" fmla="*/ 510550 w 1226125"/>
                <a:gd name="connsiteY358" fmla="*/ 814480 h 1592940"/>
                <a:gd name="connsiteX359" fmla="*/ 507543 w 1226125"/>
                <a:gd name="connsiteY359" fmla="*/ 816084 h 1592940"/>
                <a:gd name="connsiteX360" fmla="*/ 551991 w 1226125"/>
                <a:gd name="connsiteY360" fmla="*/ 827208 h 1592940"/>
                <a:gd name="connsiteX361" fmla="*/ 553244 w 1226125"/>
                <a:gd name="connsiteY361" fmla="*/ 822698 h 1592940"/>
                <a:gd name="connsiteX362" fmla="*/ 567124 w 1226125"/>
                <a:gd name="connsiteY362" fmla="*/ 794236 h 1592940"/>
                <a:gd name="connsiteX363" fmla="*/ 567625 w 1226125"/>
                <a:gd name="connsiteY363" fmla="*/ 793734 h 1592940"/>
                <a:gd name="connsiteX364" fmla="*/ 568277 w 1226125"/>
                <a:gd name="connsiteY364" fmla="*/ 793534 h 1592940"/>
                <a:gd name="connsiteX365" fmla="*/ 570482 w 1226125"/>
                <a:gd name="connsiteY365" fmla="*/ 792983 h 1592940"/>
                <a:gd name="connsiteX366" fmla="*/ 575994 w 1226125"/>
                <a:gd name="connsiteY366" fmla="*/ 791379 h 1592940"/>
                <a:gd name="connsiteX367" fmla="*/ 611923 w 1226125"/>
                <a:gd name="connsiteY367" fmla="*/ 760963 h 1592940"/>
                <a:gd name="connsiteX368" fmla="*/ 623548 w 1226125"/>
                <a:gd name="connsiteY368" fmla="*/ 750439 h 1592940"/>
                <a:gd name="connsiteX369" fmla="*/ 629311 w 1226125"/>
                <a:gd name="connsiteY369" fmla="*/ 747383 h 1592940"/>
                <a:gd name="connsiteX370" fmla="*/ 672405 w 1226125"/>
                <a:gd name="connsiteY370" fmla="*/ 726036 h 1592940"/>
                <a:gd name="connsiteX371" fmla="*/ 691948 w 1226125"/>
                <a:gd name="connsiteY371" fmla="*/ 701532 h 1592940"/>
                <a:gd name="connsiteX372" fmla="*/ 693001 w 1226125"/>
                <a:gd name="connsiteY372" fmla="*/ 698124 h 1592940"/>
                <a:gd name="connsiteX373" fmla="*/ 694053 w 1226125"/>
                <a:gd name="connsiteY373" fmla="*/ 693264 h 1592940"/>
                <a:gd name="connsiteX374" fmla="*/ 715350 w 1226125"/>
                <a:gd name="connsiteY374" fmla="*/ 659089 h 1592940"/>
                <a:gd name="connsiteX375" fmla="*/ 739252 w 1226125"/>
                <a:gd name="connsiteY375" fmla="*/ 627870 h 1592940"/>
                <a:gd name="connsiteX376" fmla="*/ 715650 w 1226125"/>
                <a:gd name="connsiteY376" fmla="*/ 554208 h 1592940"/>
                <a:gd name="connsiteX377" fmla="*/ 722616 w 1226125"/>
                <a:gd name="connsiteY377" fmla="*/ 518630 h 1592940"/>
                <a:gd name="connsiteX378" fmla="*/ 767715 w 1226125"/>
                <a:gd name="connsiteY378" fmla="*/ 418310 h 1592940"/>
                <a:gd name="connsiteX379" fmla="*/ 769369 w 1226125"/>
                <a:gd name="connsiteY379" fmla="*/ 413299 h 1592940"/>
                <a:gd name="connsiteX380" fmla="*/ 776284 w 1226125"/>
                <a:gd name="connsiteY380" fmla="*/ 393555 h 1592940"/>
                <a:gd name="connsiteX381" fmla="*/ 776585 w 1226125"/>
                <a:gd name="connsiteY381" fmla="*/ 392753 h 1592940"/>
                <a:gd name="connsiteX382" fmla="*/ 785003 w 1226125"/>
                <a:gd name="connsiteY382" fmla="*/ 378372 h 1592940"/>
                <a:gd name="connsiteX383" fmla="*/ 809607 w 1226125"/>
                <a:gd name="connsiteY383" fmla="*/ 341691 h 1592940"/>
                <a:gd name="connsiteX384" fmla="*/ 817023 w 1226125"/>
                <a:gd name="connsiteY384" fmla="*/ 327410 h 1592940"/>
                <a:gd name="connsiteX385" fmla="*/ 821684 w 1226125"/>
                <a:gd name="connsiteY385" fmla="*/ 293135 h 1592940"/>
                <a:gd name="connsiteX386" fmla="*/ 815320 w 1226125"/>
                <a:gd name="connsiteY386" fmla="*/ 236260 h 1592940"/>
                <a:gd name="connsiteX387" fmla="*/ 830252 w 1226125"/>
                <a:gd name="connsiteY387" fmla="*/ 201032 h 1592940"/>
                <a:gd name="connsiteX388" fmla="*/ 859617 w 1226125"/>
                <a:gd name="connsiteY388" fmla="*/ 168110 h 1592940"/>
                <a:gd name="connsiteX389" fmla="*/ 898352 w 1226125"/>
                <a:gd name="connsiteY389" fmla="*/ 104320 h 1592940"/>
                <a:gd name="connsiteX390" fmla="*/ 902361 w 1226125"/>
                <a:gd name="connsiteY390" fmla="*/ 97404 h 1592940"/>
                <a:gd name="connsiteX391" fmla="*/ 907472 w 1226125"/>
                <a:gd name="connsiteY391" fmla="*/ 59621 h 1592940"/>
                <a:gd name="connsiteX392" fmla="*/ 879811 w 1226125"/>
                <a:gd name="connsiteY392" fmla="*/ 31309 h 1592940"/>
                <a:gd name="connsiteX393" fmla="*/ 872595 w 1226125"/>
                <a:gd name="connsiteY393" fmla="*/ 28202 h 1592940"/>
                <a:gd name="connsiteX394" fmla="*/ 823588 w 1226125"/>
                <a:gd name="connsiteY394" fmla="*/ 6204 h 1592940"/>
                <a:gd name="connsiteX395" fmla="*/ 792920 w 1226125"/>
                <a:gd name="connsiteY395" fmla="*/ 91 h 1592940"/>
                <a:gd name="connsiteX396" fmla="*/ 789463 w 1226125"/>
                <a:gd name="connsiteY396" fmla="*/ 3799 h 1592940"/>
                <a:gd name="connsiteX397" fmla="*/ 780242 w 1226125"/>
                <a:gd name="connsiteY397" fmla="*/ 14222 h 1592940"/>
                <a:gd name="connsiteX398" fmla="*/ 756841 w 1226125"/>
                <a:gd name="connsiteY398" fmla="*/ 45390 h 1592940"/>
                <a:gd name="connsiteX399" fmla="*/ 726174 w 1226125"/>
                <a:gd name="connsiteY399" fmla="*/ 86030 h 1592940"/>
                <a:gd name="connsiteX400" fmla="*/ 704977 w 1226125"/>
                <a:gd name="connsiteY400" fmla="*/ 108880 h 1592940"/>
                <a:gd name="connsiteX401" fmla="*/ 684783 w 1226125"/>
                <a:gd name="connsiteY401" fmla="*/ 124364 h 1592940"/>
                <a:gd name="connsiteX402" fmla="*/ 606661 w 1226125"/>
                <a:gd name="connsiteY402" fmla="*/ 175175 h 1592940"/>
                <a:gd name="connsiteX403" fmla="*/ 595035 w 1226125"/>
                <a:gd name="connsiteY403" fmla="*/ 184596 h 1592940"/>
                <a:gd name="connsiteX404" fmla="*/ 591127 w 1226125"/>
                <a:gd name="connsiteY404" fmla="*/ 191261 h 1592940"/>
                <a:gd name="connsiteX405" fmla="*/ 586767 w 1226125"/>
                <a:gd name="connsiteY405" fmla="*/ 198727 h 1592940"/>
                <a:gd name="connsiteX406" fmla="*/ 577497 w 1226125"/>
                <a:gd name="connsiteY406" fmla="*/ 207697 h 1592940"/>
                <a:gd name="connsiteX407" fmla="*/ 575192 w 1226125"/>
                <a:gd name="connsiteY407" fmla="*/ 209701 h 1592940"/>
                <a:gd name="connsiteX408" fmla="*/ 581205 w 1226125"/>
                <a:gd name="connsiteY408" fmla="*/ 213610 h 1592940"/>
                <a:gd name="connsiteX409" fmla="*/ 593733 w 1226125"/>
                <a:gd name="connsiteY409" fmla="*/ 230748 h 1592940"/>
                <a:gd name="connsiteX410" fmla="*/ 593733 w 1226125"/>
                <a:gd name="connsiteY410" fmla="*/ 231549 h 1592940"/>
                <a:gd name="connsiteX411" fmla="*/ 593332 w 1226125"/>
                <a:gd name="connsiteY411" fmla="*/ 232251 h 1592940"/>
                <a:gd name="connsiteX412" fmla="*/ 589874 w 1226125"/>
                <a:gd name="connsiteY412" fmla="*/ 237613 h 1592940"/>
                <a:gd name="connsiteX413" fmla="*/ 581606 w 1226125"/>
                <a:gd name="connsiteY413" fmla="*/ 250892 h 1592940"/>
                <a:gd name="connsiteX414" fmla="*/ 577046 w 1226125"/>
                <a:gd name="connsiteY414" fmla="*/ 258659 h 1592940"/>
                <a:gd name="connsiteX415" fmla="*/ 557553 w 1226125"/>
                <a:gd name="connsiteY415" fmla="*/ 310172 h 1592940"/>
                <a:gd name="connsiteX416" fmla="*/ 551741 w 1226125"/>
                <a:gd name="connsiteY416" fmla="*/ 325305 h 1592940"/>
                <a:gd name="connsiteX417" fmla="*/ 548884 w 1226125"/>
                <a:gd name="connsiteY417" fmla="*/ 330567 h 1592940"/>
                <a:gd name="connsiteX418" fmla="*/ 545427 w 1226125"/>
                <a:gd name="connsiteY418" fmla="*/ 333674 h 1592940"/>
                <a:gd name="connsiteX419" fmla="*/ 543472 w 1226125"/>
                <a:gd name="connsiteY419" fmla="*/ 334926 h 1592940"/>
                <a:gd name="connsiteX420" fmla="*/ 542169 w 1226125"/>
                <a:gd name="connsiteY420" fmla="*/ 335878 h 1592940"/>
                <a:gd name="connsiteX421" fmla="*/ 540716 w 1226125"/>
                <a:gd name="connsiteY421" fmla="*/ 335177 h 1592940"/>
                <a:gd name="connsiteX422" fmla="*/ 538411 w 1226125"/>
                <a:gd name="connsiteY422" fmla="*/ 333974 h 1592940"/>
                <a:gd name="connsiteX423" fmla="*/ 533250 w 1226125"/>
                <a:gd name="connsiteY423" fmla="*/ 331469 h 1592940"/>
                <a:gd name="connsiteX424" fmla="*/ 527487 w 1226125"/>
                <a:gd name="connsiteY424" fmla="*/ 329515 h 1592940"/>
                <a:gd name="connsiteX425" fmla="*/ 526936 w 1226125"/>
                <a:gd name="connsiteY425" fmla="*/ 329364 h 1592940"/>
                <a:gd name="connsiteX426" fmla="*/ 507493 w 1226125"/>
                <a:gd name="connsiteY426" fmla="*/ 358829 h 1592940"/>
                <a:gd name="connsiteX427" fmla="*/ 528389 w 1226125"/>
                <a:gd name="connsiteY427" fmla="*/ 381980 h 1592940"/>
                <a:gd name="connsiteX428" fmla="*/ 545727 w 1226125"/>
                <a:gd name="connsiteY428" fmla="*/ 402274 h 1592940"/>
                <a:gd name="connsiteX429" fmla="*/ 547030 w 1226125"/>
                <a:gd name="connsiteY429" fmla="*/ 402826 h 1592940"/>
                <a:gd name="connsiteX430" fmla="*/ 547331 w 1226125"/>
                <a:gd name="connsiteY430" fmla="*/ 404179 h 1592940"/>
                <a:gd name="connsiteX431" fmla="*/ 544324 w 1226125"/>
                <a:gd name="connsiteY431" fmla="*/ 431940 h 1592940"/>
                <a:gd name="connsiteX432" fmla="*/ 549836 w 1226125"/>
                <a:gd name="connsiteY432" fmla="*/ 488414 h 1592940"/>
                <a:gd name="connsiteX433" fmla="*/ 549736 w 1226125"/>
                <a:gd name="connsiteY433" fmla="*/ 520534 h 1592940"/>
                <a:gd name="connsiteX434" fmla="*/ 530394 w 1226125"/>
                <a:gd name="connsiteY434" fmla="*/ 543184 h 1592940"/>
                <a:gd name="connsiteX435" fmla="*/ 508295 w 1226125"/>
                <a:gd name="connsiteY435" fmla="*/ 569141 h 1592940"/>
                <a:gd name="connsiteX436" fmla="*/ 476225 w 1226125"/>
                <a:gd name="connsiteY436" fmla="*/ 579464 h 1592940"/>
                <a:gd name="connsiteX437" fmla="*/ 472767 w 1226125"/>
                <a:gd name="connsiteY437" fmla="*/ 576207 h 1592940"/>
                <a:gd name="connsiteX438" fmla="*/ 472065 w 1226125"/>
                <a:gd name="connsiteY438" fmla="*/ 575204 h 1592940"/>
                <a:gd name="connsiteX439" fmla="*/ 470963 w 1226125"/>
                <a:gd name="connsiteY439" fmla="*/ 573851 h 1592940"/>
                <a:gd name="connsiteX440" fmla="*/ 477878 w 1226125"/>
                <a:gd name="connsiteY440" fmla="*/ 559670 h 1592940"/>
                <a:gd name="connsiteX441" fmla="*/ 469660 w 1226125"/>
                <a:gd name="connsiteY441" fmla="*/ 548345 h 1592940"/>
                <a:gd name="connsiteX442" fmla="*/ 459838 w 1226125"/>
                <a:gd name="connsiteY442" fmla="*/ 531709 h 1592940"/>
                <a:gd name="connsiteX443" fmla="*/ 456431 w 1226125"/>
                <a:gd name="connsiteY443" fmla="*/ 508307 h 1592940"/>
                <a:gd name="connsiteX444" fmla="*/ 454677 w 1226125"/>
                <a:gd name="connsiteY444" fmla="*/ 496632 h 1592940"/>
                <a:gd name="connsiteX445" fmla="*/ 454377 w 1226125"/>
                <a:gd name="connsiteY445" fmla="*/ 493976 h 1592940"/>
                <a:gd name="connsiteX446" fmla="*/ 440095 w 1226125"/>
                <a:gd name="connsiteY446" fmla="*/ 456393 h 1592940"/>
                <a:gd name="connsiteX447" fmla="*/ 428620 w 1226125"/>
                <a:gd name="connsiteY447" fmla="*/ 440609 h 1592940"/>
                <a:gd name="connsiteX448" fmla="*/ 410680 w 1226125"/>
                <a:gd name="connsiteY448" fmla="*/ 416556 h 1592940"/>
                <a:gd name="connsiteX449" fmla="*/ 408425 w 1226125"/>
                <a:gd name="connsiteY449" fmla="*/ 395910 h 1592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</a:cxnLst>
              <a:rect l="l" t="t" r="r" b="b"/>
              <a:pathLst>
                <a:path w="1226125" h="1592940">
                  <a:moveTo>
                    <a:pt x="408726" y="396061"/>
                  </a:moveTo>
                  <a:cubicBezTo>
                    <a:pt x="407173" y="394858"/>
                    <a:pt x="405569" y="393605"/>
                    <a:pt x="403966" y="392403"/>
                  </a:cubicBezTo>
                  <a:cubicBezTo>
                    <a:pt x="399406" y="388845"/>
                    <a:pt x="394695" y="385187"/>
                    <a:pt x="389835" y="381830"/>
                  </a:cubicBezTo>
                  <a:cubicBezTo>
                    <a:pt x="381917" y="376368"/>
                    <a:pt x="374701" y="377620"/>
                    <a:pt x="368989" y="385387"/>
                  </a:cubicBezTo>
                  <a:cubicBezTo>
                    <a:pt x="364880" y="391000"/>
                    <a:pt x="360971" y="397113"/>
                    <a:pt x="360120" y="404128"/>
                  </a:cubicBezTo>
                  <a:cubicBezTo>
                    <a:pt x="361773" y="407035"/>
                    <a:pt x="363427" y="409891"/>
                    <a:pt x="365080" y="412697"/>
                  </a:cubicBezTo>
                  <a:cubicBezTo>
                    <a:pt x="369089" y="419562"/>
                    <a:pt x="372847" y="426026"/>
                    <a:pt x="375954" y="433042"/>
                  </a:cubicBezTo>
                  <a:cubicBezTo>
                    <a:pt x="383571" y="450180"/>
                    <a:pt x="381617" y="463960"/>
                    <a:pt x="370041" y="475185"/>
                  </a:cubicBezTo>
                  <a:cubicBezTo>
                    <a:pt x="366032" y="479043"/>
                    <a:pt x="363076" y="483453"/>
                    <a:pt x="361723" y="487512"/>
                  </a:cubicBezTo>
                  <a:cubicBezTo>
                    <a:pt x="359067" y="495379"/>
                    <a:pt x="354206" y="501242"/>
                    <a:pt x="347241" y="504950"/>
                  </a:cubicBezTo>
                  <a:cubicBezTo>
                    <a:pt x="342581" y="507405"/>
                    <a:pt x="341128" y="511414"/>
                    <a:pt x="339274" y="516475"/>
                  </a:cubicBezTo>
                  <a:cubicBezTo>
                    <a:pt x="334563" y="529253"/>
                    <a:pt x="335866" y="539426"/>
                    <a:pt x="343483" y="549498"/>
                  </a:cubicBezTo>
                  <a:cubicBezTo>
                    <a:pt x="354106" y="563479"/>
                    <a:pt x="359618" y="578712"/>
                    <a:pt x="359869" y="594898"/>
                  </a:cubicBezTo>
                  <a:lnTo>
                    <a:pt x="359869" y="596150"/>
                  </a:lnTo>
                  <a:cubicBezTo>
                    <a:pt x="359869" y="596150"/>
                    <a:pt x="358967" y="596952"/>
                    <a:pt x="358967" y="596952"/>
                  </a:cubicBezTo>
                  <a:cubicBezTo>
                    <a:pt x="341077" y="612687"/>
                    <a:pt x="321485" y="628672"/>
                    <a:pt x="296379" y="636539"/>
                  </a:cubicBezTo>
                  <a:cubicBezTo>
                    <a:pt x="281396" y="641199"/>
                    <a:pt x="272878" y="648014"/>
                    <a:pt x="267867" y="659239"/>
                  </a:cubicBezTo>
                  <a:cubicBezTo>
                    <a:pt x="263357" y="669311"/>
                    <a:pt x="253936" y="674573"/>
                    <a:pt x="242010" y="673871"/>
                  </a:cubicBezTo>
                  <a:cubicBezTo>
                    <a:pt x="223419" y="672618"/>
                    <a:pt x="205730" y="676677"/>
                    <a:pt x="189194" y="680937"/>
                  </a:cubicBezTo>
                  <a:cubicBezTo>
                    <a:pt x="182179" y="682741"/>
                    <a:pt x="174612" y="683492"/>
                    <a:pt x="167296" y="683091"/>
                  </a:cubicBezTo>
                  <a:cubicBezTo>
                    <a:pt x="153315" y="682340"/>
                    <a:pt x="143794" y="688253"/>
                    <a:pt x="138081" y="701081"/>
                  </a:cubicBezTo>
                  <a:cubicBezTo>
                    <a:pt x="135676" y="706493"/>
                    <a:pt x="132219" y="712256"/>
                    <a:pt x="125153" y="713809"/>
                  </a:cubicBezTo>
                  <a:cubicBezTo>
                    <a:pt x="110170" y="717016"/>
                    <a:pt x="99346" y="725986"/>
                    <a:pt x="87721" y="738513"/>
                  </a:cubicBezTo>
                  <a:cubicBezTo>
                    <a:pt x="85466" y="740969"/>
                    <a:pt x="82910" y="742973"/>
                    <a:pt x="80254" y="745078"/>
                  </a:cubicBezTo>
                  <a:cubicBezTo>
                    <a:pt x="79052" y="746030"/>
                    <a:pt x="77849" y="746982"/>
                    <a:pt x="76596" y="747984"/>
                  </a:cubicBezTo>
                  <a:lnTo>
                    <a:pt x="75394" y="748986"/>
                  </a:lnTo>
                  <a:lnTo>
                    <a:pt x="73890" y="748435"/>
                  </a:lnTo>
                  <a:cubicBezTo>
                    <a:pt x="71786" y="747583"/>
                    <a:pt x="69681" y="746781"/>
                    <a:pt x="67677" y="745930"/>
                  </a:cubicBezTo>
                  <a:cubicBezTo>
                    <a:pt x="62966" y="743975"/>
                    <a:pt x="58507" y="742121"/>
                    <a:pt x="53947" y="740919"/>
                  </a:cubicBezTo>
                  <a:cubicBezTo>
                    <a:pt x="48485" y="739465"/>
                    <a:pt x="43874" y="738714"/>
                    <a:pt x="39515" y="743374"/>
                  </a:cubicBezTo>
                  <a:cubicBezTo>
                    <a:pt x="41670" y="750089"/>
                    <a:pt x="42421" y="757154"/>
                    <a:pt x="43173" y="764019"/>
                  </a:cubicBezTo>
                  <a:cubicBezTo>
                    <a:pt x="44225" y="773791"/>
                    <a:pt x="45278" y="783913"/>
                    <a:pt x="50389" y="792983"/>
                  </a:cubicBezTo>
                  <a:cubicBezTo>
                    <a:pt x="55149" y="801552"/>
                    <a:pt x="53245" y="811273"/>
                    <a:pt x="45578" y="817837"/>
                  </a:cubicBezTo>
                  <a:cubicBezTo>
                    <a:pt x="36608" y="825504"/>
                    <a:pt x="31447" y="835476"/>
                    <a:pt x="28340" y="851161"/>
                  </a:cubicBezTo>
                  <a:cubicBezTo>
                    <a:pt x="27539" y="855019"/>
                    <a:pt x="26035" y="858677"/>
                    <a:pt x="24582" y="862235"/>
                  </a:cubicBezTo>
                  <a:cubicBezTo>
                    <a:pt x="23931" y="863839"/>
                    <a:pt x="23229" y="865442"/>
                    <a:pt x="22628" y="867146"/>
                  </a:cubicBezTo>
                  <a:lnTo>
                    <a:pt x="22127" y="868499"/>
                  </a:lnTo>
                  <a:lnTo>
                    <a:pt x="20724" y="868799"/>
                  </a:lnTo>
                  <a:cubicBezTo>
                    <a:pt x="19521" y="869050"/>
                    <a:pt x="18419" y="869351"/>
                    <a:pt x="17366" y="869651"/>
                  </a:cubicBezTo>
                  <a:cubicBezTo>
                    <a:pt x="15161" y="870253"/>
                    <a:pt x="13057" y="870804"/>
                    <a:pt x="10802" y="871054"/>
                  </a:cubicBezTo>
                  <a:cubicBezTo>
                    <a:pt x="4789" y="871656"/>
                    <a:pt x="1331" y="874763"/>
                    <a:pt x="279" y="880575"/>
                  </a:cubicBezTo>
                  <a:cubicBezTo>
                    <a:pt x="-1174" y="888693"/>
                    <a:pt x="3336" y="893454"/>
                    <a:pt x="7344" y="896009"/>
                  </a:cubicBezTo>
                  <a:cubicBezTo>
                    <a:pt x="9499" y="897362"/>
                    <a:pt x="11954" y="898264"/>
                    <a:pt x="14610" y="899216"/>
                  </a:cubicBezTo>
                  <a:cubicBezTo>
                    <a:pt x="16414" y="899868"/>
                    <a:pt x="18268" y="900569"/>
                    <a:pt x="20022" y="901371"/>
                  </a:cubicBezTo>
                  <a:cubicBezTo>
                    <a:pt x="20774" y="901722"/>
                    <a:pt x="21575" y="902022"/>
                    <a:pt x="22377" y="902323"/>
                  </a:cubicBezTo>
                  <a:cubicBezTo>
                    <a:pt x="25935" y="903676"/>
                    <a:pt x="30846" y="905530"/>
                    <a:pt x="32550" y="912145"/>
                  </a:cubicBezTo>
                  <a:lnTo>
                    <a:pt x="32750" y="912946"/>
                  </a:lnTo>
                  <a:lnTo>
                    <a:pt x="32500" y="913748"/>
                  </a:lnTo>
                  <a:cubicBezTo>
                    <a:pt x="32149" y="914801"/>
                    <a:pt x="31698" y="915903"/>
                    <a:pt x="31247" y="917106"/>
                  </a:cubicBezTo>
                  <a:cubicBezTo>
                    <a:pt x="30194" y="919762"/>
                    <a:pt x="29042" y="922818"/>
                    <a:pt x="28391" y="925825"/>
                  </a:cubicBezTo>
                  <a:cubicBezTo>
                    <a:pt x="27388" y="930435"/>
                    <a:pt x="27889" y="934093"/>
                    <a:pt x="29743" y="936699"/>
                  </a:cubicBezTo>
                  <a:cubicBezTo>
                    <a:pt x="31748" y="939455"/>
                    <a:pt x="35406" y="941158"/>
                    <a:pt x="40668" y="941760"/>
                  </a:cubicBezTo>
                  <a:cubicBezTo>
                    <a:pt x="41820" y="941860"/>
                    <a:pt x="42973" y="941860"/>
                    <a:pt x="44125" y="941810"/>
                  </a:cubicBezTo>
                  <a:cubicBezTo>
                    <a:pt x="46230" y="941760"/>
                    <a:pt x="48384" y="941710"/>
                    <a:pt x="50539" y="942361"/>
                  </a:cubicBezTo>
                  <a:cubicBezTo>
                    <a:pt x="63017" y="946220"/>
                    <a:pt x="74091" y="946420"/>
                    <a:pt x="85316" y="942912"/>
                  </a:cubicBezTo>
                  <a:cubicBezTo>
                    <a:pt x="97993" y="938954"/>
                    <a:pt x="103255" y="942912"/>
                    <a:pt x="111473" y="952984"/>
                  </a:cubicBezTo>
                  <a:cubicBezTo>
                    <a:pt x="114229" y="952984"/>
                    <a:pt x="116935" y="952984"/>
                    <a:pt x="119591" y="952884"/>
                  </a:cubicBezTo>
                  <a:cubicBezTo>
                    <a:pt x="126556" y="952684"/>
                    <a:pt x="133121" y="952483"/>
                    <a:pt x="139384" y="954187"/>
                  </a:cubicBezTo>
                  <a:cubicBezTo>
                    <a:pt x="150659" y="957244"/>
                    <a:pt x="162034" y="962255"/>
                    <a:pt x="172307" y="968619"/>
                  </a:cubicBezTo>
                  <a:cubicBezTo>
                    <a:pt x="183481" y="975634"/>
                    <a:pt x="194255" y="983552"/>
                    <a:pt x="204678" y="991168"/>
                  </a:cubicBezTo>
                  <a:cubicBezTo>
                    <a:pt x="209238" y="994526"/>
                    <a:pt x="213748" y="997833"/>
                    <a:pt x="218258" y="1001040"/>
                  </a:cubicBezTo>
                  <a:lnTo>
                    <a:pt x="219510" y="1001942"/>
                  </a:lnTo>
                  <a:lnTo>
                    <a:pt x="219410" y="1003445"/>
                  </a:lnTo>
                  <a:cubicBezTo>
                    <a:pt x="218709" y="1011914"/>
                    <a:pt x="212846" y="1015923"/>
                    <a:pt x="207684" y="1019430"/>
                  </a:cubicBezTo>
                  <a:cubicBezTo>
                    <a:pt x="203976" y="1021936"/>
                    <a:pt x="200769" y="1024091"/>
                    <a:pt x="199466" y="1027598"/>
                  </a:cubicBezTo>
                  <a:cubicBezTo>
                    <a:pt x="210290" y="1048194"/>
                    <a:pt x="217205" y="1056011"/>
                    <a:pt x="236448" y="1069390"/>
                  </a:cubicBezTo>
                  <a:cubicBezTo>
                    <a:pt x="236949" y="1069240"/>
                    <a:pt x="237500" y="1069039"/>
                    <a:pt x="238051" y="1068889"/>
                  </a:cubicBezTo>
                  <a:cubicBezTo>
                    <a:pt x="240356" y="1068137"/>
                    <a:pt x="242761" y="1067386"/>
                    <a:pt x="244816" y="1066183"/>
                  </a:cubicBezTo>
                  <a:cubicBezTo>
                    <a:pt x="258546" y="1058166"/>
                    <a:pt x="275183" y="1051351"/>
                    <a:pt x="294225" y="1061172"/>
                  </a:cubicBezTo>
                  <a:cubicBezTo>
                    <a:pt x="299085" y="1063678"/>
                    <a:pt x="304397" y="1063076"/>
                    <a:pt x="309258" y="1059468"/>
                  </a:cubicBezTo>
                  <a:cubicBezTo>
                    <a:pt x="317676" y="1053255"/>
                    <a:pt x="326897" y="1053856"/>
                    <a:pt x="338121" y="1056712"/>
                  </a:cubicBezTo>
                  <a:lnTo>
                    <a:pt x="339574" y="1057063"/>
                  </a:lnTo>
                  <a:lnTo>
                    <a:pt x="340025" y="1058516"/>
                  </a:lnTo>
                  <a:cubicBezTo>
                    <a:pt x="342330" y="1065782"/>
                    <a:pt x="347842" y="1071144"/>
                    <a:pt x="356912" y="1074902"/>
                  </a:cubicBezTo>
                  <a:cubicBezTo>
                    <a:pt x="367085" y="1079061"/>
                    <a:pt x="374852" y="1087380"/>
                    <a:pt x="378810" y="1098254"/>
                  </a:cubicBezTo>
                  <a:lnTo>
                    <a:pt x="379311" y="1099607"/>
                  </a:lnTo>
                  <a:lnTo>
                    <a:pt x="378460" y="1100759"/>
                  </a:lnTo>
                  <a:cubicBezTo>
                    <a:pt x="377758" y="1101761"/>
                    <a:pt x="377107" y="1102714"/>
                    <a:pt x="376455" y="1103616"/>
                  </a:cubicBezTo>
                  <a:cubicBezTo>
                    <a:pt x="375153" y="1105520"/>
                    <a:pt x="373950" y="1107273"/>
                    <a:pt x="372547" y="1108927"/>
                  </a:cubicBezTo>
                  <a:cubicBezTo>
                    <a:pt x="355660" y="1128721"/>
                    <a:pt x="357564" y="1158636"/>
                    <a:pt x="376806" y="1175574"/>
                  </a:cubicBezTo>
                  <a:cubicBezTo>
                    <a:pt x="387379" y="1184894"/>
                    <a:pt x="389534" y="1195818"/>
                    <a:pt x="389534" y="1209348"/>
                  </a:cubicBezTo>
                  <a:cubicBezTo>
                    <a:pt x="389534" y="1212805"/>
                    <a:pt x="389434" y="1216263"/>
                    <a:pt x="389283" y="1219721"/>
                  </a:cubicBezTo>
                  <a:cubicBezTo>
                    <a:pt x="388933" y="1229642"/>
                    <a:pt x="388582" y="1239915"/>
                    <a:pt x="391238" y="1250037"/>
                  </a:cubicBezTo>
                  <a:cubicBezTo>
                    <a:pt x="408175" y="1256201"/>
                    <a:pt x="425012" y="1261212"/>
                    <a:pt x="443703" y="1257053"/>
                  </a:cubicBezTo>
                  <a:cubicBezTo>
                    <a:pt x="445958" y="1256551"/>
                    <a:pt x="448263" y="1256000"/>
                    <a:pt x="450518" y="1255399"/>
                  </a:cubicBezTo>
                  <a:cubicBezTo>
                    <a:pt x="459738" y="1253094"/>
                    <a:pt x="469259" y="1250689"/>
                    <a:pt x="479281" y="1252492"/>
                  </a:cubicBezTo>
                  <a:lnTo>
                    <a:pt x="480283" y="1252643"/>
                  </a:lnTo>
                  <a:lnTo>
                    <a:pt x="480935" y="1253394"/>
                  </a:lnTo>
                  <a:cubicBezTo>
                    <a:pt x="490556" y="1265070"/>
                    <a:pt x="501079" y="1279402"/>
                    <a:pt x="506641" y="1297291"/>
                  </a:cubicBezTo>
                  <a:cubicBezTo>
                    <a:pt x="512605" y="1316483"/>
                    <a:pt x="526134" y="1328910"/>
                    <a:pt x="548082" y="1335224"/>
                  </a:cubicBezTo>
                  <a:cubicBezTo>
                    <a:pt x="552442" y="1336477"/>
                    <a:pt x="557052" y="1337279"/>
                    <a:pt x="561562" y="1338131"/>
                  </a:cubicBezTo>
                  <a:cubicBezTo>
                    <a:pt x="566272" y="1338983"/>
                    <a:pt x="571133" y="1339834"/>
                    <a:pt x="575843" y="1341238"/>
                  </a:cubicBezTo>
                  <a:lnTo>
                    <a:pt x="577848" y="1341839"/>
                  </a:lnTo>
                  <a:cubicBezTo>
                    <a:pt x="585765" y="1344144"/>
                    <a:pt x="593933" y="1346499"/>
                    <a:pt x="600447" y="1351410"/>
                  </a:cubicBezTo>
                  <a:cubicBezTo>
                    <a:pt x="623298" y="1368497"/>
                    <a:pt x="645146" y="1382929"/>
                    <a:pt x="667194" y="1395507"/>
                  </a:cubicBezTo>
                  <a:cubicBezTo>
                    <a:pt x="674961" y="1399966"/>
                    <a:pt x="680123" y="1406280"/>
                    <a:pt x="682828" y="1414849"/>
                  </a:cubicBezTo>
                  <a:cubicBezTo>
                    <a:pt x="685284" y="1422466"/>
                    <a:pt x="687789" y="1429782"/>
                    <a:pt x="691648" y="1435946"/>
                  </a:cubicBezTo>
                  <a:cubicBezTo>
                    <a:pt x="700232" y="1449741"/>
                    <a:pt x="709672" y="1456641"/>
                    <a:pt x="719960" y="1456641"/>
                  </a:cubicBezTo>
                  <a:cubicBezTo>
                    <a:pt x="721914" y="1456641"/>
                    <a:pt x="724069" y="1456641"/>
                    <a:pt x="726474" y="1456641"/>
                  </a:cubicBezTo>
                  <a:lnTo>
                    <a:pt x="730032" y="1456641"/>
                  </a:lnTo>
                  <a:cubicBezTo>
                    <a:pt x="733490" y="1456791"/>
                    <a:pt x="737048" y="1456842"/>
                    <a:pt x="740455" y="1456641"/>
                  </a:cubicBezTo>
                  <a:cubicBezTo>
                    <a:pt x="760599" y="1455138"/>
                    <a:pt x="777436" y="1458846"/>
                    <a:pt x="791968" y="1468016"/>
                  </a:cubicBezTo>
                  <a:cubicBezTo>
                    <a:pt x="799836" y="1472977"/>
                    <a:pt x="808154" y="1473478"/>
                    <a:pt x="819028" y="1469770"/>
                  </a:cubicBezTo>
                  <a:lnTo>
                    <a:pt x="824991" y="1467715"/>
                  </a:lnTo>
                  <a:cubicBezTo>
                    <a:pt x="844183" y="1461201"/>
                    <a:pt x="864027" y="1454486"/>
                    <a:pt x="882167" y="1444565"/>
                  </a:cubicBezTo>
                  <a:cubicBezTo>
                    <a:pt x="890034" y="1440255"/>
                    <a:pt x="898903" y="1435394"/>
                    <a:pt x="910629" y="1441859"/>
                  </a:cubicBezTo>
                  <a:lnTo>
                    <a:pt x="911832" y="1442510"/>
                  </a:lnTo>
                  <a:lnTo>
                    <a:pt x="911982" y="1443913"/>
                  </a:lnTo>
                  <a:cubicBezTo>
                    <a:pt x="912132" y="1445467"/>
                    <a:pt x="912282" y="1447120"/>
                    <a:pt x="912433" y="1448774"/>
                  </a:cubicBezTo>
                  <a:cubicBezTo>
                    <a:pt x="912784" y="1452833"/>
                    <a:pt x="913185" y="1456992"/>
                    <a:pt x="913986" y="1461151"/>
                  </a:cubicBezTo>
                  <a:lnTo>
                    <a:pt x="914087" y="1461702"/>
                  </a:lnTo>
                  <a:cubicBezTo>
                    <a:pt x="914838" y="1465711"/>
                    <a:pt x="915690" y="1470271"/>
                    <a:pt x="917895" y="1473027"/>
                  </a:cubicBezTo>
                  <a:cubicBezTo>
                    <a:pt x="928067" y="1485705"/>
                    <a:pt x="938640" y="1496880"/>
                    <a:pt x="956780" y="1494174"/>
                  </a:cubicBezTo>
                  <a:cubicBezTo>
                    <a:pt x="958534" y="1493923"/>
                    <a:pt x="960188" y="1494023"/>
                    <a:pt x="961791" y="1494174"/>
                  </a:cubicBezTo>
                  <a:cubicBezTo>
                    <a:pt x="962643" y="1494224"/>
                    <a:pt x="963445" y="1494274"/>
                    <a:pt x="964247" y="1494274"/>
                  </a:cubicBezTo>
                  <a:cubicBezTo>
                    <a:pt x="972415" y="1494274"/>
                    <a:pt x="978929" y="1497832"/>
                    <a:pt x="983990" y="1505599"/>
                  </a:cubicBezTo>
                  <a:cubicBezTo>
                    <a:pt x="986395" y="1509307"/>
                    <a:pt x="988901" y="1512915"/>
                    <a:pt x="991406" y="1516573"/>
                  </a:cubicBezTo>
                  <a:cubicBezTo>
                    <a:pt x="995566" y="1522586"/>
                    <a:pt x="999875" y="1528850"/>
                    <a:pt x="1003633" y="1535314"/>
                  </a:cubicBezTo>
                  <a:cubicBezTo>
                    <a:pt x="1010097" y="1546539"/>
                    <a:pt x="1018466" y="1551049"/>
                    <a:pt x="1029941" y="1549445"/>
                  </a:cubicBezTo>
                  <a:cubicBezTo>
                    <a:pt x="1031745" y="1549194"/>
                    <a:pt x="1033549" y="1549094"/>
                    <a:pt x="1035303" y="1549094"/>
                  </a:cubicBezTo>
                  <a:cubicBezTo>
                    <a:pt x="1046678" y="1549094"/>
                    <a:pt x="1056499" y="1554356"/>
                    <a:pt x="1065219" y="1565079"/>
                  </a:cubicBezTo>
                  <a:cubicBezTo>
                    <a:pt x="1067624" y="1568036"/>
                    <a:pt x="1069929" y="1571093"/>
                    <a:pt x="1072284" y="1574099"/>
                  </a:cubicBezTo>
                  <a:cubicBezTo>
                    <a:pt x="1074740" y="1577306"/>
                    <a:pt x="1077195" y="1580513"/>
                    <a:pt x="1079751" y="1583620"/>
                  </a:cubicBezTo>
                  <a:cubicBezTo>
                    <a:pt x="1081655" y="1585975"/>
                    <a:pt x="1083759" y="1588180"/>
                    <a:pt x="1086215" y="1590736"/>
                  </a:cubicBezTo>
                  <a:cubicBezTo>
                    <a:pt x="1086916" y="1591437"/>
                    <a:pt x="1087618" y="1592189"/>
                    <a:pt x="1088319" y="1592941"/>
                  </a:cubicBezTo>
                  <a:lnTo>
                    <a:pt x="1093581" y="1589884"/>
                  </a:lnTo>
                  <a:cubicBezTo>
                    <a:pt x="1099093" y="1586677"/>
                    <a:pt x="1104355" y="1583620"/>
                    <a:pt x="1109666" y="1580714"/>
                  </a:cubicBezTo>
                  <a:cubicBezTo>
                    <a:pt x="1135473" y="1566733"/>
                    <a:pt x="1149303" y="1543081"/>
                    <a:pt x="1160428" y="1519529"/>
                  </a:cubicBezTo>
                  <a:cubicBezTo>
                    <a:pt x="1161480" y="1517325"/>
                    <a:pt x="1162432" y="1515070"/>
                    <a:pt x="1163384" y="1512815"/>
                  </a:cubicBezTo>
                  <a:cubicBezTo>
                    <a:pt x="1166090" y="1506450"/>
                    <a:pt x="1168896" y="1499886"/>
                    <a:pt x="1173557" y="1494124"/>
                  </a:cubicBezTo>
                  <a:cubicBezTo>
                    <a:pt x="1174809" y="1492620"/>
                    <a:pt x="1175511" y="1490415"/>
                    <a:pt x="1176313" y="1487860"/>
                  </a:cubicBezTo>
                  <a:cubicBezTo>
                    <a:pt x="1176563" y="1487158"/>
                    <a:pt x="1176764" y="1486406"/>
                    <a:pt x="1177064" y="1485655"/>
                  </a:cubicBezTo>
                  <a:lnTo>
                    <a:pt x="1173306" y="1482899"/>
                  </a:lnTo>
                  <a:cubicBezTo>
                    <a:pt x="1169648" y="1480243"/>
                    <a:pt x="1166241" y="1477737"/>
                    <a:pt x="1162883" y="1475132"/>
                  </a:cubicBezTo>
                  <a:cubicBezTo>
                    <a:pt x="1151258" y="1465962"/>
                    <a:pt x="1152661" y="1453184"/>
                    <a:pt x="1154765" y="1444314"/>
                  </a:cubicBezTo>
                  <a:cubicBezTo>
                    <a:pt x="1157020" y="1434743"/>
                    <a:pt x="1164286" y="1429131"/>
                    <a:pt x="1174609" y="1428780"/>
                  </a:cubicBezTo>
                  <a:cubicBezTo>
                    <a:pt x="1181123" y="1428579"/>
                    <a:pt x="1185783" y="1425773"/>
                    <a:pt x="1189792" y="1419610"/>
                  </a:cubicBezTo>
                  <a:cubicBezTo>
                    <a:pt x="1192999" y="1414749"/>
                    <a:pt x="1196257" y="1409939"/>
                    <a:pt x="1199514" y="1405078"/>
                  </a:cubicBezTo>
                  <a:cubicBezTo>
                    <a:pt x="1204575" y="1397611"/>
                    <a:pt x="1209786" y="1389895"/>
                    <a:pt x="1214597" y="1382177"/>
                  </a:cubicBezTo>
                  <a:cubicBezTo>
                    <a:pt x="1221312" y="1371404"/>
                    <a:pt x="1228327" y="1329712"/>
                    <a:pt x="1225471" y="1317536"/>
                  </a:cubicBezTo>
                  <a:cubicBezTo>
                    <a:pt x="1224869" y="1314829"/>
                    <a:pt x="1223567" y="1312124"/>
                    <a:pt x="1222063" y="1309017"/>
                  </a:cubicBezTo>
                  <a:cubicBezTo>
                    <a:pt x="1221612" y="1308115"/>
                    <a:pt x="1221161" y="1307163"/>
                    <a:pt x="1220710" y="1306160"/>
                  </a:cubicBezTo>
                  <a:cubicBezTo>
                    <a:pt x="1196407" y="1315030"/>
                    <a:pt x="1183078" y="1299746"/>
                    <a:pt x="1174158" y="1284713"/>
                  </a:cubicBezTo>
                  <a:lnTo>
                    <a:pt x="1155667" y="1279903"/>
                  </a:lnTo>
                  <a:lnTo>
                    <a:pt x="1155116" y="1278850"/>
                  </a:lnTo>
                  <a:cubicBezTo>
                    <a:pt x="1150105" y="1269179"/>
                    <a:pt x="1145645" y="1259458"/>
                    <a:pt x="1145746" y="1247281"/>
                  </a:cubicBezTo>
                  <a:lnTo>
                    <a:pt x="1145746" y="1245928"/>
                  </a:lnTo>
                  <a:cubicBezTo>
                    <a:pt x="1145746" y="1245928"/>
                    <a:pt x="1147499" y="1244675"/>
                    <a:pt x="1147499" y="1244675"/>
                  </a:cubicBezTo>
                  <a:cubicBezTo>
                    <a:pt x="1154164" y="1239965"/>
                    <a:pt x="1160428" y="1235505"/>
                    <a:pt x="1161230" y="1227638"/>
                  </a:cubicBezTo>
                  <a:cubicBezTo>
                    <a:pt x="1163084" y="1208847"/>
                    <a:pt x="1164487" y="1188903"/>
                    <a:pt x="1160478" y="1169159"/>
                  </a:cubicBezTo>
                  <a:cubicBezTo>
                    <a:pt x="1159626" y="1168709"/>
                    <a:pt x="1158824" y="1168207"/>
                    <a:pt x="1158023" y="1167756"/>
                  </a:cubicBezTo>
                  <a:cubicBezTo>
                    <a:pt x="1156118" y="1166654"/>
                    <a:pt x="1154515" y="1165702"/>
                    <a:pt x="1153012" y="1165401"/>
                  </a:cubicBezTo>
                  <a:cubicBezTo>
                    <a:pt x="1136074" y="1162094"/>
                    <a:pt x="1131063" y="1148564"/>
                    <a:pt x="1128758" y="1138743"/>
                  </a:cubicBezTo>
                  <a:cubicBezTo>
                    <a:pt x="1128508" y="1137741"/>
                    <a:pt x="1128207" y="1136738"/>
                    <a:pt x="1127856" y="1135736"/>
                  </a:cubicBezTo>
                  <a:cubicBezTo>
                    <a:pt x="1127155" y="1133631"/>
                    <a:pt x="1126453" y="1131427"/>
                    <a:pt x="1126353" y="1129071"/>
                  </a:cubicBezTo>
                  <a:cubicBezTo>
                    <a:pt x="1126202" y="1123559"/>
                    <a:pt x="1125952" y="1118097"/>
                    <a:pt x="1125752" y="1112585"/>
                  </a:cubicBezTo>
                  <a:cubicBezTo>
                    <a:pt x="1124749" y="1089234"/>
                    <a:pt x="1123747" y="1065081"/>
                    <a:pt x="1129510" y="1041279"/>
                  </a:cubicBezTo>
                  <a:lnTo>
                    <a:pt x="1129961" y="1039374"/>
                  </a:lnTo>
                  <a:cubicBezTo>
                    <a:pt x="1131665" y="1032509"/>
                    <a:pt x="1133418" y="1025394"/>
                    <a:pt x="1132416" y="1019130"/>
                  </a:cubicBezTo>
                  <a:cubicBezTo>
                    <a:pt x="1131865" y="1015722"/>
                    <a:pt x="1131364" y="1012315"/>
                    <a:pt x="1130863" y="1008957"/>
                  </a:cubicBezTo>
                  <a:cubicBezTo>
                    <a:pt x="1127606" y="987310"/>
                    <a:pt x="1124248" y="964961"/>
                    <a:pt x="1111120" y="946169"/>
                  </a:cubicBezTo>
                  <a:cubicBezTo>
                    <a:pt x="1105407" y="937951"/>
                    <a:pt x="1105858" y="929332"/>
                    <a:pt x="1112422" y="921265"/>
                  </a:cubicBezTo>
                  <a:cubicBezTo>
                    <a:pt x="1113625" y="919812"/>
                    <a:pt x="1114978" y="918459"/>
                    <a:pt x="1116331" y="917106"/>
                  </a:cubicBezTo>
                  <a:cubicBezTo>
                    <a:pt x="1119789" y="913648"/>
                    <a:pt x="1122845" y="910691"/>
                    <a:pt x="1123346" y="905630"/>
                  </a:cubicBezTo>
                  <a:cubicBezTo>
                    <a:pt x="1112974" y="889445"/>
                    <a:pt x="1115279" y="871455"/>
                    <a:pt x="1117734" y="852514"/>
                  </a:cubicBezTo>
                  <a:lnTo>
                    <a:pt x="1117985" y="850409"/>
                  </a:lnTo>
                  <a:lnTo>
                    <a:pt x="1125902" y="846200"/>
                  </a:lnTo>
                  <a:cubicBezTo>
                    <a:pt x="1131915" y="842993"/>
                    <a:pt x="1137928" y="839786"/>
                    <a:pt x="1143942" y="836629"/>
                  </a:cubicBezTo>
                  <a:cubicBezTo>
                    <a:pt x="1149253" y="833873"/>
                    <a:pt x="1154214" y="831217"/>
                    <a:pt x="1156319" y="825705"/>
                  </a:cubicBezTo>
                  <a:cubicBezTo>
                    <a:pt x="1158023" y="821295"/>
                    <a:pt x="1159877" y="816885"/>
                    <a:pt x="1161781" y="812526"/>
                  </a:cubicBezTo>
                  <a:cubicBezTo>
                    <a:pt x="1165739" y="803306"/>
                    <a:pt x="1169899" y="793785"/>
                    <a:pt x="1171853" y="784113"/>
                  </a:cubicBezTo>
                  <a:cubicBezTo>
                    <a:pt x="1176513" y="761464"/>
                    <a:pt x="1180071" y="738162"/>
                    <a:pt x="1183528" y="715613"/>
                  </a:cubicBezTo>
                  <a:cubicBezTo>
                    <a:pt x="1184932" y="706643"/>
                    <a:pt x="1186285" y="697623"/>
                    <a:pt x="1187738" y="688654"/>
                  </a:cubicBezTo>
                  <a:cubicBezTo>
                    <a:pt x="1188690" y="682741"/>
                    <a:pt x="1187888" y="678732"/>
                    <a:pt x="1185032" y="675124"/>
                  </a:cubicBezTo>
                  <a:cubicBezTo>
                    <a:pt x="1180772" y="669762"/>
                    <a:pt x="1176714" y="664250"/>
                    <a:pt x="1172605" y="658788"/>
                  </a:cubicBezTo>
                  <a:cubicBezTo>
                    <a:pt x="1171051" y="656683"/>
                    <a:pt x="1169498" y="654579"/>
                    <a:pt x="1167894" y="652474"/>
                  </a:cubicBezTo>
                  <a:cubicBezTo>
                    <a:pt x="1167343" y="652624"/>
                    <a:pt x="1166591" y="652775"/>
                    <a:pt x="1166341" y="652925"/>
                  </a:cubicBezTo>
                  <a:cubicBezTo>
                    <a:pt x="1158073" y="661143"/>
                    <a:pt x="1148301" y="664901"/>
                    <a:pt x="1134671" y="664952"/>
                  </a:cubicBezTo>
                  <a:cubicBezTo>
                    <a:pt x="1122895" y="665102"/>
                    <a:pt x="1113374" y="660442"/>
                    <a:pt x="1104104" y="650169"/>
                  </a:cubicBezTo>
                  <a:lnTo>
                    <a:pt x="1103703" y="649718"/>
                  </a:lnTo>
                  <a:cubicBezTo>
                    <a:pt x="1101849" y="647664"/>
                    <a:pt x="1099995" y="645559"/>
                    <a:pt x="1097890" y="644507"/>
                  </a:cubicBezTo>
                  <a:cubicBezTo>
                    <a:pt x="1074489" y="632831"/>
                    <a:pt x="1064667" y="612637"/>
                    <a:pt x="1057502" y="592542"/>
                  </a:cubicBezTo>
                  <a:cubicBezTo>
                    <a:pt x="1052491" y="578562"/>
                    <a:pt x="1048382" y="563028"/>
                    <a:pt x="1051789" y="544487"/>
                  </a:cubicBezTo>
                  <a:lnTo>
                    <a:pt x="1051940" y="543585"/>
                  </a:lnTo>
                  <a:lnTo>
                    <a:pt x="1052641" y="542984"/>
                  </a:lnTo>
                  <a:cubicBezTo>
                    <a:pt x="1054395" y="541430"/>
                    <a:pt x="1056249" y="539927"/>
                    <a:pt x="1058153" y="538424"/>
                  </a:cubicBezTo>
                  <a:cubicBezTo>
                    <a:pt x="1063916" y="533864"/>
                    <a:pt x="1069328" y="529504"/>
                    <a:pt x="1072635" y="522539"/>
                  </a:cubicBezTo>
                  <a:cubicBezTo>
                    <a:pt x="1075140" y="517277"/>
                    <a:pt x="1081003" y="512466"/>
                    <a:pt x="1090073" y="508207"/>
                  </a:cubicBezTo>
                  <a:cubicBezTo>
                    <a:pt x="1109315" y="499137"/>
                    <a:pt x="1123998" y="489366"/>
                    <a:pt x="1136275" y="477490"/>
                  </a:cubicBezTo>
                  <a:cubicBezTo>
                    <a:pt x="1137628" y="476237"/>
                    <a:pt x="1139381" y="476036"/>
                    <a:pt x="1140785" y="475886"/>
                  </a:cubicBezTo>
                  <a:cubicBezTo>
                    <a:pt x="1141236" y="475886"/>
                    <a:pt x="1141636" y="475786"/>
                    <a:pt x="1142037" y="475736"/>
                  </a:cubicBezTo>
                  <a:lnTo>
                    <a:pt x="1142538" y="475636"/>
                  </a:lnTo>
                  <a:lnTo>
                    <a:pt x="1143040" y="475736"/>
                  </a:lnTo>
                  <a:cubicBezTo>
                    <a:pt x="1146648" y="476387"/>
                    <a:pt x="1150055" y="477941"/>
                    <a:pt x="1153312" y="479394"/>
                  </a:cubicBezTo>
                  <a:cubicBezTo>
                    <a:pt x="1159526" y="482250"/>
                    <a:pt x="1164938" y="484655"/>
                    <a:pt x="1171151" y="481098"/>
                  </a:cubicBezTo>
                  <a:cubicBezTo>
                    <a:pt x="1179219" y="457045"/>
                    <a:pt x="1180672" y="445169"/>
                    <a:pt x="1181324" y="417658"/>
                  </a:cubicBezTo>
                  <a:cubicBezTo>
                    <a:pt x="1181725" y="401372"/>
                    <a:pt x="1180722" y="388344"/>
                    <a:pt x="1164286" y="381228"/>
                  </a:cubicBezTo>
                  <a:cubicBezTo>
                    <a:pt x="1159526" y="379174"/>
                    <a:pt x="1156018" y="374864"/>
                    <a:pt x="1152661" y="370705"/>
                  </a:cubicBezTo>
                  <a:cubicBezTo>
                    <a:pt x="1151759" y="369603"/>
                    <a:pt x="1150857" y="368450"/>
                    <a:pt x="1149955" y="367398"/>
                  </a:cubicBezTo>
                  <a:cubicBezTo>
                    <a:pt x="1148301" y="365494"/>
                    <a:pt x="1145395" y="361735"/>
                    <a:pt x="1145044" y="357676"/>
                  </a:cubicBezTo>
                  <a:lnTo>
                    <a:pt x="1144793" y="355121"/>
                  </a:lnTo>
                  <a:cubicBezTo>
                    <a:pt x="1143641" y="343345"/>
                    <a:pt x="1142438" y="331168"/>
                    <a:pt x="1147499" y="318089"/>
                  </a:cubicBezTo>
                  <a:lnTo>
                    <a:pt x="1148101" y="316586"/>
                  </a:lnTo>
                  <a:lnTo>
                    <a:pt x="1149704" y="316386"/>
                  </a:lnTo>
                  <a:cubicBezTo>
                    <a:pt x="1151959" y="316135"/>
                    <a:pt x="1154214" y="315935"/>
                    <a:pt x="1156419" y="315684"/>
                  </a:cubicBezTo>
                  <a:cubicBezTo>
                    <a:pt x="1161029" y="315233"/>
                    <a:pt x="1165790" y="314782"/>
                    <a:pt x="1170349" y="314031"/>
                  </a:cubicBezTo>
                  <a:cubicBezTo>
                    <a:pt x="1181073" y="312176"/>
                    <a:pt x="1188840" y="303307"/>
                    <a:pt x="1189642" y="291982"/>
                  </a:cubicBezTo>
                  <a:cubicBezTo>
                    <a:pt x="1190444" y="281609"/>
                    <a:pt x="1187838" y="274443"/>
                    <a:pt x="1181324" y="268631"/>
                  </a:cubicBezTo>
                  <a:cubicBezTo>
                    <a:pt x="1161129" y="250641"/>
                    <a:pt x="1147900" y="233103"/>
                    <a:pt x="1139732" y="213359"/>
                  </a:cubicBezTo>
                  <a:cubicBezTo>
                    <a:pt x="1138830" y="211104"/>
                    <a:pt x="1136676" y="208699"/>
                    <a:pt x="1135172" y="208298"/>
                  </a:cubicBezTo>
                  <a:cubicBezTo>
                    <a:pt x="1126052" y="205693"/>
                    <a:pt x="1116632" y="204390"/>
                    <a:pt x="1109366" y="212107"/>
                  </a:cubicBezTo>
                  <a:cubicBezTo>
                    <a:pt x="1119839" y="240669"/>
                    <a:pt x="1119989" y="241521"/>
                    <a:pt x="1114778" y="257657"/>
                  </a:cubicBezTo>
                  <a:lnTo>
                    <a:pt x="1114176" y="259561"/>
                  </a:lnTo>
                  <a:lnTo>
                    <a:pt x="1112222" y="259561"/>
                  </a:lnTo>
                  <a:cubicBezTo>
                    <a:pt x="1080352" y="259260"/>
                    <a:pt x="1073737" y="255502"/>
                    <a:pt x="1061861" y="230848"/>
                  </a:cubicBezTo>
                  <a:cubicBezTo>
                    <a:pt x="1061711" y="230647"/>
                    <a:pt x="1060959" y="230096"/>
                    <a:pt x="1060408" y="229695"/>
                  </a:cubicBezTo>
                  <a:cubicBezTo>
                    <a:pt x="1059957" y="229394"/>
                    <a:pt x="1059456" y="228994"/>
                    <a:pt x="1058905" y="228593"/>
                  </a:cubicBezTo>
                  <a:cubicBezTo>
                    <a:pt x="1051338" y="228042"/>
                    <a:pt x="1043772" y="231148"/>
                    <a:pt x="1036455" y="234155"/>
                  </a:cubicBezTo>
                  <a:lnTo>
                    <a:pt x="1036205" y="234255"/>
                  </a:lnTo>
                  <a:cubicBezTo>
                    <a:pt x="1021723" y="268631"/>
                    <a:pt x="1025431" y="290278"/>
                    <a:pt x="1051388" y="322349"/>
                  </a:cubicBezTo>
                  <a:cubicBezTo>
                    <a:pt x="1052190" y="322449"/>
                    <a:pt x="1052992" y="322599"/>
                    <a:pt x="1053844" y="322699"/>
                  </a:cubicBezTo>
                  <a:cubicBezTo>
                    <a:pt x="1056900" y="323100"/>
                    <a:pt x="1060358" y="323551"/>
                    <a:pt x="1063665" y="324604"/>
                  </a:cubicBezTo>
                  <a:cubicBezTo>
                    <a:pt x="1081103" y="329966"/>
                    <a:pt x="1091376" y="345951"/>
                    <a:pt x="1088620" y="363489"/>
                  </a:cubicBezTo>
                  <a:cubicBezTo>
                    <a:pt x="1087217" y="372409"/>
                    <a:pt x="1085263" y="382030"/>
                    <a:pt x="1082507" y="393806"/>
                  </a:cubicBezTo>
                  <a:cubicBezTo>
                    <a:pt x="1082006" y="395960"/>
                    <a:pt x="1080703" y="397614"/>
                    <a:pt x="1079049" y="399719"/>
                  </a:cubicBezTo>
                  <a:cubicBezTo>
                    <a:pt x="1078247" y="400721"/>
                    <a:pt x="1077345" y="401874"/>
                    <a:pt x="1076393" y="403277"/>
                  </a:cubicBezTo>
                  <a:lnTo>
                    <a:pt x="1073888" y="406985"/>
                  </a:lnTo>
                  <a:lnTo>
                    <a:pt x="1071833" y="403026"/>
                  </a:lnTo>
                  <a:cubicBezTo>
                    <a:pt x="1070179" y="399819"/>
                    <a:pt x="1068526" y="396863"/>
                    <a:pt x="1067022" y="394106"/>
                  </a:cubicBezTo>
                  <a:cubicBezTo>
                    <a:pt x="1063816" y="388294"/>
                    <a:pt x="1061059" y="383233"/>
                    <a:pt x="1058755" y="377871"/>
                  </a:cubicBezTo>
                  <a:cubicBezTo>
                    <a:pt x="1054545" y="367999"/>
                    <a:pt x="1047730" y="361234"/>
                    <a:pt x="1037257" y="356674"/>
                  </a:cubicBezTo>
                  <a:cubicBezTo>
                    <a:pt x="1029841" y="353417"/>
                    <a:pt x="1022525" y="349659"/>
                    <a:pt x="1015459" y="346001"/>
                  </a:cubicBezTo>
                  <a:lnTo>
                    <a:pt x="1009596" y="342944"/>
                  </a:lnTo>
                  <a:cubicBezTo>
                    <a:pt x="992659" y="334225"/>
                    <a:pt x="964597" y="312226"/>
                    <a:pt x="949515" y="295841"/>
                  </a:cubicBezTo>
                  <a:lnTo>
                    <a:pt x="948161" y="294387"/>
                  </a:lnTo>
                  <a:lnTo>
                    <a:pt x="949164" y="292684"/>
                  </a:lnTo>
                  <a:cubicBezTo>
                    <a:pt x="950767" y="289928"/>
                    <a:pt x="952321" y="287171"/>
                    <a:pt x="953874" y="284365"/>
                  </a:cubicBezTo>
                  <a:cubicBezTo>
                    <a:pt x="957582" y="277751"/>
                    <a:pt x="961441" y="270886"/>
                    <a:pt x="965650" y="264371"/>
                  </a:cubicBezTo>
                  <a:cubicBezTo>
                    <a:pt x="973166" y="252696"/>
                    <a:pt x="973868" y="242323"/>
                    <a:pt x="967905" y="231750"/>
                  </a:cubicBezTo>
                  <a:cubicBezTo>
                    <a:pt x="967003" y="230146"/>
                    <a:pt x="967404" y="228442"/>
                    <a:pt x="967805" y="226689"/>
                  </a:cubicBezTo>
                  <a:cubicBezTo>
                    <a:pt x="967955" y="225937"/>
                    <a:pt x="968155" y="225085"/>
                    <a:pt x="968306" y="224083"/>
                  </a:cubicBezTo>
                  <a:lnTo>
                    <a:pt x="968406" y="223181"/>
                  </a:lnTo>
                  <a:lnTo>
                    <a:pt x="969007" y="222529"/>
                  </a:lnTo>
                  <a:cubicBezTo>
                    <a:pt x="970561" y="220926"/>
                    <a:pt x="972214" y="219322"/>
                    <a:pt x="973918" y="217619"/>
                  </a:cubicBezTo>
                  <a:cubicBezTo>
                    <a:pt x="977977" y="213610"/>
                    <a:pt x="982186" y="209401"/>
                    <a:pt x="986095" y="204891"/>
                  </a:cubicBezTo>
                  <a:cubicBezTo>
                    <a:pt x="991156" y="199028"/>
                    <a:pt x="995966" y="192764"/>
                    <a:pt x="1000677" y="186701"/>
                  </a:cubicBezTo>
                  <a:lnTo>
                    <a:pt x="1005137" y="180988"/>
                  </a:lnTo>
                  <a:cubicBezTo>
                    <a:pt x="1010949" y="173572"/>
                    <a:pt x="1013405" y="165554"/>
                    <a:pt x="1012703" y="156434"/>
                  </a:cubicBezTo>
                  <a:cubicBezTo>
                    <a:pt x="1011551" y="141551"/>
                    <a:pt x="1013856" y="126819"/>
                    <a:pt x="1019719" y="111285"/>
                  </a:cubicBezTo>
                  <a:cubicBezTo>
                    <a:pt x="1021422" y="106775"/>
                    <a:pt x="1022725" y="102566"/>
                    <a:pt x="1021122" y="97705"/>
                  </a:cubicBezTo>
                  <a:cubicBezTo>
                    <a:pt x="1020069" y="98858"/>
                    <a:pt x="1019117" y="99960"/>
                    <a:pt x="1018867" y="100912"/>
                  </a:cubicBezTo>
                  <a:cubicBezTo>
                    <a:pt x="1016261" y="110784"/>
                    <a:pt x="1013605" y="120706"/>
                    <a:pt x="1012202" y="130577"/>
                  </a:cubicBezTo>
                  <a:cubicBezTo>
                    <a:pt x="1009747" y="148266"/>
                    <a:pt x="1002030" y="162748"/>
                    <a:pt x="988650" y="174775"/>
                  </a:cubicBezTo>
                  <a:cubicBezTo>
                    <a:pt x="979981" y="182542"/>
                    <a:pt x="970360" y="190259"/>
                    <a:pt x="956329" y="191160"/>
                  </a:cubicBezTo>
                  <a:cubicBezTo>
                    <a:pt x="954275" y="191311"/>
                    <a:pt x="952220" y="191862"/>
                    <a:pt x="950015" y="192463"/>
                  </a:cubicBezTo>
                  <a:cubicBezTo>
                    <a:pt x="948362" y="192914"/>
                    <a:pt x="946758" y="193365"/>
                    <a:pt x="945105" y="193666"/>
                  </a:cubicBezTo>
                  <a:cubicBezTo>
                    <a:pt x="925662" y="197074"/>
                    <a:pt x="912333" y="205693"/>
                    <a:pt x="903113" y="220776"/>
                  </a:cubicBezTo>
                  <a:cubicBezTo>
                    <a:pt x="900106" y="225636"/>
                    <a:pt x="895947" y="229695"/>
                    <a:pt x="891938" y="233604"/>
                  </a:cubicBezTo>
                  <a:cubicBezTo>
                    <a:pt x="889683" y="235759"/>
                    <a:pt x="887378" y="238013"/>
                    <a:pt x="885373" y="240318"/>
                  </a:cubicBezTo>
                  <a:cubicBezTo>
                    <a:pt x="883068" y="242974"/>
                    <a:pt x="881014" y="245831"/>
                    <a:pt x="878859" y="248887"/>
                  </a:cubicBezTo>
                  <a:cubicBezTo>
                    <a:pt x="878208" y="249839"/>
                    <a:pt x="877556" y="250741"/>
                    <a:pt x="876855" y="251694"/>
                  </a:cubicBezTo>
                  <a:cubicBezTo>
                    <a:pt x="882668" y="260513"/>
                    <a:pt x="889132" y="270535"/>
                    <a:pt x="882317" y="281960"/>
                  </a:cubicBezTo>
                  <a:cubicBezTo>
                    <a:pt x="877306" y="290379"/>
                    <a:pt x="876855" y="299549"/>
                    <a:pt x="880864" y="311575"/>
                  </a:cubicBezTo>
                  <a:cubicBezTo>
                    <a:pt x="885123" y="324504"/>
                    <a:pt x="885273" y="337783"/>
                    <a:pt x="885424" y="350611"/>
                  </a:cubicBezTo>
                  <a:lnTo>
                    <a:pt x="885524" y="356824"/>
                  </a:lnTo>
                  <a:cubicBezTo>
                    <a:pt x="885724" y="366746"/>
                    <a:pt x="882317" y="374664"/>
                    <a:pt x="874850" y="381729"/>
                  </a:cubicBezTo>
                  <a:cubicBezTo>
                    <a:pt x="869539" y="386690"/>
                    <a:pt x="864377" y="392002"/>
                    <a:pt x="859316" y="397113"/>
                  </a:cubicBezTo>
                  <a:cubicBezTo>
                    <a:pt x="855057" y="401473"/>
                    <a:pt x="850747" y="405832"/>
                    <a:pt x="846338" y="410092"/>
                  </a:cubicBezTo>
                  <a:cubicBezTo>
                    <a:pt x="841126" y="415103"/>
                    <a:pt x="837268" y="421066"/>
                    <a:pt x="834261" y="428732"/>
                  </a:cubicBezTo>
                  <a:lnTo>
                    <a:pt x="833459" y="430737"/>
                  </a:lnTo>
                  <a:cubicBezTo>
                    <a:pt x="828899" y="442413"/>
                    <a:pt x="824189" y="454489"/>
                    <a:pt x="818376" y="465864"/>
                  </a:cubicBezTo>
                  <a:cubicBezTo>
                    <a:pt x="811962" y="478392"/>
                    <a:pt x="809407" y="489466"/>
                    <a:pt x="810258" y="500691"/>
                  </a:cubicBezTo>
                  <a:cubicBezTo>
                    <a:pt x="811160" y="513018"/>
                    <a:pt x="808605" y="524643"/>
                    <a:pt x="802491" y="536269"/>
                  </a:cubicBezTo>
                  <a:cubicBezTo>
                    <a:pt x="799334" y="542282"/>
                    <a:pt x="796077" y="548496"/>
                    <a:pt x="797230" y="556263"/>
                  </a:cubicBezTo>
                  <a:cubicBezTo>
                    <a:pt x="798583" y="556513"/>
                    <a:pt x="799936" y="556714"/>
                    <a:pt x="801289" y="556914"/>
                  </a:cubicBezTo>
                  <a:cubicBezTo>
                    <a:pt x="806199" y="557666"/>
                    <a:pt x="811311" y="558468"/>
                    <a:pt x="815921" y="560622"/>
                  </a:cubicBezTo>
                  <a:cubicBezTo>
                    <a:pt x="821032" y="563028"/>
                    <a:pt x="825492" y="566585"/>
                    <a:pt x="829801" y="569993"/>
                  </a:cubicBezTo>
                  <a:cubicBezTo>
                    <a:pt x="831254" y="571145"/>
                    <a:pt x="832658" y="572248"/>
                    <a:pt x="834111" y="573350"/>
                  </a:cubicBezTo>
                  <a:cubicBezTo>
                    <a:pt x="835063" y="573000"/>
                    <a:pt x="836015" y="572699"/>
                    <a:pt x="836917" y="572398"/>
                  </a:cubicBezTo>
                  <a:cubicBezTo>
                    <a:pt x="839773" y="571396"/>
                    <a:pt x="842379" y="570494"/>
                    <a:pt x="844985" y="569792"/>
                  </a:cubicBezTo>
                  <a:cubicBezTo>
                    <a:pt x="860419" y="565633"/>
                    <a:pt x="873598" y="567838"/>
                    <a:pt x="885373" y="576557"/>
                  </a:cubicBezTo>
                  <a:cubicBezTo>
                    <a:pt x="891587" y="581168"/>
                    <a:pt x="898202" y="585477"/>
                    <a:pt x="904566" y="589636"/>
                  </a:cubicBezTo>
                  <a:cubicBezTo>
                    <a:pt x="909827" y="593094"/>
                    <a:pt x="915289" y="596652"/>
                    <a:pt x="920551" y="600360"/>
                  </a:cubicBezTo>
                  <a:cubicBezTo>
                    <a:pt x="925111" y="603567"/>
                    <a:pt x="930122" y="607575"/>
                    <a:pt x="932928" y="612687"/>
                  </a:cubicBezTo>
                  <a:cubicBezTo>
                    <a:pt x="942299" y="629824"/>
                    <a:pt x="950266" y="645759"/>
                    <a:pt x="957332" y="661494"/>
                  </a:cubicBezTo>
                  <a:cubicBezTo>
                    <a:pt x="959486" y="666355"/>
                    <a:pt x="961040" y="675224"/>
                    <a:pt x="957632" y="679784"/>
                  </a:cubicBezTo>
                  <a:cubicBezTo>
                    <a:pt x="951920" y="687501"/>
                    <a:pt x="954125" y="694517"/>
                    <a:pt x="956630" y="702685"/>
                  </a:cubicBezTo>
                  <a:lnTo>
                    <a:pt x="957131" y="704338"/>
                  </a:lnTo>
                  <a:cubicBezTo>
                    <a:pt x="961791" y="719622"/>
                    <a:pt x="961942" y="732801"/>
                    <a:pt x="957532" y="744627"/>
                  </a:cubicBezTo>
                  <a:lnTo>
                    <a:pt x="957031" y="746030"/>
                  </a:lnTo>
                  <a:lnTo>
                    <a:pt x="955578" y="746330"/>
                  </a:lnTo>
                  <a:cubicBezTo>
                    <a:pt x="921353" y="753195"/>
                    <a:pt x="912433" y="760812"/>
                    <a:pt x="907121" y="788673"/>
                  </a:cubicBezTo>
                  <a:cubicBezTo>
                    <a:pt x="908524" y="790127"/>
                    <a:pt x="909927" y="791630"/>
                    <a:pt x="911380" y="793183"/>
                  </a:cubicBezTo>
                  <a:cubicBezTo>
                    <a:pt x="915690" y="797743"/>
                    <a:pt x="920150" y="802454"/>
                    <a:pt x="924910" y="806964"/>
                  </a:cubicBezTo>
                  <a:cubicBezTo>
                    <a:pt x="932527" y="814179"/>
                    <a:pt x="940394" y="820944"/>
                    <a:pt x="947760" y="827158"/>
                  </a:cubicBezTo>
                  <a:cubicBezTo>
                    <a:pt x="950015" y="829062"/>
                    <a:pt x="952521" y="830616"/>
                    <a:pt x="955227" y="832319"/>
                  </a:cubicBezTo>
                  <a:cubicBezTo>
                    <a:pt x="960589" y="835677"/>
                    <a:pt x="966151" y="839134"/>
                    <a:pt x="970060" y="845398"/>
                  </a:cubicBezTo>
                  <a:lnTo>
                    <a:pt x="971713" y="848104"/>
                  </a:lnTo>
                  <a:lnTo>
                    <a:pt x="968757" y="849307"/>
                  </a:lnTo>
                  <a:cubicBezTo>
                    <a:pt x="953824" y="855470"/>
                    <a:pt x="941497" y="850710"/>
                    <a:pt x="930673" y="846500"/>
                  </a:cubicBezTo>
                  <a:cubicBezTo>
                    <a:pt x="929320" y="845999"/>
                    <a:pt x="927967" y="845448"/>
                    <a:pt x="926664" y="844947"/>
                  </a:cubicBezTo>
                  <a:cubicBezTo>
                    <a:pt x="923106" y="845198"/>
                    <a:pt x="919849" y="846551"/>
                    <a:pt x="916342" y="848004"/>
                  </a:cubicBezTo>
                  <a:cubicBezTo>
                    <a:pt x="909927" y="850609"/>
                    <a:pt x="902712" y="853566"/>
                    <a:pt x="893992" y="848605"/>
                  </a:cubicBezTo>
                  <a:lnTo>
                    <a:pt x="892940" y="848004"/>
                  </a:lnTo>
                  <a:lnTo>
                    <a:pt x="892690" y="846801"/>
                  </a:lnTo>
                  <a:cubicBezTo>
                    <a:pt x="892539" y="845949"/>
                    <a:pt x="892289" y="845047"/>
                    <a:pt x="892088" y="844095"/>
                  </a:cubicBezTo>
                  <a:cubicBezTo>
                    <a:pt x="891537" y="841690"/>
                    <a:pt x="890886" y="838934"/>
                    <a:pt x="890585" y="836078"/>
                  </a:cubicBezTo>
                  <a:cubicBezTo>
                    <a:pt x="890384" y="834123"/>
                    <a:pt x="890485" y="832119"/>
                    <a:pt x="890585" y="830165"/>
                  </a:cubicBezTo>
                  <a:cubicBezTo>
                    <a:pt x="890735" y="827358"/>
                    <a:pt x="890936" y="824703"/>
                    <a:pt x="890034" y="822949"/>
                  </a:cubicBezTo>
                  <a:cubicBezTo>
                    <a:pt x="879861" y="802153"/>
                    <a:pt x="884171" y="782710"/>
                    <a:pt x="889482" y="764520"/>
                  </a:cubicBezTo>
                  <a:cubicBezTo>
                    <a:pt x="893591" y="750489"/>
                    <a:pt x="898552" y="733953"/>
                    <a:pt x="904415" y="718068"/>
                  </a:cubicBezTo>
                  <a:cubicBezTo>
                    <a:pt x="910428" y="701983"/>
                    <a:pt x="910779" y="686850"/>
                    <a:pt x="905618" y="671817"/>
                  </a:cubicBezTo>
                  <a:cubicBezTo>
                    <a:pt x="902411" y="662596"/>
                    <a:pt x="899504" y="652474"/>
                    <a:pt x="899555" y="641149"/>
                  </a:cubicBezTo>
                  <a:cubicBezTo>
                    <a:pt x="899555" y="638243"/>
                    <a:pt x="898953" y="635236"/>
                    <a:pt x="898352" y="632330"/>
                  </a:cubicBezTo>
                  <a:cubicBezTo>
                    <a:pt x="898152" y="631478"/>
                    <a:pt x="898001" y="630676"/>
                    <a:pt x="897851" y="629875"/>
                  </a:cubicBezTo>
                  <a:cubicBezTo>
                    <a:pt x="897450" y="629674"/>
                    <a:pt x="897099" y="629424"/>
                    <a:pt x="896748" y="629223"/>
                  </a:cubicBezTo>
                  <a:cubicBezTo>
                    <a:pt x="896147" y="628872"/>
                    <a:pt x="895295" y="628371"/>
                    <a:pt x="895045" y="628321"/>
                  </a:cubicBezTo>
                  <a:lnTo>
                    <a:pt x="892690" y="628321"/>
                  </a:lnTo>
                  <a:cubicBezTo>
                    <a:pt x="867133" y="627920"/>
                    <a:pt x="840776" y="627469"/>
                    <a:pt x="814819" y="627569"/>
                  </a:cubicBezTo>
                  <a:cubicBezTo>
                    <a:pt x="811611" y="627569"/>
                    <a:pt x="807703" y="629073"/>
                    <a:pt x="806400" y="630726"/>
                  </a:cubicBezTo>
                  <a:lnTo>
                    <a:pt x="803895" y="633933"/>
                  </a:lnTo>
                  <a:cubicBezTo>
                    <a:pt x="792519" y="648515"/>
                    <a:pt x="781796" y="662296"/>
                    <a:pt x="782197" y="681237"/>
                  </a:cubicBezTo>
                  <a:cubicBezTo>
                    <a:pt x="782397" y="692763"/>
                    <a:pt x="780443" y="704839"/>
                    <a:pt x="775983" y="719221"/>
                  </a:cubicBezTo>
                  <a:lnTo>
                    <a:pt x="774430" y="724232"/>
                  </a:lnTo>
                  <a:cubicBezTo>
                    <a:pt x="772175" y="731448"/>
                    <a:pt x="769870" y="738864"/>
                    <a:pt x="768166" y="746280"/>
                  </a:cubicBezTo>
                  <a:cubicBezTo>
                    <a:pt x="763205" y="768178"/>
                    <a:pt x="749876" y="782811"/>
                    <a:pt x="728629" y="789826"/>
                  </a:cubicBezTo>
                  <a:cubicBezTo>
                    <a:pt x="719058" y="792983"/>
                    <a:pt x="713847" y="798044"/>
                    <a:pt x="711191" y="806763"/>
                  </a:cubicBezTo>
                  <a:cubicBezTo>
                    <a:pt x="705328" y="826106"/>
                    <a:pt x="692199" y="839184"/>
                    <a:pt x="671002" y="846901"/>
                  </a:cubicBezTo>
                  <a:cubicBezTo>
                    <a:pt x="663887" y="849457"/>
                    <a:pt x="656922" y="853215"/>
                    <a:pt x="650207" y="856823"/>
                  </a:cubicBezTo>
                  <a:cubicBezTo>
                    <a:pt x="648102" y="857976"/>
                    <a:pt x="645998" y="859078"/>
                    <a:pt x="643893" y="860181"/>
                  </a:cubicBezTo>
                  <a:cubicBezTo>
                    <a:pt x="640135" y="862135"/>
                    <a:pt x="636477" y="864340"/>
                    <a:pt x="632919" y="866444"/>
                  </a:cubicBezTo>
                  <a:cubicBezTo>
                    <a:pt x="631365" y="867346"/>
                    <a:pt x="629862" y="868248"/>
                    <a:pt x="628409" y="869100"/>
                  </a:cubicBezTo>
                  <a:lnTo>
                    <a:pt x="627457" y="869651"/>
                  </a:lnTo>
                  <a:lnTo>
                    <a:pt x="607663" y="864440"/>
                  </a:lnTo>
                  <a:cubicBezTo>
                    <a:pt x="606611" y="865743"/>
                    <a:pt x="605509" y="866995"/>
                    <a:pt x="604406" y="868248"/>
                  </a:cubicBezTo>
                  <a:cubicBezTo>
                    <a:pt x="601249" y="871856"/>
                    <a:pt x="598243" y="875314"/>
                    <a:pt x="596188" y="879172"/>
                  </a:cubicBezTo>
                  <a:cubicBezTo>
                    <a:pt x="587669" y="895558"/>
                    <a:pt x="574290" y="902073"/>
                    <a:pt x="556401" y="898565"/>
                  </a:cubicBezTo>
                  <a:cubicBezTo>
                    <a:pt x="554847" y="898264"/>
                    <a:pt x="553244" y="897813"/>
                    <a:pt x="551390" y="897212"/>
                  </a:cubicBezTo>
                  <a:cubicBezTo>
                    <a:pt x="550488" y="896961"/>
                    <a:pt x="549536" y="896611"/>
                    <a:pt x="548433" y="896310"/>
                  </a:cubicBezTo>
                  <a:lnTo>
                    <a:pt x="546830" y="895859"/>
                  </a:lnTo>
                  <a:lnTo>
                    <a:pt x="546529" y="894205"/>
                  </a:lnTo>
                  <a:cubicBezTo>
                    <a:pt x="544575" y="883682"/>
                    <a:pt x="537609" y="877970"/>
                    <a:pt x="523879" y="875665"/>
                  </a:cubicBezTo>
                  <a:cubicBezTo>
                    <a:pt x="509047" y="873159"/>
                    <a:pt x="495367" y="867096"/>
                    <a:pt x="482037" y="857074"/>
                  </a:cubicBezTo>
                  <a:cubicBezTo>
                    <a:pt x="478079" y="854117"/>
                    <a:pt x="473418" y="850810"/>
                    <a:pt x="468558" y="848956"/>
                  </a:cubicBezTo>
                  <a:cubicBezTo>
                    <a:pt x="456281" y="844246"/>
                    <a:pt x="448063" y="835075"/>
                    <a:pt x="442651" y="820092"/>
                  </a:cubicBezTo>
                  <a:lnTo>
                    <a:pt x="440847" y="815132"/>
                  </a:lnTo>
                  <a:cubicBezTo>
                    <a:pt x="437890" y="807164"/>
                    <a:pt x="434834" y="798946"/>
                    <a:pt x="433230" y="790427"/>
                  </a:cubicBezTo>
                  <a:cubicBezTo>
                    <a:pt x="431025" y="778952"/>
                    <a:pt x="429622" y="767777"/>
                    <a:pt x="436236" y="756703"/>
                  </a:cubicBezTo>
                  <a:lnTo>
                    <a:pt x="437439" y="754699"/>
                  </a:lnTo>
                  <a:lnTo>
                    <a:pt x="451270" y="760612"/>
                  </a:lnTo>
                  <a:cubicBezTo>
                    <a:pt x="473518" y="770183"/>
                    <a:pt x="495066" y="779453"/>
                    <a:pt x="516563" y="788774"/>
                  </a:cubicBezTo>
                  <a:cubicBezTo>
                    <a:pt x="519219" y="789926"/>
                    <a:pt x="521624" y="791429"/>
                    <a:pt x="523979" y="792933"/>
                  </a:cubicBezTo>
                  <a:lnTo>
                    <a:pt x="525082" y="793634"/>
                  </a:lnTo>
                  <a:cubicBezTo>
                    <a:pt x="526184" y="794286"/>
                    <a:pt x="526635" y="795388"/>
                    <a:pt x="526986" y="796290"/>
                  </a:cubicBezTo>
                  <a:cubicBezTo>
                    <a:pt x="527086" y="796591"/>
                    <a:pt x="527237" y="796891"/>
                    <a:pt x="527387" y="797242"/>
                  </a:cubicBezTo>
                  <a:lnTo>
                    <a:pt x="527738" y="797994"/>
                  </a:lnTo>
                  <a:lnTo>
                    <a:pt x="527638" y="798846"/>
                  </a:lnTo>
                  <a:cubicBezTo>
                    <a:pt x="526435" y="806964"/>
                    <a:pt x="520271" y="810872"/>
                    <a:pt x="514408" y="813578"/>
                  </a:cubicBezTo>
                  <a:cubicBezTo>
                    <a:pt x="513156" y="814179"/>
                    <a:pt x="511803" y="814330"/>
                    <a:pt x="510550" y="814480"/>
                  </a:cubicBezTo>
                  <a:cubicBezTo>
                    <a:pt x="508345" y="814731"/>
                    <a:pt x="507694" y="814831"/>
                    <a:pt x="507543" y="816084"/>
                  </a:cubicBezTo>
                  <a:cubicBezTo>
                    <a:pt x="518517" y="828311"/>
                    <a:pt x="532298" y="831718"/>
                    <a:pt x="551991" y="827208"/>
                  </a:cubicBezTo>
                  <a:cubicBezTo>
                    <a:pt x="552442" y="825705"/>
                    <a:pt x="552843" y="824202"/>
                    <a:pt x="553244" y="822698"/>
                  </a:cubicBezTo>
                  <a:cubicBezTo>
                    <a:pt x="555899" y="812877"/>
                    <a:pt x="558656" y="802704"/>
                    <a:pt x="567124" y="794236"/>
                  </a:cubicBezTo>
                  <a:lnTo>
                    <a:pt x="567625" y="793734"/>
                  </a:lnTo>
                  <a:lnTo>
                    <a:pt x="568277" y="793534"/>
                  </a:lnTo>
                  <a:cubicBezTo>
                    <a:pt x="568928" y="793334"/>
                    <a:pt x="569630" y="793183"/>
                    <a:pt x="570482" y="792983"/>
                  </a:cubicBezTo>
                  <a:cubicBezTo>
                    <a:pt x="572235" y="792582"/>
                    <a:pt x="574190" y="792081"/>
                    <a:pt x="575994" y="791379"/>
                  </a:cubicBezTo>
                  <a:cubicBezTo>
                    <a:pt x="591778" y="785116"/>
                    <a:pt x="606661" y="779152"/>
                    <a:pt x="611923" y="760963"/>
                  </a:cubicBezTo>
                  <a:cubicBezTo>
                    <a:pt x="613276" y="756352"/>
                    <a:pt x="618838" y="752895"/>
                    <a:pt x="623548" y="750439"/>
                  </a:cubicBezTo>
                  <a:lnTo>
                    <a:pt x="629311" y="747383"/>
                  </a:lnTo>
                  <a:cubicBezTo>
                    <a:pt x="643242" y="740016"/>
                    <a:pt x="657623" y="732350"/>
                    <a:pt x="672405" y="726036"/>
                  </a:cubicBezTo>
                  <a:cubicBezTo>
                    <a:pt x="683079" y="721426"/>
                    <a:pt x="689092" y="713909"/>
                    <a:pt x="691948" y="701532"/>
                  </a:cubicBezTo>
                  <a:cubicBezTo>
                    <a:pt x="692199" y="700379"/>
                    <a:pt x="692600" y="699277"/>
                    <a:pt x="693001" y="698124"/>
                  </a:cubicBezTo>
                  <a:cubicBezTo>
                    <a:pt x="693602" y="696320"/>
                    <a:pt x="694203" y="694617"/>
                    <a:pt x="694053" y="693264"/>
                  </a:cubicBezTo>
                  <a:cubicBezTo>
                    <a:pt x="692449" y="674974"/>
                    <a:pt x="703925" y="665753"/>
                    <a:pt x="715350" y="659089"/>
                  </a:cubicBezTo>
                  <a:cubicBezTo>
                    <a:pt x="727527" y="652023"/>
                    <a:pt x="734091" y="639997"/>
                    <a:pt x="739252" y="627870"/>
                  </a:cubicBezTo>
                  <a:cubicBezTo>
                    <a:pt x="723919" y="603015"/>
                    <a:pt x="718607" y="575505"/>
                    <a:pt x="715650" y="554208"/>
                  </a:cubicBezTo>
                  <a:cubicBezTo>
                    <a:pt x="713596" y="539376"/>
                    <a:pt x="715650" y="528752"/>
                    <a:pt x="722616" y="518630"/>
                  </a:cubicBezTo>
                  <a:cubicBezTo>
                    <a:pt x="744113" y="487311"/>
                    <a:pt x="756691" y="451883"/>
                    <a:pt x="767715" y="418310"/>
                  </a:cubicBezTo>
                  <a:lnTo>
                    <a:pt x="769369" y="413299"/>
                  </a:lnTo>
                  <a:cubicBezTo>
                    <a:pt x="771473" y="406784"/>
                    <a:pt x="773678" y="400019"/>
                    <a:pt x="776284" y="393555"/>
                  </a:cubicBezTo>
                  <a:lnTo>
                    <a:pt x="776585" y="392753"/>
                  </a:lnTo>
                  <a:cubicBezTo>
                    <a:pt x="778589" y="387742"/>
                    <a:pt x="780844" y="382030"/>
                    <a:pt x="785003" y="378372"/>
                  </a:cubicBezTo>
                  <a:cubicBezTo>
                    <a:pt x="796428" y="368250"/>
                    <a:pt x="802842" y="355371"/>
                    <a:pt x="809607" y="341691"/>
                  </a:cubicBezTo>
                  <a:cubicBezTo>
                    <a:pt x="811962" y="336981"/>
                    <a:pt x="814367" y="332070"/>
                    <a:pt x="817023" y="327410"/>
                  </a:cubicBezTo>
                  <a:cubicBezTo>
                    <a:pt x="823387" y="316085"/>
                    <a:pt x="824891" y="305161"/>
                    <a:pt x="821684" y="293135"/>
                  </a:cubicBezTo>
                  <a:cubicBezTo>
                    <a:pt x="816322" y="273241"/>
                    <a:pt x="815470" y="253197"/>
                    <a:pt x="815320" y="236260"/>
                  </a:cubicBezTo>
                  <a:cubicBezTo>
                    <a:pt x="815169" y="221828"/>
                    <a:pt x="819779" y="211004"/>
                    <a:pt x="830252" y="201032"/>
                  </a:cubicBezTo>
                  <a:cubicBezTo>
                    <a:pt x="840725" y="191060"/>
                    <a:pt x="851549" y="180186"/>
                    <a:pt x="859617" y="168110"/>
                  </a:cubicBezTo>
                  <a:cubicBezTo>
                    <a:pt x="873347" y="147464"/>
                    <a:pt x="886075" y="125516"/>
                    <a:pt x="898352" y="104320"/>
                  </a:cubicBezTo>
                  <a:lnTo>
                    <a:pt x="902361" y="97404"/>
                  </a:lnTo>
                  <a:cubicBezTo>
                    <a:pt x="909577" y="84977"/>
                    <a:pt x="911380" y="71598"/>
                    <a:pt x="907472" y="59621"/>
                  </a:cubicBezTo>
                  <a:cubicBezTo>
                    <a:pt x="903413" y="47345"/>
                    <a:pt x="893591" y="37272"/>
                    <a:pt x="879811" y="31309"/>
                  </a:cubicBezTo>
                  <a:lnTo>
                    <a:pt x="872595" y="28202"/>
                  </a:lnTo>
                  <a:cubicBezTo>
                    <a:pt x="856460" y="21187"/>
                    <a:pt x="839723" y="13971"/>
                    <a:pt x="823588" y="6204"/>
                  </a:cubicBezTo>
                  <a:cubicBezTo>
                    <a:pt x="813766" y="1494"/>
                    <a:pt x="803995" y="-461"/>
                    <a:pt x="792920" y="91"/>
                  </a:cubicBezTo>
                  <a:cubicBezTo>
                    <a:pt x="791818" y="1293"/>
                    <a:pt x="790615" y="2546"/>
                    <a:pt x="789463" y="3799"/>
                  </a:cubicBezTo>
                  <a:cubicBezTo>
                    <a:pt x="786306" y="7106"/>
                    <a:pt x="783049" y="10514"/>
                    <a:pt x="780242" y="14222"/>
                  </a:cubicBezTo>
                  <a:cubicBezTo>
                    <a:pt x="772375" y="24544"/>
                    <a:pt x="764608" y="34967"/>
                    <a:pt x="756841" y="45390"/>
                  </a:cubicBezTo>
                  <a:cubicBezTo>
                    <a:pt x="746869" y="58770"/>
                    <a:pt x="736547" y="72550"/>
                    <a:pt x="726174" y="86030"/>
                  </a:cubicBezTo>
                  <a:cubicBezTo>
                    <a:pt x="720561" y="93396"/>
                    <a:pt x="713546" y="102516"/>
                    <a:pt x="704977" y="108880"/>
                  </a:cubicBezTo>
                  <a:cubicBezTo>
                    <a:pt x="698212" y="113941"/>
                    <a:pt x="691497" y="119152"/>
                    <a:pt x="684783" y="124364"/>
                  </a:cubicBezTo>
                  <a:cubicBezTo>
                    <a:pt x="660680" y="143105"/>
                    <a:pt x="635725" y="162497"/>
                    <a:pt x="606661" y="175175"/>
                  </a:cubicBezTo>
                  <a:cubicBezTo>
                    <a:pt x="601800" y="177280"/>
                    <a:pt x="597641" y="181439"/>
                    <a:pt x="595035" y="184596"/>
                  </a:cubicBezTo>
                  <a:cubicBezTo>
                    <a:pt x="593482" y="186450"/>
                    <a:pt x="592330" y="188805"/>
                    <a:pt x="591127" y="191261"/>
                  </a:cubicBezTo>
                  <a:cubicBezTo>
                    <a:pt x="589874" y="193766"/>
                    <a:pt x="588621" y="196422"/>
                    <a:pt x="586767" y="198727"/>
                  </a:cubicBezTo>
                  <a:cubicBezTo>
                    <a:pt x="584061" y="202085"/>
                    <a:pt x="580854" y="204790"/>
                    <a:pt x="577497" y="207697"/>
                  </a:cubicBezTo>
                  <a:cubicBezTo>
                    <a:pt x="576745" y="208348"/>
                    <a:pt x="575994" y="209000"/>
                    <a:pt x="575192" y="209701"/>
                  </a:cubicBezTo>
                  <a:cubicBezTo>
                    <a:pt x="576946" y="211204"/>
                    <a:pt x="579050" y="212357"/>
                    <a:pt x="581205" y="213610"/>
                  </a:cubicBezTo>
                  <a:cubicBezTo>
                    <a:pt x="586918" y="216867"/>
                    <a:pt x="593432" y="220525"/>
                    <a:pt x="593733" y="230748"/>
                  </a:cubicBezTo>
                  <a:lnTo>
                    <a:pt x="593733" y="231549"/>
                  </a:lnTo>
                  <a:cubicBezTo>
                    <a:pt x="593733" y="231549"/>
                    <a:pt x="593332" y="232251"/>
                    <a:pt x="593332" y="232251"/>
                  </a:cubicBezTo>
                  <a:cubicBezTo>
                    <a:pt x="592279" y="233955"/>
                    <a:pt x="591127" y="235759"/>
                    <a:pt x="589874" y="237613"/>
                  </a:cubicBezTo>
                  <a:cubicBezTo>
                    <a:pt x="587218" y="241672"/>
                    <a:pt x="584262" y="246282"/>
                    <a:pt x="581606" y="250892"/>
                  </a:cubicBezTo>
                  <a:cubicBezTo>
                    <a:pt x="580103" y="253497"/>
                    <a:pt x="578599" y="256103"/>
                    <a:pt x="577046" y="258659"/>
                  </a:cubicBezTo>
                  <a:cubicBezTo>
                    <a:pt x="567325" y="275095"/>
                    <a:pt x="558104" y="290629"/>
                    <a:pt x="557553" y="310172"/>
                  </a:cubicBezTo>
                  <a:cubicBezTo>
                    <a:pt x="557403" y="315534"/>
                    <a:pt x="554547" y="320495"/>
                    <a:pt x="551741" y="325305"/>
                  </a:cubicBezTo>
                  <a:cubicBezTo>
                    <a:pt x="550738" y="327059"/>
                    <a:pt x="549736" y="328813"/>
                    <a:pt x="548884" y="330567"/>
                  </a:cubicBezTo>
                  <a:cubicBezTo>
                    <a:pt x="548132" y="332070"/>
                    <a:pt x="546830" y="332822"/>
                    <a:pt x="545427" y="333674"/>
                  </a:cubicBezTo>
                  <a:cubicBezTo>
                    <a:pt x="544825" y="334024"/>
                    <a:pt x="544174" y="334425"/>
                    <a:pt x="543472" y="334926"/>
                  </a:cubicBezTo>
                  <a:lnTo>
                    <a:pt x="542169" y="335878"/>
                  </a:lnTo>
                  <a:lnTo>
                    <a:pt x="540716" y="335177"/>
                  </a:lnTo>
                  <a:cubicBezTo>
                    <a:pt x="539964" y="334826"/>
                    <a:pt x="539213" y="334425"/>
                    <a:pt x="538411" y="333974"/>
                  </a:cubicBezTo>
                  <a:cubicBezTo>
                    <a:pt x="536808" y="333122"/>
                    <a:pt x="535054" y="332221"/>
                    <a:pt x="533250" y="331469"/>
                  </a:cubicBezTo>
                  <a:cubicBezTo>
                    <a:pt x="531296" y="330667"/>
                    <a:pt x="529291" y="330066"/>
                    <a:pt x="527487" y="329515"/>
                  </a:cubicBezTo>
                  <a:lnTo>
                    <a:pt x="526936" y="329364"/>
                  </a:lnTo>
                  <a:cubicBezTo>
                    <a:pt x="511502" y="342142"/>
                    <a:pt x="510750" y="343044"/>
                    <a:pt x="507493" y="358829"/>
                  </a:cubicBezTo>
                  <a:cubicBezTo>
                    <a:pt x="516964" y="362738"/>
                    <a:pt x="523979" y="370505"/>
                    <a:pt x="528389" y="381980"/>
                  </a:cubicBezTo>
                  <a:cubicBezTo>
                    <a:pt x="532298" y="392252"/>
                    <a:pt x="538161" y="399067"/>
                    <a:pt x="545727" y="402274"/>
                  </a:cubicBezTo>
                  <a:lnTo>
                    <a:pt x="547030" y="402826"/>
                  </a:lnTo>
                  <a:lnTo>
                    <a:pt x="547331" y="404179"/>
                  </a:lnTo>
                  <a:cubicBezTo>
                    <a:pt x="549536" y="414551"/>
                    <a:pt x="547832" y="422469"/>
                    <a:pt x="544324" y="431940"/>
                  </a:cubicBezTo>
                  <a:cubicBezTo>
                    <a:pt x="537459" y="450631"/>
                    <a:pt x="533350" y="470424"/>
                    <a:pt x="549836" y="488414"/>
                  </a:cubicBezTo>
                  <a:cubicBezTo>
                    <a:pt x="561061" y="500590"/>
                    <a:pt x="561011" y="506904"/>
                    <a:pt x="549736" y="520534"/>
                  </a:cubicBezTo>
                  <a:cubicBezTo>
                    <a:pt x="543422" y="528201"/>
                    <a:pt x="536908" y="535667"/>
                    <a:pt x="530394" y="543184"/>
                  </a:cubicBezTo>
                  <a:cubicBezTo>
                    <a:pt x="523077" y="551653"/>
                    <a:pt x="515511" y="560372"/>
                    <a:pt x="508295" y="569141"/>
                  </a:cubicBezTo>
                  <a:cubicBezTo>
                    <a:pt x="499526" y="579865"/>
                    <a:pt x="489053" y="583272"/>
                    <a:pt x="476225" y="579464"/>
                  </a:cubicBezTo>
                  <a:cubicBezTo>
                    <a:pt x="474471" y="578912"/>
                    <a:pt x="473518" y="577409"/>
                    <a:pt x="472767" y="576207"/>
                  </a:cubicBezTo>
                  <a:cubicBezTo>
                    <a:pt x="472566" y="575856"/>
                    <a:pt x="472316" y="575505"/>
                    <a:pt x="472065" y="575204"/>
                  </a:cubicBezTo>
                  <a:lnTo>
                    <a:pt x="470963" y="573851"/>
                  </a:lnTo>
                  <a:lnTo>
                    <a:pt x="477878" y="559670"/>
                  </a:lnTo>
                  <a:cubicBezTo>
                    <a:pt x="476124" y="555211"/>
                    <a:pt x="472967" y="551903"/>
                    <a:pt x="469660" y="548345"/>
                  </a:cubicBezTo>
                  <a:cubicBezTo>
                    <a:pt x="465301" y="543735"/>
                    <a:pt x="460841" y="538975"/>
                    <a:pt x="459838" y="531709"/>
                  </a:cubicBezTo>
                  <a:cubicBezTo>
                    <a:pt x="458786" y="523892"/>
                    <a:pt x="457583" y="516125"/>
                    <a:pt x="456431" y="508307"/>
                  </a:cubicBezTo>
                  <a:lnTo>
                    <a:pt x="454677" y="496632"/>
                  </a:lnTo>
                  <a:cubicBezTo>
                    <a:pt x="454527" y="495780"/>
                    <a:pt x="454426" y="494878"/>
                    <a:pt x="454377" y="493976"/>
                  </a:cubicBezTo>
                  <a:cubicBezTo>
                    <a:pt x="453875" y="480747"/>
                    <a:pt x="449215" y="468420"/>
                    <a:pt x="440095" y="456393"/>
                  </a:cubicBezTo>
                  <a:cubicBezTo>
                    <a:pt x="436187" y="451182"/>
                    <a:pt x="432378" y="445870"/>
                    <a:pt x="428620" y="440609"/>
                  </a:cubicBezTo>
                  <a:cubicBezTo>
                    <a:pt x="422907" y="432591"/>
                    <a:pt x="416944" y="424273"/>
                    <a:pt x="410680" y="416556"/>
                  </a:cubicBezTo>
                  <a:cubicBezTo>
                    <a:pt x="404818" y="409390"/>
                    <a:pt x="406421" y="402826"/>
                    <a:pt x="408425" y="39591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14" name="Полилиния: фигура 113">
              <a:extLst>
                <a:ext uri="{FF2B5EF4-FFF2-40B4-BE49-F238E27FC236}">
                  <a16:creationId xmlns:a16="http://schemas.microsoft.com/office/drawing/2014/main" id="{10770C11-5E7E-4971-BFE9-0E098ECE3D2C}"/>
                </a:ext>
              </a:extLst>
            </p:cNvPr>
            <p:cNvSpPr/>
            <p:nvPr/>
          </p:nvSpPr>
          <p:spPr>
            <a:xfrm>
              <a:off x="6197498" y="3862845"/>
              <a:ext cx="1959736" cy="2021630"/>
            </a:xfrm>
            <a:custGeom>
              <a:avLst/>
              <a:gdLst>
                <a:gd name="connsiteX0" fmla="*/ 1474494 w 1571406"/>
                <a:gd name="connsiteY0" fmla="*/ 676160 h 1621036"/>
                <a:gd name="connsiteX1" fmla="*/ 1475345 w 1571406"/>
                <a:gd name="connsiteY1" fmla="*/ 674657 h 1621036"/>
                <a:gd name="connsiteX2" fmla="*/ 1499499 w 1571406"/>
                <a:gd name="connsiteY2" fmla="*/ 650855 h 1621036"/>
                <a:gd name="connsiteX3" fmla="*/ 1500601 w 1571406"/>
                <a:gd name="connsiteY3" fmla="*/ 650203 h 1621036"/>
                <a:gd name="connsiteX4" fmla="*/ 1501804 w 1571406"/>
                <a:gd name="connsiteY4" fmla="*/ 650654 h 1621036"/>
                <a:gd name="connsiteX5" fmla="*/ 1512427 w 1571406"/>
                <a:gd name="connsiteY5" fmla="*/ 654563 h 1621036"/>
                <a:gd name="connsiteX6" fmla="*/ 1538635 w 1571406"/>
                <a:gd name="connsiteY6" fmla="*/ 664585 h 1621036"/>
                <a:gd name="connsiteX7" fmla="*/ 1571407 w 1571406"/>
                <a:gd name="connsiteY7" fmla="*/ 659674 h 1621036"/>
                <a:gd name="connsiteX8" fmla="*/ 1570154 w 1571406"/>
                <a:gd name="connsiteY8" fmla="*/ 654913 h 1621036"/>
                <a:gd name="connsiteX9" fmla="*/ 1566396 w 1571406"/>
                <a:gd name="connsiteY9" fmla="*/ 642586 h 1621036"/>
                <a:gd name="connsiteX10" fmla="*/ 1562036 w 1571406"/>
                <a:gd name="connsiteY10" fmla="*/ 635621 h 1621036"/>
                <a:gd name="connsiteX11" fmla="*/ 1558929 w 1571406"/>
                <a:gd name="connsiteY11" fmla="*/ 631161 h 1621036"/>
                <a:gd name="connsiteX12" fmla="*/ 1549107 w 1571406"/>
                <a:gd name="connsiteY12" fmla="*/ 600895 h 1621036"/>
                <a:gd name="connsiteX13" fmla="*/ 1542794 w 1571406"/>
                <a:gd name="connsiteY13" fmla="*/ 568123 h 1621036"/>
                <a:gd name="connsiteX14" fmla="*/ 1536530 w 1571406"/>
                <a:gd name="connsiteY14" fmla="*/ 541615 h 1621036"/>
                <a:gd name="connsiteX15" fmla="*/ 1533173 w 1571406"/>
                <a:gd name="connsiteY15" fmla="*/ 536253 h 1621036"/>
                <a:gd name="connsiteX16" fmla="*/ 1530868 w 1571406"/>
                <a:gd name="connsiteY16" fmla="*/ 533346 h 1621036"/>
                <a:gd name="connsiteX17" fmla="*/ 1525105 w 1571406"/>
                <a:gd name="connsiteY17" fmla="*/ 533146 h 1621036"/>
                <a:gd name="connsiteX18" fmla="*/ 1509069 w 1571406"/>
                <a:gd name="connsiteY18" fmla="*/ 532695 h 1621036"/>
                <a:gd name="connsiteX19" fmla="*/ 1488124 w 1571406"/>
                <a:gd name="connsiteY19" fmla="*/ 532695 h 1621036"/>
                <a:gd name="connsiteX20" fmla="*/ 1457005 w 1571406"/>
                <a:gd name="connsiteY20" fmla="*/ 532544 h 1621036"/>
                <a:gd name="connsiteX21" fmla="*/ 1445931 w 1571406"/>
                <a:gd name="connsiteY21" fmla="*/ 531041 h 1621036"/>
                <a:gd name="connsiteX22" fmla="*/ 1442122 w 1571406"/>
                <a:gd name="connsiteY22" fmla="*/ 530340 h 1621036"/>
                <a:gd name="connsiteX23" fmla="*/ 1440519 w 1571406"/>
                <a:gd name="connsiteY23" fmla="*/ 530089 h 1621036"/>
                <a:gd name="connsiteX24" fmla="*/ 1424734 w 1571406"/>
                <a:gd name="connsiteY24" fmla="*/ 484238 h 1621036"/>
                <a:gd name="connsiteX25" fmla="*/ 1418020 w 1571406"/>
                <a:gd name="connsiteY25" fmla="*/ 479278 h 1621036"/>
                <a:gd name="connsiteX26" fmla="*/ 1402636 w 1571406"/>
                <a:gd name="connsiteY26" fmla="*/ 466549 h 1621036"/>
                <a:gd name="connsiteX27" fmla="*/ 1368862 w 1571406"/>
                <a:gd name="connsiteY27" fmla="*/ 449612 h 1621036"/>
                <a:gd name="connsiteX28" fmla="*/ 1317048 w 1571406"/>
                <a:gd name="connsiteY28" fmla="*/ 458632 h 1621036"/>
                <a:gd name="connsiteX29" fmla="*/ 1287784 w 1571406"/>
                <a:gd name="connsiteY29" fmla="*/ 475319 h 1621036"/>
                <a:gd name="connsiteX30" fmla="*/ 1265084 w 1571406"/>
                <a:gd name="connsiteY30" fmla="*/ 500274 h 1621036"/>
                <a:gd name="connsiteX31" fmla="*/ 1248948 w 1571406"/>
                <a:gd name="connsiteY31" fmla="*/ 531141 h 1621036"/>
                <a:gd name="connsiteX32" fmla="*/ 1247996 w 1571406"/>
                <a:gd name="connsiteY32" fmla="*/ 532144 h 1621036"/>
                <a:gd name="connsiteX33" fmla="*/ 1246643 w 1571406"/>
                <a:gd name="connsiteY33" fmla="*/ 531943 h 1621036"/>
                <a:gd name="connsiteX34" fmla="*/ 1221388 w 1571406"/>
                <a:gd name="connsiteY34" fmla="*/ 547728 h 1621036"/>
                <a:gd name="connsiteX35" fmla="*/ 1216076 w 1571406"/>
                <a:gd name="connsiteY35" fmla="*/ 555846 h 1621036"/>
                <a:gd name="connsiteX36" fmla="*/ 1211015 w 1571406"/>
                <a:gd name="connsiteY36" fmla="*/ 563513 h 1621036"/>
                <a:gd name="connsiteX37" fmla="*/ 1163160 w 1571406"/>
                <a:gd name="connsiteY37" fmla="*/ 618584 h 1621036"/>
                <a:gd name="connsiteX38" fmla="*/ 1153989 w 1571406"/>
                <a:gd name="connsiteY38" fmla="*/ 627303 h 1621036"/>
                <a:gd name="connsiteX39" fmla="*/ 1147425 w 1571406"/>
                <a:gd name="connsiteY39" fmla="*/ 629958 h 1621036"/>
                <a:gd name="connsiteX40" fmla="*/ 1143166 w 1571406"/>
                <a:gd name="connsiteY40" fmla="*/ 631011 h 1621036"/>
                <a:gd name="connsiteX41" fmla="*/ 1139157 w 1571406"/>
                <a:gd name="connsiteY41" fmla="*/ 632213 h 1621036"/>
                <a:gd name="connsiteX42" fmla="*/ 1139708 w 1571406"/>
                <a:gd name="connsiteY42" fmla="*/ 628104 h 1621036"/>
                <a:gd name="connsiteX43" fmla="*/ 1142163 w 1571406"/>
                <a:gd name="connsiteY43" fmla="*/ 610165 h 1621036"/>
                <a:gd name="connsiteX44" fmla="*/ 1142664 w 1571406"/>
                <a:gd name="connsiteY44" fmla="*/ 606507 h 1621036"/>
                <a:gd name="connsiteX45" fmla="*/ 1119163 w 1571406"/>
                <a:gd name="connsiteY45" fmla="*/ 581502 h 1621036"/>
                <a:gd name="connsiteX46" fmla="*/ 1118812 w 1571406"/>
                <a:gd name="connsiteY46" fmla="*/ 581602 h 1621036"/>
                <a:gd name="connsiteX47" fmla="*/ 1115505 w 1571406"/>
                <a:gd name="connsiteY47" fmla="*/ 582955 h 1621036"/>
                <a:gd name="connsiteX48" fmla="*/ 1065245 w 1571406"/>
                <a:gd name="connsiteY48" fmla="*/ 598590 h 1621036"/>
                <a:gd name="connsiteX49" fmla="*/ 1064393 w 1571406"/>
                <a:gd name="connsiteY49" fmla="*/ 598590 h 1621036"/>
                <a:gd name="connsiteX50" fmla="*/ 1051314 w 1571406"/>
                <a:gd name="connsiteY50" fmla="*/ 599592 h 1621036"/>
                <a:gd name="connsiteX51" fmla="*/ 1017841 w 1571406"/>
                <a:gd name="connsiteY51" fmla="*/ 603500 h 1621036"/>
                <a:gd name="connsiteX52" fmla="*/ 1015686 w 1571406"/>
                <a:gd name="connsiteY52" fmla="*/ 602849 h 1621036"/>
                <a:gd name="connsiteX53" fmla="*/ 1009973 w 1571406"/>
                <a:gd name="connsiteY53" fmla="*/ 601797 h 1621036"/>
                <a:gd name="connsiteX54" fmla="*/ 1008821 w 1571406"/>
                <a:gd name="connsiteY54" fmla="*/ 601646 h 1621036"/>
                <a:gd name="connsiteX55" fmla="*/ 972190 w 1571406"/>
                <a:gd name="connsiteY55" fmla="*/ 621540 h 1621036"/>
                <a:gd name="connsiteX56" fmla="*/ 967880 w 1571406"/>
                <a:gd name="connsiteY56" fmla="*/ 622392 h 1621036"/>
                <a:gd name="connsiteX57" fmla="*/ 951144 w 1571406"/>
                <a:gd name="connsiteY57" fmla="*/ 625499 h 1621036"/>
                <a:gd name="connsiteX58" fmla="*/ 925387 w 1571406"/>
                <a:gd name="connsiteY58" fmla="*/ 623244 h 1621036"/>
                <a:gd name="connsiteX59" fmla="*/ 924536 w 1571406"/>
                <a:gd name="connsiteY59" fmla="*/ 622793 h 1621036"/>
                <a:gd name="connsiteX60" fmla="*/ 924134 w 1571406"/>
                <a:gd name="connsiteY60" fmla="*/ 621891 h 1621036"/>
                <a:gd name="connsiteX61" fmla="*/ 912258 w 1571406"/>
                <a:gd name="connsiteY61" fmla="*/ 547628 h 1621036"/>
                <a:gd name="connsiteX62" fmla="*/ 922581 w 1571406"/>
                <a:gd name="connsiteY62" fmla="*/ 522522 h 1621036"/>
                <a:gd name="connsiteX63" fmla="*/ 931200 w 1571406"/>
                <a:gd name="connsiteY63" fmla="*/ 501777 h 1621036"/>
                <a:gd name="connsiteX64" fmla="*/ 936913 w 1571406"/>
                <a:gd name="connsiteY64" fmla="*/ 470658 h 1621036"/>
                <a:gd name="connsiteX65" fmla="*/ 950993 w 1571406"/>
                <a:gd name="connsiteY65" fmla="*/ 431372 h 1621036"/>
                <a:gd name="connsiteX66" fmla="*/ 960064 w 1571406"/>
                <a:gd name="connsiteY66" fmla="*/ 406117 h 1621036"/>
                <a:gd name="connsiteX67" fmla="*/ 964673 w 1571406"/>
                <a:gd name="connsiteY67" fmla="*/ 392838 h 1621036"/>
                <a:gd name="connsiteX68" fmla="*/ 966428 w 1571406"/>
                <a:gd name="connsiteY68" fmla="*/ 387676 h 1621036"/>
                <a:gd name="connsiteX69" fmla="*/ 964373 w 1571406"/>
                <a:gd name="connsiteY69" fmla="*/ 384920 h 1621036"/>
                <a:gd name="connsiteX70" fmla="*/ 959662 w 1571406"/>
                <a:gd name="connsiteY70" fmla="*/ 379458 h 1621036"/>
                <a:gd name="connsiteX71" fmla="*/ 935560 w 1571406"/>
                <a:gd name="connsiteY71" fmla="*/ 332856 h 1621036"/>
                <a:gd name="connsiteX72" fmla="*/ 933205 w 1571406"/>
                <a:gd name="connsiteY72" fmla="*/ 320829 h 1621036"/>
                <a:gd name="connsiteX73" fmla="*/ 932853 w 1571406"/>
                <a:gd name="connsiteY73" fmla="*/ 319276 h 1621036"/>
                <a:gd name="connsiteX74" fmla="*/ 937864 w 1571406"/>
                <a:gd name="connsiteY74" fmla="*/ 301737 h 1621036"/>
                <a:gd name="connsiteX75" fmla="*/ 939268 w 1571406"/>
                <a:gd name="connsiteY75" fmla="*/ 300134 h 1621036"/>
                <a:gd name="connsiteX76" fmla="*/ 954150 w 1571406"/>
                <a:gd name="connsiteY76" fmla="*/ 281994 h 1621036"/>
                <a:gd name="connsiteX77" fmla="*/ 953950 w 1571406"/>
                <a:gd name="connsiteY77" fmla="*/ 267512 h 1621036"/>
                <a:gd name="connsiteX78" fmla="*/ 948638 w 1571406"/>
                <a:gd name="connsiteY78" fmla="*/ 259996 h 1621036"/>
                <a:gd name="connsiteX79" fmla="*/ 935560 w 1571406"/>
                <a:gd name="connsiteY79" fmla="*/ 243660 h 1621036"/>
                <a:gd name="connsiteX80" fmla="*/ 921729 w 1571406"/>
                <a:gd name="connsiteY80" fmla="*/ 207881 h 1621036"/>
                <a:gd name="connsiteX81" fmla="*/ 917570 w 1571406"/>
                <a:gd name="connsiteY81" fmla="*/ 148150 h 1621036"/>
                <a:gd name="connsiteX82" fmla="*/ 916467 w 1571406"/>
                <a:gd name="connsiteY82" fmla="*/ 140232 h 1621036"/>
                <a:gd name="connsiteX83" fmla="*/ 870968 w 1571406"/>
                <a:gd name="connsiteY83" fmla="*/ 88068 h 1621036"/>
                <a:gd name="connsiteX84" fmla="*/ 856636 w 1571406"/>
                <a:gd name="connsiteY84" fmla="*/ 83758 h 1621036"/>
                <a:gd name="connsiteX85" fmla="*/ 849671 w 1571406"/>
                <a:gd name="connsiteY85" fmla="*/ 81553 h 1621036"/>
                <a:gd name="connsiteX86" fmla="*/ 846664 w 1571406"/>
                <a:gd name="connsiteY86" fmla="*/ 80651 h 1621036"/>
                <a:gd name="connsiteX87" fmla="*/ 848017 w 1571406"/>
                <a:gd name="connsiteY87" fmla="*/ 77845 h 1621036"/>
                <a:gd name="connsiteX88" fmla="*/ 866608 w 1571406"/>
                <a:gd name="connsiteY88" fmla="*/ 54945 h 1621036"/>
                <a:gd name="connsiteX89" fmla="*/ 882894 w 1571406"/>
                <a:gd name="connsiteY89" fmla="*/ 35602 h 1621036"/>
                <a:gd name="connsiteX90" fmla="*/ 880138 w 1571406"/>
                <a:gd name="connsiteY90" fmla="*/ 27835 h 1621036"/>
                <a:gd name="connsiteX91" fmla="*/ 872621 w 1571406"/>
                <a:gd name="connsiteY91" fmla="*/ 8393 h 1621036"/>
                <a:gd name="connsiteX92" fmla="*/ 852176 w 1571406"/>
                <a:gd name="connsiteY92" fmla="*/ 3081 h 1621036"/>
                <a:gd name="connsiteX93" fmla="*/ 849320 w 1571406"/>
                <a:gd name="connsiteY93" fmla="*/ 33999 h 1621036"/>
                <a:gd name="connsiteX94" fmla="*/ 847316 w 1571406"/>
                <a:gd name="connsiteY94" fmla="*/ 34400 h 1621036"/>
                <a:gd name="connsiteX95" fmla="*/ 801214 w 1571406"/>
                <a:gd name="connsiteY95" fmla="*/ 62913 h 1621036"/>
                <a:gd name="connsiteX96" fmla="*/ 800262 w 1571406"/>
                <a:gd name="connsiteY96" fmla="*/ 63764 h 1621036"/>
                <a:gd name="connsiteX97" fmla="*/ 799010 w 1571406"/>
                <a:gd name="connsiteY97" fmla="*/ 63614 h 1621036"/>
                <a:gd name="connsiteX98" fmla="*/ 789388 w 1571406"/>
                <a:gd name="connsiteY98" fmla="*/ 59605 h 1621036"/>
                <a:gd name="connsiteX99" fmla="*/ 777913 w 1571406"/>
                <a:gd name="connsiteY99" fmla="*/ 57100 h 1621036"/>
                <a:gd name="connsiteX100" fmla="*/ 770898 w 1571406"/>
                <a:gd name="connsiteY100" fmla="*/ 68575 h 1621036"/>
                <a:gd name="connsiteX101" fmla="*/ 753760 w 1571406"/>
                <a:gd name="connsiteY101" fmla="*/ 98140 h 1621036"/>
                <a:gd name="connsiteX102" fmla="*/ 747146 w 1571406"/>
                <a:gd name="connsiteY102" fmla="*/ 166189 h 1621036"/>
                <a:gd name="connsiteX103" fmla="*/ 750553 w 1571406"/>
                <a:gd name="connsiteY103" fmla="*/ 175861 h 1621036"/>
                <a:gd name="connsiteX104" fmla="*/ 753359 w 1571406"/>
                <a:gd name="connsiteY104" fmla="*/ 184129 h 1621036"/>
                <a:gd name="connsiteX105" fmla="*/ 749000 w 1571406"/>
                <a:gd name="connsiteY105" fmla="*/ 210838 h 1621036"/>
                <a:gd name="connsiteX106" fmla="*/ 745743 w 1571406"/>
                <a:gd name="connsiteY106" fmla="*/ 233989 h 1621036"/>
                <a:gd name="connsiteX107" fmla="*/ 738677 w 1571406"/>
                <a:gd name="connsiteY107" fmla="*/ 269617 h 1621036"/>
                <a:gd name="connsiteX108" fmla="*/ 676791 w 1571406"/>
                <a:gd name="connsiteY108" fmla="*/ 338418 h 1621036"/>
                <a:gd name="connsiteX109" fmla="*/ 675488 w 1571406"/>
                <a:gd name="connsiteY109" fmla="*/ 339671 h 1621036"/>
                <a:gd name="connsiteX110" fmla="*/ 648128 w 1571406"/>
                <a:gd name="connsiteY110" fmla="*/ 356608 h 1621036"/>
                <a:gd name="connsiteX111" fmla="*/ 635500 w 1571406"/>
                <a:gd name="connsiteY111" fmla="*/ 370639 h 1621036"/>
                <a:gd name="connsiteX112" fmla="*/ 632093 w 1571406"/>
                <a:gd name="connsiteY112" fmla="*/ 388328 h 1621036"/>
                <a:gd name="connsiteX113" fmla="*/ 628786 w 1571406"/>
                <a:gd name="connsiteY113" fmla="*/ 405465 h 1621036"/>
                <a:gd name="connsiteX114" fmla="*/ 629036 w 1571406"/>
                <a:gd name="connsiteY114" fmla="*/ 420849 h 1621036"/>
                <a:gd name="connsiteX115" fmla="*/ 638006 w 1571406"/>
                <a:gd name="connsiteY115" fmla="*/ 457379 h 1621036"/>
                <a:gd name="connsiteX116" fmla="*/ 642666 w 1571406"/>
                <a:gd name="connsiteY116" fmla="*/ 475920 h 1621036"/>
                <a:gd name="connsiteX117" fmla="*/ 651736 w 1571406"/>
                <a:gd name="connsiteY117" fmla="*/ 485541 h 1621036"/>
                <a:gd name="connsiteX118" fmla="*/ 660706 w 1571406"/>
                <a:gd name="connsiteY118" fmla="*/ 488949 h 1621036"/>
                <a:gd name="connsiteX119" fmla="*/ 692726 w 1571406"/>
                <a:gd name="connsiteY119" fmla="*/ 538808 h 1621036"/>
                <a:gd name="connsiteX120" fmla="*/ 691573 w 1571406"/>
                <a:gd name="connsiteY120" fmla="*/ 550985 h 1621036"/>
                <a:gd name="connsiteX121" fmla="*/ 689168 w 1571406"/>
                <a:gd name="connsiteY121" fmla="*/ 556096 h 1621036"/>
                <a:gd name="connsiteX122" fmla="*/ 687765 w 1571406"/>
                <a:gd name="connsiteY122" fmla="*/ 558401 h 1621036"/>
                <a:gd name="connsiteX123" fmla="*/ 687114 w 1571406"/>
                <a:gd name="connsiteY123" fmla="*/ 559604 h 1621036"/>
                <a:gd name="connsiteX124" fmla="*/ 685761 w 1571406"/>
                <a:gd name="connsiteY124" fmla="*/ 559754 h 1621036"/>
                <a:gd name="connsiteX125" fmla="*/ 666168 w 1571406"/>
                <a:gd name="connsiteY125" fmla="*/ 562260 h 1621036"/>
                <a:gd name="connsiteX126" fmla="*/ 650383 w 1571406"/>
                <a:gd name="connsiteY126" fmla="*/ 582103 h 1621036"/>
                <a:gd name="connsiteX127" fmla="*/ 655895 w 1571406"/>
                <a:gd name="connsiteY127" fmla="*/ 589570 h 1621036"/>
                <a:gd name="connsiteX128" fmla="*/ 669876 w 1571406"/>
                <a:gd name="connsiteY128" fmla="*/ 607108 h 1621036"/>
                <a:gd name="connsiteX129" fmla="*/ 672832 w 1571406"/>
                <a:gd name="connsiteY129" fmla="*/ 658121 h 1621036"/>
                <a:gd name="connsiteX130" fmla="*/ 667471 w 1571406"/>
                <a:gd name="connsiteY130" fmla="*/ 665286 h 1621036"/>
                <a:gd name="connsiteX131" fmla="*/ 663913 w 1571406"/>
                <a:gd name="connsiteY131" fmla="*/ 669545 h 1621036"/>
                <a:gd name="connsiteX132" fmla="*/ 656847 w 1571406"/>
                <a:gd name="connsiteY132" fmla="*/ 680820 h 1621036"/>
                <a:gd name="connsiteX133" fmla="*/ 654191 w 1571406"/>
                <a:gd name="connsiteY133" fmla="*/ 685180 h 1621036"/>
                <a:gd name="connsiteX134" fmla="*/ 649180 w 1571406"/>
                <a:gd name="connsiteY134" fmla="*/ 693548 h 1621036"/>
                <a:gd name="connsiteX135" fmla="*/ 636753 w 1571406"/>
                <a:gd name="connsiteY135" fmla="*/ 713342 h 1621036"/>
                <a:gd name="connsiteX136" fmla="*/ 616308 w 1571406"/>
                <a:gd name="connsiteY136" fmla="*/ 717350 h 1621036"/>
                <a:gd name="connsiteX137" fmla="*/ 608241 w 1571406"/>
                <a:gd name="connsiteY137" fmla="*/ 710987 h 1621036"/>
                <a:gd name="connsiteX138" fmla="*/ 585139 w 1571406"/>
                <a:gd name="connsiteY138" fmla="*/ 700463 h 1621036"/>
                <a:gd name="connsiteX139" fmla="*/ 580930 w 1571406"/>
                <a:gd name="connsiteY139" fmla="*/ 698860 h 1621036"/>
                <a:gd name="connsiteX140" fmla="*/ 579477 w 1571406"/>
                <a:gd name="connsiteY140" fmla="*/ 698058 h 1621036"/>
                <a:gd name="connsiteX141" fmla="*/ 578475 w 1571406"/>
                <a:gd name="connsiteY141" fmla="*/ 697557 h 1621036"/>
                <a:gd name="connsiteX142" fmla="*/ 573765 w 1571406"/>
                <a:gd name="connsiteY142" fmla="*/ 684127 h 1621036"/>
                <a:gd name="connsiteX143" fmla="*/ 571059 w 1571406"/>
                <a:gd name="connsiteY143" fmla="*/ 682674 h 1621036"/>
                <a:gd name="connsiteX144" fmla="*/ 562440 w 1571406"/>
                <a:gd name="connsiteY144" fmla="*/ 677964 h 1621036"/>
                <a:gd name="connsiteX145" fmla="*/ 553921 w 1571406"/>
                <a:gd name="connsiteY145" fmla="*/ 672753 h 1621036"/>
                <a:gd name="connsiteX146" fmla="*/ 550062 w 1571406"/>
                <a:gd name="connsiteY146" fmla="*/ 670347 h 1621036"/>
                <a:gd name="connsiteX147" fmla="*/ 549812 w 1571406"/>
                <a:gd name="connsiteY147" fmla="*/ 669295 h 1621036"/>
                <a:gd name="connsiteX148" fmla="*/ 549060 w 1571406"/>
                <a:gd name="connsiteY148" fmla="*/ 666389 h 1621036"/>
                <a:gd name="connsiteX149" fmla="*/ 547908 w 1571406"/>
                <a:gd name="connsiteY149" fmla="*/ 660977 h 1621036"/>
                <a:gd name="connsiteX150" fmla="*/ 542646 w 1571406"/>
                <a:gd name="connsiteY150" fmla="*/ 638878 h 1621036"/>
                <a:gd name="connsiteX151" fmla="*/ 520648 w 1571406"/>
                <a:gd name="connsiteY151" fmla="*/ 644340 h 1621036"/>
                <a:gd name="connsiteX152" fmla="*/ 517842 w 1571406"/>
                <a:gd name="connsiteY152" fmla="*/ 645593 h 1621036"/>
                <a:gd name="connsiteX153" fmla="*/ 514084 w 1571406"/>
                <a:gd name="connsiteY153" fmla="*/ 647246 h 1621036"/>
                <a:gd name="connsiteX154" fmla="*/ 497698 w 1571406"/>
                <a:gd name="connsiteY154" fmla="*/ 665637 h 1621036"/>
                <a:gd name="connsiteX155" fmla="*/ 478255 w 1571406"/>
                <a:gd name="connsiteY155" fmla="*/ 690542 h 1621036"/>
                <a:gd name="connsiteX156" fmla="*/ 463422 w 1571406"/>
                <a:gd name="connsiteY156" fmla="*/ 699712 h 1621036"/>
                <a:gd name="connsiteX157" fmla="*/ 460416 w 1571406"/>
                <a:gd name="connsiteY157" fmla="*/ 701666 h 1621036"/>
                <a:gd name="connsiteX158" fmla="*/ 447437 w 1571406"/>
                <a:gd name="connsiteY158" fmla="*/ 709533 h 1621036"/>
                <a:gd name="connsiteX159" fmla="*/ 420328 w 1571406"/>
                <a:gd name="connsiteY159" fmla="*/ 729177 h 1621036"/>
                <a:gd name="connsiteX160" fmla="*/ 403190 w 1571406"/>
                <a:gd name="connsiteY160" fmla="*/ 758992 h 1621036"/>
                <a:gd name="connsiteX161" fmla="*/ 395924 w 1571406"/>
                <a:gd name="connsiteY161" fmla="*/ 774125 h 1621036"/>
                <a:gd name="connsiteX162" fmla="*/ 391515 w 1571406"/>
                <a:gd name="connsiteY162" fmla="*/ 799281 h 1621036"/>
                <a:gd name="connsiteX163" fmla="*/ 392617 w 1571406"/>
                <a:gd name="connsiteY163" fmla="*/ 826290 h 1621036"/>
                <a:gd name="connsiteX164" fmla="*/ 392366 w 1571406"/>
                <a:gd name="connsiteY164" fmla="*/ 835209 h 1621036"/>
                <a:gd name="connsiteX165" fmla="*/ 392366 w 1571406"/>
                <a:gd name="connsiteY165" fmla="*/ 835961 h 1621036"/>
                <a:gd name="connsiteX166" fmla="*/ 385501 w 1571406"/>
                <a:gd name="connsiteY166" fmla="*/ 848489 h 1621036"/>
                <a:gd name="connsiteX167" fmla="*/ 384749 w 1571406"/>
                <a:gd name="connsiteY167" fmla="*/ 848840 h 1621036"/>
                <a:gd name="connsiteX168" fmla="*/ 383898 w 1571406"/>
                <a:gd name="connsiteY168" fmla="*/ 848739 h 1621036"/>
                <a:gd name="connsiteX169" fmla="*/ 365557 w 1571406"/>
                <a:gd name="connsiteY169" fmla="*/ 841523 h 1621036"/>
                <a:gd name="connsiteX170" fmla="*/ 356387 w 1571406"/>
                <a:gd name="connsiteY170" fmla="*/ 836963 h 1621036"/>
                <a:gd name="connsiteX171" fmla="*/ 338598 w 1571406"/>
                <a:gd name="connsiteY171" fmla="*/ 816318 h 1621036"/>
                <a:gd name="connsiteX172" fmla="*/ 328275 w 1571406"/>
                <a:gd name="connsiteY172" fmla="*/ 781291 h 1621036"/>
                <a:gd name="connsiteX173" fmla="*/ 323164 w 1571406"/>
                <a:gd name="connsiteY173" fmla="*/ 764304 h 1621036"/>
                <a:gd name="connsiteX174" fmla="*/ 318403 w 1571406"/>
                <a:gd name="connsiteY174" fmla="*/ 758892 h 1621036"/>
                <a:gd name="connsiteX175" fmla="*/ 310236 w 1571406"/>
                <a:gd name="connsiteY175" fmla="*/ 762850 h 1621036"/>
                <a:gd name="connsiteX176" fmla="*/ 306026 w 1571406"/>
                <a:gd name="connsiteY176" fmla="*/ 772572 h 1621036"/>
                <a:gd name="connsiteX177" fmla="*/ 305275 w 1571406"/>
                <a:gd name="connsiteY177" fmla="*/ 774877 h 1621036"/>
                <a:gd name="connsiteX178" fmla="*/ 299913 w 1571406"/>
                <a:gd name="connsiteY178" fmla="*/ 792516 h 1621036"/>
                <a:gd name="connsiteX179" fmla="*/ 297508 w 1571406"/>
                <a:gd name="connsiteY179" fmla="*/ 800533 h 1621036"/>
                <a:gd name="connsiteX180" fmla="*/ 296004 w 1571406"/>
                <a:gd name="connsiteY180" fmla="*/ 800884 h 1621036"/>
                <a:gd name="connsiteX181" fmla="*/ 250855 w 1571406"/>
                <a:gd name="connsiteY181" fmla="*/ 801335 h 1621036"/>
                <a:gd name="connsiteX182" fmla="*/ 215929 w 1571406"/>
                <a:gd name="connsiteY182" fmla="*/ 794320 h 1621036"/>
                <a:gd name="connsiteX183" fmla="*/ 183607 w 1571406"/>
                <a:gd name="connsiteY183" fmla="*/ 788507 h 1621036"/>
                <a:gd name="connsiteX184" fmla="*/ 144321 w 1571406"/>
                <a:gd name="connsiteY184" fmla="*/ 867330 h 1621036"/>
                <a:gd name="connsiteX185" fmla="*/ 149783 w 1571406"/>
                <a:gd name="connsiteY185" fmla="*/ 872992 h 1621036"/>
                <a:gd name="connsiteX186" fmla="*/ 160858 w 1571406"/>
                <a:gd name="connsiteY186" fmla="*/ 885320 h 1621036"/>
                <a:gd name="connsiteX187" fmla="*/ 168625 w 1571406"/>
                <a:gd name="connsiteY187" fmla="*/ 918593 h 1621036"/>
                <a:gd name="connsiteX188" fmla="*/ 168524 w 1571406"/>
                <a:gd name="connsiteY188" fmla="*/ 923554 h 1621036"/>
                <a:gd name="connsiteX189" fmla="*/ 176642 w 1571406"/>
                <a:gd name="connsiteY189" fmla="*/ 955424 h 1621036"/>
                <a:gd name="connsiteX190" fmla="*/ 178496 w 1571406"/>
                <a:gd name="connsiteY190" fmla="*/ 957428 h 1621036"/>
                <a:gd name="connsiteX191" fmla="*/ 176492 w 1571406"/>
                <a:gd name="connsiteY191" fmla="*/ 959232 h 1621036"/>
                <a:gd name="connsiteX192" fmla="*/ 172182 w 1571406"/>
                <a:gd name="connsiteY192" fmla="*/ 963642 h 1621036"/>
                <a:gd name="connsiteX193" fmla="*/ 162461 w 1571406"/>
                <a:gd name="connsiteY193" fmla="*/ 971108 h 1621036"/>
                <a:gd name="connsiteX194" fmla="*/ 115257 w 1571406"/>
                <a:gd name="connsiteY194" fmla="*/ 1002978 h 1621036"/>
                <a:gd name="connsiteX195" fmla="*/ 106588 w 1571406"/>
                <a:gd name="connsiteY195" fmla="*/ 1011647 h 1621036"/>
                <a:gd name="connsiteX196" fmla="*/ 93209 w 1571406"/>
                <a:gd name="connsiteY196" fmla="*/ 1041112 h 1621036"/>
                <a:gd name="connsiteX197" fmla="*/ 93259 w 1571406"/>
                <a:gd name="connsiteY197" fmla="*/ 1054090 h 1621036"/>
                <a:gd name="connsiteX198" fmla="*/ 83137 w 1571406"/>
                <a:gd name="connsiteY198" fmla="*/ 1081801 h 1621036"/>
                <a:gd name="connsiteX199" fmla="*/ 74518 w 1571406"/>
                <a:gd name="connsiteY199" fmla="*/ 1104952 h 1621036"/>
                <a:gd name="connsiteX200" fmla="*/ 74518 w 1571406"/>
                <a:gd name="connsiteY200" fmla="*/ 1112168 h 1621036"/>
                <a:gd name="connsiteX201" fmla="*/ 74518 w 1571406"/>
                <a:gd name="connsiteY201" fmla="*/ 1119083 h 1621036"/>
                <a:gd name="connsiteX202" fmla="*/ 62391 w 1571406"/>
                <a:gd name="connsiteY202" fmla="*/ 1165335 h 1621036"/>
                <a:gd name="connsiteX203" fmla="*/ 61840 w 1571406"/>
                <a:gd name="connsiteY203" fmla="*/ 1166237 h 1621036"/>
                <a:gd name="connsiteX204" fmla="*/ 52920 w 1571406"/>
                <a:gd name="connsiteY204" fmla="*/ 1168943 h 1621036"/>
                <a:gd name="connsiteX205" fmla="*/ 35382 w 1571406"/>
                <a:gd name="connsiteY205" fmla="*/ 1174054 h 1621036"/>
                <a:gd name="connsiteX206" fmla="*/ 5416 w 1571406"/>
                <a:gd name="connsiteY206" fmla="*/ 1190490 h 1621036"/>
                <a:gd name="connsiteX207" fmla="*/ 4 w 1571406"/>
                <a:gd name="connsiteY207" fmla="*/ 1200061 h 1621036"/>
                <a:gd name="connsiteX208" fmla="*/ 5215 w 1571406"/>
                <a:gd name="connsiteY208" fmla="*/ 1210684 h 1621036"/>
                <a:gd name="connsiteX209" fmla="*/ 10126 w 1571406"/>
                <a:gd name="connsiteY209" fmla="*/ 1214242 h 1621036"/>
                <a:gd name="connsiteX210" fmla="*/ 39541 w 1571406"/>
                <a:gd name="connsiteY210" fmla="*/ 1243006 h 1621036"/>
                <a:gd name="connsiteX211" fmla="*/ 44802 w 1571406"/>
                <a:gd name="connsiteY211" fmla="*/ 1250923 h 1621036"/>
                <a:gd name="connsiteX212" fmla="*/ 51267 w 1571406"/>
                <a:gd name="connsiteY212" fmla="*/ 1260795 h 1621036"/>
                <a:gd name="connsiteX213" fmla="*/ 74518 w 1571406"/>
                <a:gd name="connsiteY213" fmla="*/ 1277832 h 1621036"/>
                <a:gd name="connsiteX214" fmla="*/ 90653 w 1571406"/>
                <a:gd name="connsiteY214" fmla="*/ 1286251 h 1621036"/>
                <a:gd name="connsiteX215" fmla="*/ 92106 w 1571406"/>
                <a:gd name="connsiteY215" fmla="*/ 1287403 h 1621036"/>
                <a:gd name="connsiteX216" fmla="*/ 143920 w 1571406"/>
                <a:gd name="connsiteY216" fmla="*/ 1328844 h 1621036"/>
                <a:gd name="connsiteX217" fmla="*/ 200545 w 1571406"/>
                <a:gd name="connsiteY217" fmla="*/ 1352246 h 1621036"/>
                <a:gd name="connsiteX218" fmla="*/ 223746 w 1571406"/>
                <a:gd name="connsiteY218" fmla="*/ 1370536 h 1621036"/>
                <a:gd name="connsiteX219" fmla="*/ 226502 w 1571406"/>
                <a:gd name="connsiteY219" fmla="*/ 1380758 h 1621036"/>
                <a:gd name="connsiteX220" fmla="*/ 227404 w 1571406"/>
                <a:gd name="connsiteY220" fmla="*/ 1384266 h 1621036"/>
                <a:gd name="connsiteX221" fmla="*/ 259675 w 1571406"/>
                <a:gd name="connsiteY221" fmla="*/ 1362318 h 1621036"/>
                <a:gd name="connsiteX222" fmla="*/ 263583 w 1571406"/>
                <a:gd name="connsiteY222" fmla="*/ 1358910 h 1621036"/>
                <a:gd name="connsiteX223" fmla="*/ 277714 w 1571406"/>
                <a:gd name="connsiteY223" fmla="*/ 1345130 h 1621036"/>
                <a:gd name="connsiteX224" fmla="*/ 300164 w 1571406"/>
                <a:gd name="connsiteY224" fmla="*/ 1324635 h 1621036"/>
                <a:gd name="connsiteX225" fmla="*/ 302118 w 1571406"/>
                <a:gd name="connsiteY225" fmla="*/ 1323232 h 1621036"/>
                <a:gd name="connsiteX226" fmla="*/ 303721 w 1571406"/>
                <a:gd name="connsiteY226" fmla="*/ 1325036 h 1621036"/>
                <a:gd name="connsiteX227" fmla="*/ 321560 w 1571406"/>
                <a:gd name="connsiteY227" fmla="*/ 1360514 h 1621036"/>
                <a:gd name="connsiteX228" fmla="*/ 336794 w 1571406"/>
                <a:gd name="connsiteY228" fmla="*/ 1381410 h 1621036"/>
                <a:gd name="connsiteX229" fmla="*/ 357339 w 1571406"/>
                <a:gd name="connsiteY229" fmla="*/ 1395190 h 1621036"/>
                <a:gd name="connsiteX230" fmla="*/ 391915 w 1571406"/>
                <a:gd name="connsiteY230" fmla="*/ 1417840 h 1621036"/>
                <a:gd name="connsiteX231" fmla="*/ 416269 w 1571406"/>
                <a:gd name="connsiteY231" fmla="*/ 1447555 h 1621036"/>
                <a:gd name="connsiteX232" fmla="*/ 423234 w 1571406"/>
                <a:gd name="connsiteY232" fmla="*/ 1464192 h 1621036"/>
                <a:gd name="connsiteX233" fmla="*/ 425439 w 1571406"/>
                <a:gd name="connsiteY233" fmla="*/ 1468601 h 1621036"/>
                <a:gd name="connsiteX234" fmla="*/ 427894 w 1571406"/>
                <a:gd name="connsiteY234" fmla="*/ 1470906 h 1621036"/>
                <a:gd name="connsiteX235" fmla="*/ 428746 w 1571406"/>
                <a:gd name="connsiteY235" fmla="*/ 1471558 h 1621036"/>
                <a:gd name="connsiteX236" fmla="*/ 444531 w 1571406"/>
                <a:gd name="connsiteY236" fmla="*/ 1464642 h 1621036"/>
                <a:gd name="connsiteX237" fmla="*/ 513232 w 1571406"/>
                <a:gd name="connsiteY237" fmla="*/ 1523472 h 1621036"/>
                <a:gd name="connsiteX238" fmla="*/ 513232 w 1571406"/>
                <a:gd name="connsiteY238" fmla="*/ 1524775 h 1621036"/>
                <a:gd name="connsiteX239" fmla="*/ 533125 w 1571406"/>
                <a:gd name="connsiteY239" fmla="*/ 1571527 h 1621036"/>
                <a:gd name="connsiteX240" fmla="*/ 534930 w 1571406"/>
                <a:gd name="connsiteY240" fmla="*/ 1573281 h 1621036"/>
                <a:gd name="connsiteX241" fmla="*/ 536433 w 1571406"/>
                <a:gd name="connsiteY241" fmla="*/ 1574735 h 1621036"/>
                <a:gd name="connsiteX242" fmla="*/ 549511 w 1571406"/>
                <a:gd name="connsiteY242" fmla="*/ 1617428 h 1621036"/>
                <a:gd name="connsiteX243" fmla="*/ 549762 w 1571406"/>
                <a:gd name="connsiteY243" fmla="*/ 1620685 h 1621036"/>
                <a:gd name="connsiteX244" fmla="*/ 549812 w 1571406"/>
                <a:gd name="connsiteY244" fmla="*/ 1621036 h 1621036"/>
                <a:gd name="connsiteX245" fmla="*/ 584438 w 1571406"/>
                <a:gd name="connsiteY245" fmla="*/ 1614121 h 1621036"/>
                <a:gd name="connsiteX246" fmla="*/ 619766 w 1571406"/>
                <a:gd name="connsiteY246" fmla="*/ 1588765 h 1621036"/>
                <a:gd name="connsiteX247" fmla="*/ 616659 w 1571406"/>
                <a:gd name="connsiteY247" fmla="*/ 1587513 h 1621036"/>
                <a:gd name="connsiteX248" fmla="*/ 606186 w 1571406"/>
                <a:gd name="connsiteY248" fmla="*/ 1583554 h 1621036"/>
                <a:gd name="connsiteX249" fmla="*/ 587545 w 1571406"/>
                <a:gd name="connsiteY249" fmla="*/ 1578242 h 1621036"/>
                <a:gd name="connsiteX250" fmla="*/ 567551 w 1571406"/>
                <a:gd name="connsiteY250" fmla="*/ 1572480 h 1621036"/>
                <a:gd name="connsiteX251" fmla="*/ 560435 w 1571406"/>
                <a:gd name="connsiteY251" fmla="*/ 1568721 h 1621036"/>
                <a:gd name="connsiteX252" fmla="*/ 555575 w 1571406"/>
                <a:gd name="connsiteY252" fmla="*/ 1565715 h 1621036"/>
                <a:gd name="connsiteX253" fmla="*/ 550664 w 1571406"/>
                <a:gd name="connsiteY253" fmla="*/ 1562858 h 1621036"/>
                <a:gd name="connsiteX254" fmla="*/ 580730 w 1571406"/>
                <a:gd name="connsiteY254" fmla="*/ 1551433 h 1621036"/>
                <a:gd name="connsiteX255" fmla="*/ 589098 w 1571406"/>
                <a:gd name="connsiteY255" fmla="*/ 1548377 h 1621036"/>
                <a:gd name="connsiteX256" fmla="*/ 605034 w 1571406"/>
                <a:gd name="connsiteY256" fmla="*/ 1542363 h 1621036"/>
                <a:gd name="connsiteX257" fmla="*/ 609994 w 1571406"/>
                <a:gd name="connsiteY257" fmla="*/ 1540509 h 1621036"/>
                <a:gd name="connsiteX258" fmla="*/ 623073 w 1571406"/>
                <a:gd name="connsiteY258" fmla="*/ 1533544 h 1621036"/>
                <a:gd name="connsiteX259" fmla="*/ 615205 w 1571406"/>
                <a:gd name="connsiteY259" fmla="*/ 1527581 h 1621036"/>
                <a:gd name="connsiteX260" fmla="*/ 603580 w 1571406"/>
                <a:gd name="connsiteY260" fmla="*/ 1514452 h 1621036"/>
                <a:gd name="connsiteX261" fmla="*/ 599822 w 1571406"/>
                <a:gd name="connsiteY261" fmla="*/ 1507086 h 1621036"/>
                <a:gd name="connsiteX262" fmla="*/ 598870 w 1571406"/>
                <a:gd name="connsiteY262" fmla="*/ 1483985 h 1621036"/>
                <a:gd name="connsiteX263" fmla="*/ 600574 w 1571406"/>
                <a:gd name="connsiteY263" fmla="*/ 1481730 h 1621036"/>
                <a:gd name="connsiteX264" fmla="*/ 602728 w 1571406"/>
                <a:gd name="connsiteY264" fmla="*/ 1483534 h 1621036"/>
                <a:gd name="connsiteX265" fmla="*/ 616559 w 1571406"/>
                <a:gd name="connsiteY265" fmla="*/ 1496011 h 1621036"/>
                <a:gd name="connsiteX266" fmla="*/ 664464 w 1571406"/>
                <a:gd name="connsiteY266" fmla="*/ 1525677 h 1621036"/>
                <a:gd name="connsiteX267" fmla="*/ 676641 w 1571406"/>
                <a:gd name="connsiteY267" fmla="*/ 1515254 h 1621036"/>
                <a:gd name="connsiteX268" fmla="*/ 679898 w 1571406"/>
                <a:gd name="connsiteY268" fmla="*/ 1511596 h 1621036"/>
                <a:gd name="connsiteX269" fmla="*/ 681201 w 1571406"/>
                <a:gd name="connsiteY269" fmla="*/ 1510243 h 1621036"/>
                <a:gd name="connsiteX270" fmla="*/ 760174 w 1571406"/>
                <a:gd name="connsiteY270" fmla="*/ 1424755 h 1621036"/>
                <a:gd name="connsiteX271" fmla="*/ 783526 w 1571406"/>
                <a:gd name="connsiteY271" fmla="*/ 1395541 h 1621036"/>
                <a:gd name="connsiteX272" fmla="*/ 864704 w 1571406"/>
                <a:gd name="connsiteY272" fmla="*/ 1276679 h 1621036"/>
                <a:gd name="connsiteX273" fmla="*/ 898178 w 1571406"/>
                <a:gd name="connsiteY273" fmla="*/ 1227521 h 1621036"/>
                <a:gd name="connsiteX274" fmla="*/ 900232 w 1571406"/>
                <a:gd name="connsiteY274" fmla="*/ 1224415 h 1621036"/>
                <a:gd name="connsiteX275" fmla="*/ 904993 w 1571406"/>
                <a:gd name="connsiteY275" fmla="*/ 1217600 h 1621036"/>
                <a:gd name="connsiteX276" fmla="*/ 910555 w 1571406"/>
                <a:gd name="connsiteY276" fmla="*/ 1192946 h 1621036"/>
                <a:gd name="connsiteX277" fmla="*/ 904792 w 1571406"/>
                <a:gd name="connsiteY277" fmla="*/ 1148247 h 1621036"/>
                <a:gd name="connsiteX278" fmla="*/ 904090 w 1571406"/>
                <a:gd name="connsiteY278" fmla="*/ 1124245 h 1621036"/>
                <a:gd name="connsiteX279" fmla="*/ 907598 w 1571406"/>
                <a:gd name="connsiteY279" fmla="*/ 1096183 h 1621036"/>
                <a:gd name="connsiteX280" fmla="*/ 910905 w 1571406"/>
                <a:gd name="connsiteY280" fmla="*/ 1070276 h 1621036"/>
                <a:gd name="connsiteX281" fmla="*/ 933555 w 1571406"/>
                <a:gd name="connsiteY281" fmla="*/ 1031190 h 1621036"/>
                <a:gd name="connsiteX282" fmla="*/ 932503 w 1571406"/>
                <a:gd name="connsiteY282" fmla="*/ 1030088 h 1621036"/>
                <a:gd name="connsiteX283" fmla="*/ 925738 w 1571406"/>
                <a:gd name="connsiteY283" fmla="*/ 1023473 h 1621036"/>
                <a:gd name="connsiteX284" fmla="*/ 921579 w 1571406"/>
                <a:gd name="connsiteY284" fmla="*/ 1020717 h 1621036"/>
                <a:gd name="connsiteX285" fmla="*/ 914163 w 1571406"/>
                <a:gd name="connsiteY285" fmla="*/ 1013601 h 1621036"/>
                <a:gd name="connsiteX286" fmla="*/ 896073 w 1571406"/>
                <a:gd name="connsiteY286" fmla="*/ 997316 h 1621036"/>
                <a:gd name="connsiteX287" fmla="*/ 894720 w 1571406"/>
                <a:gd name="connsiteY287" fmla="*/ 996815 h 1621036"/>
                <a:gd name="connsiteX288" fmla="*/ 894369 w 1571406"/>
                <a:gd name="connsiteY288" fmla="*/ 995412 h 1621036"/>
                <a:gd name="connsiteX289" fmla="*/ 892415 w 1571406"/>
                <a:gd name="connsiteY289" fmla="*/ 987043 h 1621036"/>
                <a:gd name="connsiteX290" fmla="*/ 885249 w 1571406"/>
                <a:gd name="connsiteY290" fmla="*/ 946003 h 1621036"/>
                <a:gd name="connsiteX291" fmla="*/ 885249 w 1571406"/>
                <a:gd name="connsiteY291" fmla="*/ 945051 h 1621036"/>
                <a:gd name="connsiteX292" fmla="*/ 885750 w 1571406"/>
                <a:gd name="connsiteY292" fmla="*/ 944299 h 1621036"/>
                <a:gd name="connsiteX293" fmla="*/ 934357 w 1571406"/>
                <a:gd name="connsiteY293" fmla="*/ 904863 h 1621036"/>
                <a:gd name="connsiteX294" fmla="*/ 935359 w 1571406"/>
                <a:gd name="connsiteY294" fmla="*/ 904311 h 1621036"/>
                <a:gd name="connsiteX295" fmla="*/ 952146 w 1571406"/>
                <a:gd name="connsiteY295" fmla="*/ 909974 h 1621036"/>
                <a:gd name="connsiteX296" fmla="*/ 954050 w 1571406"/>
                <a:gd name="connsiteY296" fmla="*/ 907017 h 1621036"/>
                <a:gd name="connsiteX297" fmla="*/ 983615 w 1571406"/>
                <a:gd name="connsiteY297" fmla="*/ 876300 h 1621036"/>
                <a:gd name="connsiteX298" fmla="*/ 985219 w 1571406"/>
                <a:gd name="connsiteY298" fmla="*/ 875548 h 1621036"/>
                <a:gd name="connsiteX299" fmla="*/ 986522 w 1571406"/>
                <a:gd name="connsiteY299" fmla="*/ 876701 h 1621036"/>
                <a:gd name="connsiteX300" fmla="*/ 1040590 w 1571406"/>
                <a:gd name="connsiteY300" fmla="*/ 902608 h 1621036"/>
                <a:gd name="connsiteX301" fmla="*/ 1042645 w 1571406"/>
                <a:gd name="connsiteY301" fmla="*/ 902608 h 1621036"/>
                <a:gd name="connsiteX302" fmla="*/ 1094208 w 1571406"/>
                <a:gd name="connsiteY302" fmla="*/ 866879 h 1621036"/>
                <a:gd name="connsiteX303" fmla="*/ 1095862 w 1571406"/>
                <a:gd name="connsiteY303" fmla="*/ 864323 h 1621036"/>
                <a:gd name="connsiteX304" fmla="*/ 1098217 w 1571406"/>
                <a:gd name="connsiteY304" fmla="*/ 866278 h 1621036"/>
                <a:gd name="connsiteX305" fmla="*/ 1103028 w 1571406"/>
                <a:gd name="connsiteY305" fmla="*/ 870236 h 1621036"/>
                <a:gd name="connsiteX306" fmla="*/ 1111847 w 1571406"/>
                <a:gd name="connsiteY306" fmla="*/ 877753 h 1621036"/>
                <a:gd name="connsiteX307" fmla="*/ 1124775 w 1571406"/>
                <a:gd name="connsiteY307" fmla="*/ 883466 h 1621036"/>
                <a:gd name="connsiteX308" fmla="*/ 1135198 w 1571406"/>
                <a:gd name="connsiteY308" fmla="*/ 883666 h 1621036"/>
                <a:gd name="connsiteX309" fmla="*/ 1174585 w 1571406"/>
                <a:gd name="connsiteY309" fmla="*/ 877903 h 1621036"/>
                <a:gd name="connsiteX310" fmla="*/ 1180548 w 1571406"/>
                <a:gd name="connsiteY310" fmla="*/ 877553 h 1621036"/>
                <a:gd name="connsiteX311" fmla="*/ 1181901 w 1571406"/>
                <a:gd name="connsiteY311" fmla="*/ 877753 h 1621036"/>
                <a:gd name="connsiteX312" fmla="*/ 1183254 w 1571406"/>
                <a:gd name="connsiteY312" fmla="*/ 877753 h 1621036"/>
                <a:gd name="connsiteX313" fmla="*/ 1184005 w 1571406"/>
                <a:gd name="connsiteY313" fmla="*/ 878956 h 1621036"/>
                <a:gd name="connsiteX314" fmla="*/ 1184757 w 1571406"/>
                <a:gd name="connsiteY314" fmla="*/ 880008 h 1621036"/>
                <a:gd name="connsiteX315" fmla="*/ 1186110 w 1571406"/>
                <a:gd name="connsiteY315" fmla="*/ 883014 h 1621036"/>
                <a:gd name="connsiteX316" fmla="*/ 1198137 w 1571406"/>
                <a:gd name="connsiteY316" fmla="*/ 907518 h 1621036"/>
                <a:gd name="connsiteX317" fmla="*/ 1226499 w 1571406"/>
                <a:gd name="connsiteY317" fmla="*/ 907318 h 1621036"/>
                <a:gd name="connsiteX318" fmla="*/ 1251303 w 1571406"/>
                <a:gd name="connsiteY318" fmla="*/ 906266 h 1621036"/>
                <a:gd name="connsiteX319" fmla="*/ 1257817 w 1571406"/>
                <a:gd name="connsiteY319" fmla="*/ 908069 h 1621036"/>
                <a:gd name="connsiteX320" fmla="*/ 1273051 w 1571406"/>
                <a:gd name="connsiteY320" fmla="*/ 910274 h 1621036"/>
                <a:gd name="connsiteX321" fmla="*/ 1275256 w 1571406"/>
                <a:gd name="connsiteY321" fmla="*/ 909723 h 1621036"/>
                <a:gd name="connsiteX322" fmla="*/ 1325616 w 1571406"/>
                <a:gd name="connsiteY322" fmla="*/ 884618 h 1621036"/>
                <a:gd name="connsiteX323" fmla="*/ 1356134 w 1571406"/>
                <a:gd name="connsiteY323" fmla="*/ 848338 h 1621036"/>
                <a:gd name="connsiteX324" fmla="*/ 1369663 w 1571406"/>
                <a:gd name="connsiteY324" fmla="*/ 840020 h 1621036"/>
                <a:gd name="connsiteX325" fmla="*/ 1404590 w 1571406"/>
                <a:gd name="connsiteY325" fmla="*/ 847837 h 1621036"/>
                <a:gd name="connsiteX326" fmla="*/ 1413159 w 1571406"/>
                <a:gd name="connsiteY326" fmla="*/ 858661 h 1621036"/>
                <a:gd name="connsiteX327" fmla="*/ 1415364 w 1571406"/>
                <a:gd name="connsiteY327" fmla="*/ 863021 h 1621036"/>
                <a:gd name="connsiteX328" fmla="*/ 1451894 w 1571406"/>
                <a:gd name="connsiteY328" fmla="*/ 871138 h 1621036"/>
                <a:gd name="connsiteX329" fmla="*/ 1475947 w 1571406"/>
                <a:gd name="connsiteY329" fmla="*/ 849541 h 1621036"/>
                <a:gd name="connsiteX330" fmla="*/ 1476548 w 1571406"/>
                <a:gd name="connsiteY330" fmla="*/ 849391 h 1621036"/>
                <a:gd name="connsiteX331" fmla="*/ 1486119 w 1571406"/>
                <a:gd name="connsiteY331" fmla="*/ 850743 h 1621036"/>
                <a:gd name="connsiteX332" fmla="*/ 1491381 w 1571406"/>
                <a:gd name="connsiteY332" fmla="*/ 850944 h 1621036"/>
                <a:gd name="connsiteX333" fmla="*/ 1491381 w 1571406"/>
                <a:gd name="connsiteY333" fmla="*/ 816168 h 1621036"/>
                <a:gd name="connsiteX334" fmla="*/ 1474494 w 1571406"/>
                <a:gd name="connsiteY334" fmla="*/ 808351 h 1621036"/>
                <a:gd name="connsiteX335" fmla="*/ 1474243 w 1571406"/>
                <a:gd name="connsiteY335" fmla="*/ 806947 h 1621036"/>
                <a:gd name="connsiteX336" fmla="*/ 1472189 w 1571406"/>
                <a:gd name="connsiteY336" fmla="*/ 794320 h 1621036"/>
                <a:gd name="connsiteX337" fmla="*/ 1467328 w 1571406"/>
                <a:gd name="connsiteY337" fmla="*/ 763552 h 1621036"/>
                <a:gd name="connsiteX338" fmla="*/ 1466426 w 1571406"/>
                <a:gd name="connsiteY338" fmla="*/ 757940 h 1621036"/>
                <a:gd name="connsiteX339" fmla="*/ 1473141 w 1571406"/>
                <a:gd name="connsiteY339" fmla="*/ 721109 h 1621036"/>
                <a:gd name="connsiteX340" fmla="*/ 1473491 w 1571406"/>
                <a:gd name="connsiteY340" fmla="*/ 718854 h 1621036"/>
                <a:gd name="connsiteX341" fmla="*/ 1486871 w 1571406"/>
                <a:gd name="connsiteY341" fmla="*/ 693699 h 1621036"/>
                <a:gd name="connsiteX342" fmla="*/ 1474143 w 1571406"/>
                <a:gd name="connsiteY342" fmla="*/ 676260 h 162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</a:cxnLst>
              <a:rect l="l" t="t" r="r" b="b"/>
              <a:pathLst>
                <a:path w="1571406" h="1621036">
                  <a:moveTo>
                    <a:pt x="1474494" y="676160"/>
                  </a:moveTo>
                  <a:lnTo>
                    <a:pt x="1475345" y="674657"/>
                  </a:lnTo>
                  <a:cubicBezTo>
                    <a:pt x="1481259" y="664384"/>
                    <a:pt x="1488725" y="657068"/>
                    <a:pt x="1499499" y="650855"/>
                  </a:cubicBezTo>
                  <a:lnTo>
                    <a:pt x="1500601" y="650203"/>
                  </a:lnTo>
                  <a:lnTo>
                    <a:pt x="1501804" y="650654"/>
                  </a:lnTo>
                  <a:cubicBezTo>
                    <a:pt x="1505311" y="651957"/>
                    <a:pt x="1508819" y="653260"/>
                    <a:pt x="1512427" y="654563"/>
                  </a:cubicBezTo>
                  <a:cubicBezTo>
                    <a:pt x="1521046" y="657720"/>
                    <a:pt x="1529915" y="660977"/>
                    <a:pt x="1538635" y="664585"/>
                  </a:cubicBezTo>
                  <a:cubicBezTo>
                    <a:pt x="1549509" y="669045"/>
                    <a:pt x="1559430" y="667591"/>
                    <a:pt x="1571407" y="659674"/>
                  </a:cubicBezTo>
                  <a:cubicBezTo>
                    <a:pt x="1570956" y="658020"/>
                    <a:pt x="1570555" y="656467"/>
                    <a:pt x="1570154" y="654913"/>
                  </a:cubicBezTo>
                  <a:cubicBezTo>
                    <a:pt x="1569002" y="650504"/>
                    <a:pt x="1567949" y="646395"/>
                    <a:pt x="1566396" y="642586"/>
                  </a:cubicBezTo>
                  <a:cubicBezTo>
                    <a:pt x="1565393" y="640181"/>
                    <a:pt x="1563740" y="637976"/>
                    <a:pt x="1562036" y="635621"/>
                  </a:cubicBezTo>
                  <a:cubicBezTo>
                    <a:pt x="1560983" y="634168"/>
                    <a:pt x="1559881" y="632715"/>
                    <a:pt x="1558929" y="631161"/>
                  </a:cubicBezTo>
                  <a:cubicBezTo>
                    <a:pt x="1554219" y="623544"/>
                    <a:pt x="1548807" y="613222"/>
                    <a:pt x="1549107" y="600895"/>
                  </a:cubicBezTo>
                  <a:cubicBezTo>
                    <a:pt x="1549408" y="589620"/>
                    <a:pt x="1546201" y="579197"/>
                    <a:pt x="1542794" y="568123"/>
                  </a:cubicBezTo>
                  <a:cubicBezTo>
                    <a:pt x="1540188" y="559604"/>
                    <a:pt x="1537482" y="550784"/>
                    <a:pt x="1536530" y="541615"/>
                  </a:cubicBezTo>
                  <a:cubicBezTo>
                    <a:pt x="1536380" y="540161"/>
                    <a:pt x="1534826" y="538257"/>
                    <a:pt x="1533173" y="536253"/>
                  </a:cubicBezTo>
                  <a:cubicBezTo>
                    <a:pt x="1532421" y="535351"/>
                    <a:pt x="1531619" y="534349"/>
                    <a:pt x="1530868" y="533346"/>
                  </a:cubicBezTo>
                  <a:lnTo>
                    <a:pt x="1525105" y="533146"/>
                  </a:lnTo>
                  <a:cubicBezTo>
                    <a:pt x="1519793" y="532945"/>
                    <a:pt x="1514432" y="532745"/>
                    <a:pt x="1509069" y="532695"/>
                  </a:cubicBezTo>
                  <a:cubicBezTo>
                    <a:pt x="1502055" y="532645"/>
                    <a:pt x="1495089" y="532695"/>
                    <a:pt x="1488124" y="532695"/>
                  </a:cubicBezTo>
                  <a:cubicBezTo>
                    <a:pt x="1477751" y="532695"/>
                    <a:pt x="1467378" y="532695"/>
                    <a:pt x="1457005" y="532544"/>
                  </a:cubicBezTo>
                  <a:cubicBezTo>
                    <a:pt x="1453097" y="532494"/>
                    <a:pt x="1449288" y="531693"/>
                    <a:pt x="1445931" y="531041"/>
                  </a:cubicBezTo>
                  <a:cubicBezTo>
                    <a:pt x="1444578" y="530791"/>
                    <a:pt x="1443275" y="530490"/>
                    <a:pt x="1442122" y="530340"/>
                  </a:cubicBezTo>
                  <a:lnTo>
                    <a:pt x="1440519" y="530089"/>
                  </a:lnTo>
                  <a:lnTo>
                    <a:pt x="1424734" y="484238"/>
                  </a:lnTo>
                  <a:cubicBezTo>
                    <a:pt x="1422530" y="482535"/>
                    <a:pt x="1420275" y="480881"/>
                    <a:pt x="1418020" y="479278"/>
                  </a:cubicBezTo>
                  <a:cubicBezTo>
                    <a:pt x="1412658" y="475419"/>
                    <a:pt x="1407146" y="471410"/>
                    <a:pt x="1402636" y="466549"/>
                  </a:cubicBezTo>
                  <a:cubicBezTo>
                    <a:pt x="1394367" y="457680"/>
                    <a:pt x="1383343" y="452168"/>
                    <a:pt x="1368862" y="449612"/>
                  </a:cubicBezTo>
                  <a:cubicBezTo>
                    <a:pt x="1351574" y="446606"/>
                    <a:pt x="1333334" y="445654"/>
                    <a:pt x="1317048" y="458632"/>
                  </a:cubicBezTo>
                  <a:cubicBezTo>
                    <a:pt x="1308228" y="465647"/>
                    <a:pt x="1297806" y="470809"/>
                    <a:pt x="1287784" y="475319"/>
                  </a:cubicBezTo>
                  <a:cubicBezTo>
                    <a:pt x="1274805" y="481181"/>
                    <a:pt x="1268040" y="488648"/>
                    <a:pt x="1265084" y="500274"/>
                  </a:cubicBezTo>
                  <a:cubicBezTo>
                    <a:pt x="1261927" y="512901"/>
                    <a:pt x="1256615" y="522973"/>
                    <a:pt x="1248948" y="531141"/>
                  </a:cubicBezTo>
                  <a:lnTo>
                    <a:pt x="1247996" y="532144"/>
                  </a:lnTo>
                  <a:lnTo>
                    <a:pt x="1246643" y="531943"/>
                  </a:lnTo>
                  <a:cubicBezTo>
                    <a:pt x="1236070" y="530590"/>
                    <a:pt x="1228503" y="535301"/>
                    <a:pt x="1221388" y="547728"/>
                  </a:cubicBezTo>
                  <a:cubicBezTo>
                    <a:pt x="1219784" y="550534"/>
                    <a:pt x="1217880" y="553240"/>
                    <a:pt x="1216076" y="555846"/>
                  </a:cubicBezTo>
                  <a:cubicBezTo>
                    <a:pt x="1214322" y="558351"/>
                    <a:pt x="1212518" y="560907"/>
                    <a:pt x="1211015" y="563513"/>
                  </a:cubicBezTo>
                  <a:cubicBezTo>
                    <a:pt x="1198537" y="585160"/>
                    <a:pt x="1180548" y="602147"/>
                    <a:pt x="1163160" y="618584"/>
                  </a:cubicBezTo>
                  <a:cubicBezTo>
                    <a:pt x="1160103" y="621490"/>
                    <a:pt x="1157046" y="624346"/>
                    <a:pt x="1153989" y="627303"/>
                  </a:cubicBezTo>
                  <a:cubicBezTo>
                    <a:pt x="1152336" y="628906"/>
                    <a:pt x="1150031" y="629407"/>
                    <a:pt x="1147425" y="629958"/>
                  </a:cubicBezTo>
                  <a:cubicBezTo>
                    <a:pt x="1146173" y="630209"/>
                    <a:pt x="1144719" y="630510"/>
                    <a:pt x="1143166" y="631011"/>
                  </a:cubicBezTo>
                  <a:lnTo>
                    <a:pt x="1139157" y="632213"/>
                  </a:lnTo>
                  <a:lnTo>
                    <a:pt x="1139708" y="628104"/>
                  </a:lnTo>
                  <a:cubicBezTo>
                    <a:pt x="1140661" y="620939"/>
                    <a:pt x="1141512" y="614976"/>
                    <a:pt x="1142163" y="610165"/>
                  </a:cubicBezTo>
                  <a:lnTo>
                    <a:pt x="1142664" y="606507"/>
                  </a:lnTo>
                  <a:cubicBezTo>
                    <a:pt x="1134096" y="597387"/>
                    <a:pt x="1126730" y="589570"/>
                    <a:pt x="1119163" y="581502"/>
                  </a:cubicBezTo>
                  <a:cubicBezTo>
                    <a:pt x="1119063" y="581502"/>
                    <a:pt x="1118962" y="581552"/>
                    <a:pt x="1118812" y="581602"/>
                  </a:cubicBezTo>
                  <a:cubicBezTo>
                    <a:pt x="1117559" y="582003"/>
                    <a:pt x="1116256" y="582354"/>
                    <a:pt x="1115505" y="582955"/>
                  </a:cubicBezTo>
                  <a:cubicBezTo>
                    <a:pt x="1100773" y="594982"/>
                    <a:pt x="1084336" y="600093"/>
                    <a:pt x="1065245" y="598590"/>
                  </a:cubicBezTo>
                  <a:lnTo>
                    <a:pt x="1064393" y="598590"/>
                  </a:lnTo>
                  <a:cubicBezTo>
                    <a:pt x="1060284" y="598189"/>
                    <a:pt x="1053369" y="597638"/>
                    <a:pt x="1051314" y="599592"/>
                  </a:cubicBezTo>
                  <a:cubicBezTo>
                    <a:pt x="1039989" y="610416"/>
                    <a:pt x="1028714" y="606908"/>
                    <a:pt x="1017841" y="603500"/>
                  </a:cubicBezTo>
                  <a:lnTo>
                    <a:pt x="1015686" y="602849"/>
                  </a:lnTo>
                  <a:cubicBezTo>
                    <a:pt x="1013882" y="602298"/>
                    <a:pt x="1011877" y="602047"/>
                    <a:pt x="1009973" y="601797"/>
                  </a:cubicBezTo>
                  <a:cubicBezTo>
                    <a:pt x="1009572" y="601797"/>
                    <a:pt x="1009171" y="601697"/>
                    <a:pt x="1008821" y="601646"/>
                  </a:cubicBezTo>
                  <a:cubicBezTo>
                    <a:pt x="994840" y="616780"/>
                    <a:pt x="993687" y="617231"/>
                    <a:pt x="972190" y="621540"/>
                  </a:cubicBezTo>
                  <a:lnTo>
                    <a:pt x="967880" y="622392"/>
                  </a:lnTo>
                  <a:cubicBezTo>
                    <a:pt x="962419" y="623494"/>
                    <a:pt x="956756" y="624647"/>
                    <a:pt x="951144" y="625499"/>
                  </a:cubicBezTo>
                  <a:cubicBezTo>
                    <a:pt x="943477" y="626601"/>
                    <a:pt x="934808" y="627904"/>
                    <a:pt x="925387" y="623244"/>
                  </a:cubicBezTo>
                  <a:lnTo>
                    <a:pt x="924536" y="622793"/>
                  </a:lnTo>
                  <a:lnTo>
                    <a:pt x="924134" y="621891"/>
                  </a:lnTo>
                  <a:cubicBezTo>
                    <a:pt x="915015" y="601496"/>
                    <a:pt x="911357" y="578596"/>
                    <a:pt x="912258" y="547628"/>
                  </a:cubicBezTo>
                  <a:cubicBezTo>
                    <a:pt x="912509" y="539309"/>
                    <a:pt x="913912" y="529838"/>
                    <a:pt x="922581" y="522522"/>
                  </a:cubicBezTo>
                  <a:cubicBezTo>
                    <a:pt x="929095" y="517010"/>
                    <a:pt x="931902" y="510246"/>
                    <a:pt x="931200" y="501777"/>
                  </a:cubicBezTo>
                  <a:cubicBezTo>
                    <a:pt x="930248" y="490502"/>
                    <a:pt x="933505" y="480230"/>
                    <a:pt x="936913" y="470658"/>
                  </a:cubicBezTo>
                  <a:cubicBezTo>
                    <a:pt x="941573" y="457530"/>
                    <a:pt x="946283" y="444451"/>
                    <a:pt x="950993" y="431372"/>
                  </a:cubicBezTo>
                  <a:lnTo>
                    <a:pt x="960064" y="406117"/>
                  </a:lnTo>
                  <a:cubicBezTo>
                    <a:pt x="961617" y="401707"/>
                    <a:pt x="963170" y="397297"/>
                    <a:pt x="964673" y="392838"/>
                  </a:cubicBezTo>
                  <a:lnTo>
                    <a:pt x="966428" y="387676"/>
                  </a:lnTo>
                  <a:cubicBezTo>
                    <a:pt x="965676" y="386724"/>
                    <a:pt x="965024" y="385822"/>
                    <a:pt x="964373" y="384920"/>
                  </a:cubicBezTo>
                  <a:cubicBezTo>
                    <a:pt x="962770" y="382665"/>
                    <a:pt x="961366" y="380761"/>
                    <a:pt x="959662" y="379458"/>
                  </a:cubicBezTo>
                  <a:cubicBezTo>
                    <a:pt x="945682" y="368484"/>
                    <a:pt x="937764" y="353251"/>
                    <a:pt x="935560" y="332856"/>
                  </a:cubicBezTo>
                  <a:cubicBezTo>
                    <a:pt x="935109" y="328847"/>
                    <a:pt x="934156" y="324788"/>
                    <a:pt x="933205" y="320829"/>
                  </a:cubicBezTo>
                  <a:lnTo>
                    <a:pt x="932853" y="319276"/>
                  </a:lnTo>
                  <a:cubicBezTo>
                    <a:pt x="931401" y="312962"/>
                    <a:pt x="933004" y="307249"/>
                    <a:pt x="937864" y="301737"/>
                  </a:cubicBezTo>
                  <a:lnTo>
                    <a:pt x="939268" y="300134"/>
                  </a:lnTo>
                  <a:cubicBezTo>
                    <a:pt x="944379" y="294321"/>
                    <a:pt x="949640" y="288308"/>
                    <a:pt x="954150" y="281994"/>
                  </a:cubicBezTo>
                  <a:cubicBezTo>
                    <a:pt x="957508" y="277234"/>
                    <a:pt x="957458" y="272223"/>
                    <a:pt x="953950" y="267512"/>
                  </a:cubicBezTo>
                  <a:cubicBezTo>
                    <a:pt x="952146" y="265057"/>
                    <a:pt x="950392" y="262551"/>
                    <a:pt x="948638" y="259996"/>
                  </a:cubicBezTo>
                  <a:cubicBezTo>
                    <a:pt x="944479" y="253982"/>
                    <a:pt x="940520" y="248270"/>
                    <a:pt x="935560" y="243660"/>
                  </a:cubicBezTo>
                  <a:cubicBezTo>
                    <a:pt x="925037" y="233838"/>
                    <a:pt x="920627" y="222463"/>
                    <a:pt x="921729" y="207881"/>
                  </a:cubicBezTo>
                  <a:cubicBezTo>
                    <a:pt x="923233" y="187887"/>
                    <a:pt x="920326" y="167693"/>
                    <a:pt x="917570" y="148150"/>
                  </a:cubicBezTo>
                  <a:lnTo>
                    <a:pt x="916467" y="140232"/>
                  </a:lnTo>
                  <a:cubicBezTo>
                    <a:pt x="912459" y="111619"/>
                    <a:pt x="898428" y="95534"/>
                    <a:pt x="870968" y="88068"/>
                  </a:cubicBezTo>
                  <a:cubicBezTo>
                    <a:pt x="866308" y="86815"/>
                    <a:pt x="861697" y="85362"/>
                    <a:pt x="856636" y="83758"/>
                  </a:cubicBezTo>
                  <a:cubicBezTo>
                    <a:pt x="854431" y="83057"/>
                    <a:pt x="852076" y="82305"/>
                    <a:pt x="849671" y="81553"/>
                  </a:cubicBezTo>
                  <a:lnTo>
                    <a:pt x="846664" y="80651"/>
                  </a:lnTo>
                  <a:lnTo>
                    <a:pt x="848017" y="77845"/>
                  </a:lnTo>
                  <a:cubicBezTo>
                    <a:pt x="852577" y="68375"/>
                    <a:pt x="859693" y="61559"/>
                    <a:pt x="866608" y="54945"/>
                  </a:cubicBezTo>
                  <a:cubicBezTo>
                    <a:pt x="872972" y="48882"/>
                    <a:pt x="878935" y="43169"/>
                    <a:pt x="882894" y="35602"/>
                  </a:cubicBezTo>
                  <a:cubicBezTo>
                    <a:pt x="881942" y="33047"/>
                    <a:pt x="881040" y="30441"/>
                    <a:pt x="880138" y="27835"/>
                  </a:cubicBezTo>
                  <a:cubicBezTo>
                    <a:pt x="877883" y="21371"/>
                    <a:pt x="875528" y="14656"/>
                    <a:pt x="872621" y="8393"/>
                  </a:cubicBezTo>
                  <a:cubicBezTo>
                    <a:pt x="868362" y="-727"/>
                    <a:pt x="866157" y="-2281"/>
                    <a:pt x="852176" y="3081"/>
                  </a:cubicBezTo>
                  <a:lnTo>
                    <a:pt x="849320" y="33999"/>
                  </a:lnTo>
                  <a:lnTo>
                    <a:pt x="847316" y="34400"/>
                  </a:lnTo>
                  <a:cubicBezTo>
                    <a:pt x="827773" y="38158"/>
                    <a:pt x="813642" y="51287"/>
                    <a:pt x="801214" y="62913"/>
                  </a:cubicBezTo>
                  <a:lnTo>
                    <a:pt x="800262" y="63764"/>
                  </a:lnTo>
                  <a:lnTo>
                    <a:pt x="799010" y="63614"/>
                  </a:lnTo>
                  <a:cubicBezTo>
                    <a:pt x="795251" y="63113"/>
                    <a:pt x="792145" y="61259"/>
                    <a:pt x="789388" y="59605"/>
                  </a:cubicBezTo>
                  <a:cubicBezTo>
                    <a:pt x="784879" y="56899"/>
                    <a:pt x="782022" y="55396"/>
                    <a:pt x="777913" y="57100"/>
                  </a:cubicBezTo>
                  <a:cubicBezTo>
                    <a:pt x="775658" y="60908"/>
                    <a:pt x="773253" y="64716"/>
                    <a:pt x="770898" y="68575"/>
                  </a:cubicBezTo>
                  <a:cubicBezTo>
                    <a:pt x="765035" y="78096"/>
                    <a:pt x="758922" y="87968"/>
                    <a:pt x="753760" y="98140"/>
                  </a:cubicBezTo>
                  <a:cubicBezTo>
                    <a:pt x="740281" y="124548"/>
                    <a:pt x="738276" y="145544"/>
                    <a:pt x="747146" y="166189"/>
                  </a:cubicBezTo>
                  <a:cubicBezTo>
                    <a:pt x="748499" y="169397"/>
                    <a:pt x="749551" y="172654"/>
                    <a:pt x="750553" y="175861"/>
                  </a:cubicBezTo>
                  <a:cubicBezTo>
                    <a:pt x="751405" y="178617"/>
                    <a:pt x="752307" y="181473"/>
                    <a:pt x="753359" y="184129"/>
                  </a:cubicBezTo>
                  <a:cubicBezTo>
                    <a:pt x="757518" y="194502"/>
                    <a:pt x="756115" y="202970"/>
                    <a:pt x="749000" y="210838"/>
                  </a:cubicBezTo>
                  <a:cubicBezTo>
                    <a:pt x="742836" y="217602"/>
                    <a:pt x="741834" y="224768"/>
                    <a:pt x="745743" y="233989"/>
                  </a:cubicBezTo>
                  <a:cubicBezTo>
                    <a:pt x="750603" y="245413"/>
                    <a:pt x="748198" y="257390"/>
                    <a:pt x="738677" y="269617"/>
                  </a:cubicBezTo>
                  <a:cubicBezTo>
                    <a:pt x="718532" y="295373"/>
                    <a:pt x="698288" y="317873"/>
                    <a:pt x="676791" y="338418"/>
                  </a:cubicBezTo>
                  <a:lnTo>
                    <a:pt x="675488" y="339671"/>
                  </a:lnTo>
                  <a:cubicBezTo>
                    <a:pt x="667921" y="346937"/>
                    <a:pt x="660105" y="354453"/>
                    <a:pt x="648128" y="356608"/>
                  </a:cubicBezTo>
                  <a:cubicBezTo>
                    <a:pt x="640962" y="357911"/>
                    <a:pt x="636703" y="362621"/>
                    <a:pt x="635500" y="370639"/>
                  </a:cubicBezTo>
                  <a:cubicBezTo>
                    <a:pt x="634598" y="376602"/>
                    <a:pt x="633345" y="382565"/>
                    <a:pt x="632093" y="388328"/>
                  </a:cubicBezTo>
                  <a:cubicBezTo>
                    <a:pt x="630890" y="393940"/>
                    <a:pt x="629687" y="399753"/>
                    <a:pt x="628786" y="405465"/>
                  </a:cubicBezTo>
                  <a:cubicBezTo>
                    <a:pt x="627934" y="411077"/>
                    <a:pt x="628034" y="416389"/>
                    <a:pt x="629036" y="420849"/>
                  </a:cubicBezTo>
                  <a:cubicBezTo>
                    <a:pt x="631792" y="433076"/>
                    <a:pt x="634949" y="445403"/>
                    <a:pt x="638006" y="457379"/>
                  </a:cubicBezTo>
                  <a:cubicBezTo>
                    <a:pt x="639560" y="463543"/>
                    <a:pt x="641163" y="469706"/>
                    <a:pt x="642666" y="475920"/>
                  </a:cubicBezTo>
                  <a:cubicBezTo>
                    <a:pt x="643869" y="480731"/>
                    <a:pt x="646725" y="483787"/>
                    <a:pt x="651736" y="485541"/>
                  </a:cubicBezTo>
                  <a:cubicBezTo>
                    <a:pt x="654742" y="486593"/>
                    <a:pt x="657749" y="487696"/>
                    <a:pt x="660706" y="488949"/>
                  </a:cubicBezTo>
                  <a:cubicBezTo>
                    <a:pt x="684708" y="499121"/>
                    <a:pt x="693378" y="512601"/>
                    <a:pt x="692726" y="538808"/>
                  </a:cubicBezTo>
                  <a:cubicBezTo>
                    <a:pt x="692626" y="542466"/>
                    <a:pt x="692425" y="546776"/>
                    <a:pt x="691573" y="550985"/>
                  </a:cubicBezTo>
                  <a:cubicBezTo>
                    <a:pt x="691223" y="552889"/>
                    <a:pt x="690221" y="554443"/>
                    <a:pt x="689168" y="556096"/>
                  </a:cubicBezTo>
                  <a:cubicBezTo>
                    <a:pt x="688717" y="556798"/>
                    <a:pt x="688216" y="557550"/>
                    <a:pt x="687765" y="558401"/>
                  </a:cubicBezTo>
                  <a:lnTo>
                    <a:pt x="687114" y="559604"/>
                  </a:lnTo>
                  <a:lnTo>
                    <a:pt x="685761" y="559754"/>
                  </a:lnTo>
                  <a:cubicBezTo>
                    <a:pt x="679296" y="560556"/>
                    <a:pt x="672732" y="561408"/>
                    <a:pt x="666168" y="562260"/>
                  </a:cubicBezTo>
                  <a:lnTo>
                    <a:pt x="650383" y="582103"/>
                  </a:lnTo>
                  <a:cubicBezTo>
                    <a:pt x="652287" y="584609"/>
                    <a:pt x="654141" y="587114"/>
                    <a:pt x="655895" y="589570"/>
                  </a:cubicBezTo>
                  <a:cubicBezTo>
                    <a:pt x="660505" y="595884"/>
                    <a:pt x="664915" y="601847"/>
                    <a:pt x="669876" y="607108"/>
                  </a:cubicBezTo>
                  <a:cubicBezTo>
                    <a:pt x="686162" y="624346"/>
                    <a:pt x="680499" y="642586"/>
                    <a:pt x="672832" y="658121"/>
                  </a:cubicBezTo>
                  <a:cubicBezTo>
                    <a:pt x="671480" y="660877"/>
                    <a:pt x="669425" y="663132"/>
                    <a:pt x="667471" y="665286"/>
                  </a:cubicBezTo>
                  <a:cubicBezTo>
                    <a:pt x="666168" y="666739"/>
                    <a:pt x="664915" y="668092"/>
                    <a:pt x="663913" y="669545"/>
                  </a:cubicBezTo>
                  <a:cubicBezTo>
                    <a:pt x="661407" y="673203"/>
                    <a:pt x="659102" y="677062"/>
                    <a:pt x="656847" y="680820"/>
                  </a:cubicBezTo>
                  <a:lnTo>
                    <a:pt x="654191" y="685180"/>
                  </a:lnTo>
                  <a:cubicBezTo>
                    <a:pt x="652488" y="687936"/>
                    <a:pt x="650834" y="690742"/>
                    <a:pt x="649180" y="693548"/>
                  </a:cubicBezTo>
                  <a:cubicBezTo>
                    <a:pt x="645272" y="700113"/>
                    <a:pt x="641213" y="706928"/>
                    <a:pt x="636753" y="713342"/>
                  </a:cubicBezTo>
                  <a:cubicBezTo>
                    <a:pt x="632143" y="719956"/>
                    <a:pt x="623524" y="721610"/>
                    <a:pt x="616308" y="717350"/>
                  </a:cubicBezTo>
                  <a:cubicBezTo>
                    <a:pt x="612700" y="715196"/>
                    <a:pt x="610144" y="713191"/>
                    <a:pt x="608241" y="710987"/>
                  </a:cubicBezTo>
                  <a:cubicBezTo>
                    <a:pt x="602578" y="704372"/>
                    <a:pt x="595212" y="701065"/>
                    <a:pt x="585139" y="700463"/>
                  </a:cubicBezTo>
                  <a:cubicBezTo>
                    <a:pt x="583486" y="700363"/>
                    <a:pt x="582133" y="699561"/>
                    <a:pt x="580930" y="698860"/>
                  </a:cubicBezTo>
                  <a:cubicBezTo>
                    <a:pt x="580480" y="698609"/>
                    <a:pt x="580029" y="698309"/>
                    <a:pt x="579477" y="698058"/>
                  </a:cubicBezTo>
                  <a:lnTo>
                    <a:pt x="578475" y="697557"/>
                  </a:lnTo>
                  <a:lnTo>
                    <a:pt x="573765" y="684127"/>
                  </a:lnTo>
                  <a:lnTo>
                    <a:pt x="571059" y="682674"/>
                  </a:lnTo>
                  <a:cubicBezTo>
                    <a:pt x="568202" y="681171"/>
                    <a:pt x="565296" y="679618"/>
                    <a:pt x="562440" y="677964"/>
                  </a:cubicBezTo>
                  <a:cubicBezTo>
                    <a:pt x="559483" y="676260"/>
                    <a:pt x="556627" y="674456"/>
                    <a:pt x="553921" y="672753"/>
                  </a:cubicBezTo>
                  <a:lnTo>
                    <a:pt x="550062" y="670347"/>
                  </a:lnTo>
                  <a:lnTo>
                    <a:pt x="549812" y="669295"/>
                  </a:lnTo>
                  <a:cubicBezTo>
                    <a:pt x="549561" y="668243"/>
                    <a:pt x="549311" y="667290"/>
                    <a:pt x="549060" y="666389"/>
                  </a:cubicBezTo>
                  <a:cubicBezTo>
                    <a:pt x="548509" y="664434"/>
                    <a:pt x="548058" y="662781"/>
                    <a:pt x="547908" y="660977"/>
                  </a:cubicBezTo>
                  <a:cubicBezTo>
                    <a:pt x="546956" y="649702"/>
                    <a:pt x="545954" y="640883"/>
                    <a:pt x="542646" y="638878"/>
                  </a:cubicBezTo>
                  <a:cubicBezTo>
                    <a:pt x="539339" y="636874"/>
                    <a:pt x="531071" y="640031"/>
                    <a:pt x="520648" y="644340"/>
                  </a:cubicBezTo>
                  <a:cubicBezTo>
                    <a:pt x="519696" y="644741"/>
                    <a:pt x="518794" y="645142"/>
                    <a:pt x="517842" y="645593"/>
                  </a:cubicBezTo>
                  <a:cubicBezTo>
                    <a:pt x="516589" y="646144"/>
                    <a:pt x="515336" y="646745"/>
                    <a:pt x="514084" y="647246"/>
                  </a:cubicBezTo>
                  <a:cubicBezTo>
                    <a:pt x="504913" y="650855"/>
                    <a:pt x="499101" y="657369"/>
                    <a:pt x="497698" y="665637"/>
                  </a:cubicBezTo>
                  <a:cubicBezTo>
                    <a:pt x="495393" y="679467"/>
                    <a:pt x="486573" y="685982"/>
                    <a:pt x="478255" y="690542"/>
                  </a:cubicBezTo>
                  <a:cubicBezTo>
                    <a:pt x="473194" y="693298"/>
                    <a:pt x="468183" y="696555"/>
                    <a:pt x="463422" y="699712"/>
                  </a:cubicBezTo>
                  <a:lnTo>
                    <a:pt x="460416" y="701666"/>
                  </a:lnTo>
                  <a:cubicBezTo>
                    <a:pt x="456206" y="704422"/>
                    <a:pt x="451746" y="707028"/>
                    <a:pt x="447437" y="709533"/>
                  </a:cubicBezTo>
                  <a:cubicBezTo>
                    <a:pt x="437616" y="715246"/>
                    <a:pt x="427393" y="721109"/>
                    <a:pt x="420328" y="729177"/>
                  </a:cubicBezTo>
                  <a:cubicBezTo>
                    <a:pt x="413011" y="737495"/>
                    <a:pt x="408000" y="748419"/>
                    <a:pt x="403190" y="758992"/>
                  </a:cubicBezTo>
                  <a:cubicBezTo>
                    <a:pt x="400885" y="764003"/>
                    <a:pt x="398529" y="769215"/>
                    <a:pt x="395924" y="774125"/>
                  </a:cubicBezTo>
                  <a:cubicBezTo>
                    <a:pt x="391063" y="783346"/>
                    <a:pt x="389760" y="790662"/>
                    <a:pt x="391515" y="799281"/>
                  </a:cubicBezTo>
                  <a:cubicBezTo>
                    <a:pt x="393268" y="808100"/>
                    <a:pt x="392967" y="817370"/>
                    <a:pt x="392617" y="826290"/>
                  </a:cubicBezTo>
                  <a:cubicBezTo>
                    <a:pt x="392516" y="829246"/>
                    <a:pt x="392416" y="832253"/>
                    <a:pt x="392366" y="835209"/>
                  </a:cubicBezTo>
                  <a:lnTo>
                    <a:pt x="392366" y="835961"/>
                  </a:lnTo>
                  <a:cubicBezTo>
                    <a:pt x="392366" y="839569"/>
                    <a:pt x="392366" y="845081"/>
                    <a:pt x="385501" y="848489"/>
                  </a:cubicBezTo>
                  <a:lnTo>
                    <a:pt x="384749" y="848840"/>
                  </a:lnTo>
                  <a:lnTo>
                    <a:pt x="383898" y="848739"/>
                  </a:lnTo>
                  <a:cubicBezTo>
                    <a:pt x="377383" y="847787"/>
                    <a:pt x="371370" y="844580"/>
                    <a:pt x="365557" y="841523"/>
                  </a:cubicBezTo>
                  <a:cubicBezTo>
                    <a:pt x="362601" y="839920"/>
                    <a:pt x="359494" y="838316"/>
                    <a:pt x="356387" y="836963"/>
                  </a:cubicBezTo>
                  <a:cubicBezTo>
                    <a:pt x="347217" y="833105"/>
                    <a:pt x="341404" y="826340"/>
                    <a:pt x="338598" y="816318"/>
                  </a:cubicBezTo>
                  <a:cubicBezTo>
                    <a:pt x="335341" y="804592"/>
                    <a:pt x="331733" y="792766"/>
                    <a:pt x="328275" y="781291"/>
                  </a:cubicBezTo>
                  <a:cubicBezTo>
                    <a:pt x="326571" y="775628"/>
                    <a:pt x="324868" y="769966"/>
                    <a:pt x="323164" y="764304"/>
                  </a:cubicBezTo>
                  <a:cubicBezTo>
                    <a:pt x="321560" y="758892"/>
                    <a:pt x="319857" y="758691"/>
                    <a:pt x="318403" y="758892"/>
                  </a:cubicBezTo>
                  <a:cubicBezTo>
                    <a:pt x="315096" y="759343"/>
                    <a:pt x="311689" y="760996"/>
                    <a:pt x="310236" y="762850"/>
                  </a:cubicBezTo>
                  <a:cubicBezTo>
                    <a:pt x="308231" y="765406"/>
                    <a:pt x="307129" y="769064"/>
                    <a:pt x="306026" y="772572"/>
                  </a:cubicBezTo>
                  <a:lnTo>
                    <a:pt x="305275" y="774877"/>
                  </a:lnTo>
                  <a:cubicBezTo>
                    <a:pt x="303370" y="780740"/>
                    <a:pt x="301617" y="786703"/>
                    <a:pt x="299913" y="792516"/>
                  </a:cubicBezTo>
                  <a:lnTo>
                    <a:pt x="297508" y="800533"/>
                  </a:lnTo>
                  <a:lnTo>
                    <a:pt x="296004" y="800884"/>
                  </a:lnTo>
                  <a:cubicBezTo>
                    <a:pt x="281573" y="804442"/>
                    <a:pt x="264886" y="807248"/>
                    <a:pt x="250855" y="801335"/>
                  </a:cubicBezTo>
                  <a:cubicBezTo>
                    <a:pt x="239631" y="796625"/>
                    <a:pt x="228105" y="795522"/>
                    <a:pt x="215929" y="794320"/>
                  </a:cubicBezTo>
                  <a:cubicBezTo>
                    <a:pt x="205305" y="793318"/>
                    <a:pt x="194281" y="792265"/>
                    <a:pt x="183607" y="788507"/>
                  </a:cubicBezTo>
                  <a:cubicBezTo>
                    <a:pt x="161910" y="818373"/>
                    <a:pt x="149733" y="842776"/>
                    <a:pt x="144321" y="867330"/>
                  </a:cubicBezTo>
                  <a:cubicBezTo>
                    <a:pt x="146225" y="869334"/>
                    <a:pt x="148079" y="871239"/>
                    <a:pt x="149783" y="872992"/>
                  </a:cubicBezTo>
                  <a:cubicBezTo>
                    <a:pt x="153992" y="877302"/>
                    <a:pt x="157650" y="881010"/>
                    <a:pt x="160858" y="885320"/>
                  </a:cubicBezTo>
                  <a:cubicBezTo>
                    <a:pt x="168324" y="895392"/>
                    <a:pt x="168825" y="907268"/>
                    <a:pt x="168625" y="918593"/>
                  </a:cubicBezTo>
                  <a:cubicBezTo>
                    <a:pt x="168625" y="920246"/>
                    <a:pt x="168574" y="921900"/>
                    <a:pt x="168524" y="923554"/>
                  </a:cubicBezTo>
                  <a:cubicBezTo>
                    <a:pt x="168224" y="935029"/>
                    <a:pt x="167923" y="945903"/>
                    <a:pt x="176642" y="955424"/>
                  </a:cubicBezTo>
                  <a:lnTo>
                    <a:pt x="178496" y="957428"/>
                  </a:lnTo>
                  <a:lnTo>
                    <a:pt x="176492" y="959232"/>
                  </a:lnTo>
                  <a:cubicBezTo>
                    <a:pt x="174939" y="960635"/>
                    <a:pt x="173535" y="962189"/>
                    <a:pt x="172182" y="963642"/>
                  </a:cubicBezTo>
                  <a:cubicBezTo>
                    <a:pt x="169176" y="966949"/>
                    <a:pt x="166269" y="970006"/>
                    <a:pt x="162461" y="971108"/>
                  </a:cubicBezTo>
                  <a:cubicBezTo>
                    <a:pt x="144071" y="976320"/>
                    <a:pt x="130290" y="987644"/>
                    <a:pt x="115257" y="1002978"/>
                  </a:cubicBezTo>
                  <a:cubicBezTo>
                    <a:pt x="111900" y="1006386"/>
                    <a:pt x="109044" y="1009242"/>
                    <a:pt x="106588" y="1011647"/>
                  </a:cubicBezTo>
                  <a:cubicBezTo>
                    <a:pt x="97533" y="1020667"/>
                    <a:pt x="93073" y="1030489"/>
                    <a:pt x="93209" y="1041112"/>
                  </a:cubicBezTo>
                  <a:cubicBezTo>
                    <a:pt x="93259" y="1044619"/>
                    <a:pt x="93309" y="1048879"/>
                    <a:pt x="93259" y="1054090"/>
                  </a:cubicBezTo>
                  <a:cubicBezTo>
                    <a:pt x="93159" y="1063010"/>
                    <a:pt x="93058" y="1074084"/>
                    <a:pt x="83137" y="1081801"/>
                  </a:cubicBezTo>
                  <a:cubicBezTo>
                    <a:pt x="76622" y="1086812"/>
                    <a:pt x="74067" y="1093728"/>
                    <a:pt x="74518" y="1104952"/>
                  </a:cubicBezTo>
                  <a:cubicBezTo>
                    <a:pt x="74618" y="1107357"/>
                    <a:pt x="74518" y="1109763"/>
                    <a:pt x="74518" y="1112168"/>
                  </a:cubicBezTo>
                  <a:cubicBezTo>
                    <a:pt x="74468" y="1114473"/>
                    <a:pt x="74418" y="1116778"/>
                    <a:pt x="74518" y="1119083"/>
                  </a:cubicBezTo>
                  <a:cubicBezTo>
                    <a:pt x="75119" y="1135069"/>
                    <a:pt x="71060" y="1150653"/>
                    <a:pt x="62391" y="1165335"/>
                  </a:cubicBezTo>
                  <a:lnTo>
                    <a:pt x="61840" y="1166237"/>
                  </a:lnTo>
                  <a:lnTo>
                    <a:pt x="52920" y="1168943"/>
                  </a:lnTo>
                  <a:cubicBezTo>
                    <a:pt x="46957" y="1170747"/>
                    <a:pt x="41195" y="1172501"/>
                    <a:pt x="35382" y="1174054"/>
                  </a:cubicBezTo>
                  <a:cubicBezTo>
                    <a:pt x="23656" y="1177161"/>
                    <a:pt x="14035" y="1183775"/>
                    <a:pt x="5416" y="1190490"/>
                  </a:cubicBezTo>
                  <a:cubicBezTo>
                    <a:pt x="2008" y="1193146"/>
                    <a:pt x="154" y="1196453"/>
                    <a:pt x="4" y="1200061"/>
                  </a:cubicBezTo>
                  <a:cubicBezTo>
                    <a:pt x="-96" y="1203819"/>
                    <a:pt x="1708" y="1207578"/>
                    <a:pt x="5215" y="1210684"/>
                  </a:cubicBezTo>
                  <a:cubicBezTo>
                    <a:pt x="6969" y="1212238"/>
                    <a:pt x="8573" y="1213641"/>
                    <a:pt x="10126" y="1214242"/>
                  </a:cubicBezTo>
                  <a:cubicBezTo>
                    <a:pt x="24708" y="1219805"/>
                    <a:pt x="32576" y="1232132"/>
                    <a:pt x="39541" y="1243006"/>
                  </a:cubicBezTo>
                  <a:cubicBezTo>
                    <a:pt x="41244" y="1245711"/>
                    <a:pt x="43049" y="1248317"/>
                    <a:pt x="44802" y="1250923"/>
                  </a:cubicBezTo>
                  <a:cubicBezTo>
                    <a:pt x="47007" y="1254180"/>
                    <a:pt x="49212" y="1257437"/>
                    <a:pt x="51267" y="1260795"/>
                  </a:cubicBezTo>
                  <a:cubicBezTo>
                    <a:pt x="57781" y="1271418"/>
                    <a:pt x="63393" y="1277281"/>
                    <a:pt x="74518" y="1277832"/>
                  </a:cubicBezTo>
                  <a:cubicBezTo>
                    <a:pt x="80331" y="1278133"/>
                    <a:pt x="85843" y="1282442"/>
                    <a:pt x="90653" y="1286251"/>
                  </a:cubicBezTo>
                  <a:lnTo>
                    <a:pt x="92106" y="1287403"/>
                  </a:lnTo>
                  <a:cubicBezTo>
                    <a:pt x="108793" y="1300332"/>
                    <a:pt x="126482" y="1314212"/>
                    <a:pt x="143920" y="1328844"/>
                  </a:cubicBezTo>
                  <a:cubicBezTo>
                    <a:pt x="159755" y="1342173"/>
                    <a:pt x="176191" y="1355954"/>
                    <a:pt x="200545" y="1352246"/>
                  </a:cubicBezTo>
                  <a:cubicBezTo>
                    <a:pt x="211118" y="1350692"/>
                    <a:pt x="219737" y="1357507"/>
                    <a:pt x="223746" y="1370536"/>
                  </a:cubicBezTo>
                  <a:cubicBezTo>
                    <a:pt x="224748" y="1373793"/>
                    <a:pt x="225550" y="1377100"/>
                    <a:pt x="226502" y="1380758"/>
                  </a:cubicBezTo>
                  <a:cubicBezTo>
                    <a:pt x="226802" y="1381911"/>
                    <a:pt x="227103" y="1383063"/>
                    <a:pt x="227404" y="1384266"/>
                  </a:cubicBezTo>
                  <a:cubicBezTo>
                    <a:pt x="240482" y="1379255"/>
                    <a:pt x="250254" y="1370686"/>
                    <a:pt x="259675" y="1362318"/>
                  </a:cubicBezTo>
                  <a:lnTo>
                    <a:pt x="263583" y="1358910"/>
                  </a:lnTo>
                  <a:cubicBezTo>
                    <a:pt x="268494" y="1354651"/>
                    <a:pt x="273004" y="1350041"/>
                    <a:pt x="277714" y="1345130"/>
                  </a:cubicBezTo>
                  <a:cubicBezTo>
                    <a:pt x="284579" y="1338064"/>
                    <a:pt x="291645" y="1330799"/>
                    <a:pt x="300164" y="1324635"/>
                  </a:cubicBezTo>
                  <a:lnTo>
                    <a:pt x="302118" y="1323232"/>
                  </a:lnTo>
                  <a:lnTo>
                    <a:pt x="303721" y="1325036"/>
                  </a:lnTo>
                  <a:cubicBezTo>
                    <a:pt x="313443" y="1335709"/>
                    <a:pt x="317552" y="1347435"/>
                    <a:pt x="321560" y="1360514"/>
                  </a:cubicBezTo>
                  <a:cubicBezTo>
                    <a:pt x="324467" y="1369834"/>
                    <a:pt x="329278" y="1376449"/>
                    <a:pt x="336794" y="1381410"/>
                  </a:cubicBezTo>
                  <a:cubicBezTo>
                    <a:pt x="343709" y="1385920"/>
                    <a:pt x="350524" y="1390580"/>
                    <a:pt x="357339" y="1395190"/>
                  </a:cubicBezTo>
                  <a:cubicBezTo>
                    <a:pt x="368564" y="1402807"/>
                    <a:pt x="380190" y="1410674"/>
                    <a:pt x="391915" y="1417840"/>
                  </a:cubicBezTo>
                  <a:cubicBezTo>
                    <a:pt x="402388" y="1424254"/>
                    <a:pt x="412611" y="1432272"/>
                    <a:pt x="416269" y="1447555"/>
                  </a:cubicBezTo>
                  <a:cubicBezTo>
                    <a:pt x="417622" y="1453218"/>
                    <a:pt x="420478" y="1458780"/>
                    <a:pt x="423234" y="1464192"/>
                  </a:cubicBezTo>
                  <a:cubicBezTo>
                    <a:pt x="423986" y="1465645"/>
                    <a:pt x="424737" y="1467148"/>
                    <a:pt x="425439" y="1468601"/>
                  </a:cubicBezTo>
                  <a:cubicBezTo>
                    <a:pt x="425790" y="1469303"/>
                    <a:pt x="426842" y="1470105"/>
                    <a:pt x="427894" y="1470906"/>
                  </a:cubicBezTo>
                  <a:cubicBezTo>
                    <a:pt x="428195" y="1471107"/>
                    <a:pt x="428495" y="1471357"/>
                    <a:pt x="428746" y="1471558"/>
                  </a:cubicBezTo>
                  <a:lnTo>
                    <a:pt x="444531" y="1464642"/>
                  </a:lnTo>
                  <a:lnTo>
                    <a:pt x="513232" y="1523472"/>
                  </a:lnTo>
                  <a:lnTo>
                    <a:pt x="513232" y="1524775"/>
                  </a:lnTo>
                  <a:cubicBezTo>
                    <a:pt x="512630" y="1544418"/>
                    <a:pt x="519145" y="1559701"/>
                    <a:pt x="533125" y="1571527"/>
                  </a:cubicBezTo>
                  <a:cubicBezTo>
                    <a:pt x="533777" y="1572079"/>
                    <a:pt x="534328" y="1572680"/>
                    <a:pt x="534930" y="1573281"/>
                  </a:cubicBezTo>
                  <a:cubicBezTo>
                    <a:pt x="535431" y="1573782"/>
                    <a:pt x="535881" y="1574334"/>
                    <a:pt x="536433" y="1574735"/>
                  </a:cubicBezTo>
                  <a:cubicBezTo>
                    <a:pt x="550814" y="1585709"/>
                    <a:pt x="555224" y="1600090"/>
                    <a:pt x="549511" y="1617428"/>
                  </a:cubicBezTo>
                  <a:cubicBezTo>
                    <a:pt x="549311" y="1617980"/>
                    <a:pt x="549511" y="1619232"/>
                    <a:pt x="549762" y="1620685"/>
                  </a:cubicBezTo>
                  <a:cubicBezTo>
                    <a:pt x="549762" y="1620786"/>
                    <a:pt x="549762" y="1620886"/>
                    <a:pt x="549812" y="1621036"/>
                  </a:cubicBezTo>
                  <a:cubicBezTo>
                    <a:pt x="562540" y="1615725"/>
                    <a:pt x="573364" y="1613570"/>
                    <a:pt x="584438" y="1614121"/>
                  </a:cubicBezTo>
                  <a:cubicBezTo>
                    <a:pt x="601877" y="1615073"/>
                    <a:pt x="610746" y="1603899"/>
                    <a:pt x="619766" y="1588765"/>
                  </a:cubicBezTo>
                  <a:cubicBezTo>
                    <a:pt x="618714" y="1588314"/>
                    <a:pt x="617661" y="1587913"/>
                    <a:pt x="616659" y="1587513"/>
                  </a:cubicBezTo>
                  <a:cubicBezTo>
                    <a:pt x="612850" y="1585959"/>
                    <a:pt x="609543" y="1584606"/>
                    <a:pt x="606186" y="1583554"/>
                  </a:cubicBezTo>
                  <a:cubicBezTo>
                    <a:pt x="600023" y="1581700"/>
                    <a:pt x="593809" y="1579946"/>
                    <a:pt x="587545" y="1578242"/>
                  </a:cubicBezTo>
                  <a:cubicBezTo>
                    <a:pt x="580880" y="1576388"/>
                    <a:pt x="574166" y="1574484"/>
                    <a:pt x="567551" y="1572480"/>
                  </a:cubicBezTo>
                  <a:cubicBezTo>
                    <a:pt x="565146" y="1571728"/>
                    <a:pt x="563041" y="1570425"/>
                    <a:pt x="560435" y="1568721"/>
                  </a:cubicBezTo>
                  <a:cubicBezTo>
                    <a:pt x="559082" y="1567869"/>
                    <a:pt x="557479" y="1566867"/>
                    <a:pt x="555575" y="1565715"/>
                  </a:cubicBezTo>
                  <a:lnTo>
                    <a:pt x="550664" y="1562858"/>
                  </a:lnTo>
                  <a:lnTo>
                    <a:pt x="580730" y="1551433"/>
                  </a:lnTo>
                  <a:cubicBezTo>
                    <a:pt x="583486" y="1550381"/>
                    <a:pt x="586292" y="1549379"/>
                    <a:pt x="589098" y="1548377"/>
                  </a:cubicBezTo>
                  <a:cubicBezTo>
                    <a:pt x="594360" y="1546472"/>
                    <a:pt x="599822" y="1544518"/>
                    <a:pt x="605034" y="1542363"/>
                  </a:cubicBezTo>
                  <a:cubicBezTo>
                    <a:pt x="606637" y="1541712"/>
                    <a:pt x="608340" y="1541111"/>
                    <a:pt x="609994" y="1540509"/>
                  </a:cubicBezTo>
                  <a:cubicBezTo>
                    <a:pt x="614855" y="1538806"/>
                    <a:pt x="619415" y="1537152"/>
                    <a:pt x="623073" y="1533544"/>
                  </a:cubicBezTo>
                  <a:cubicBezTo>
                    <a:pt x="621069" y="1530988"/>
                    <a:pt x="618213" y="1529335"/>
                    <a:pt x="615205" y="1527581"/>
                  </a:cubicBezTo>
                  <a:cubicBezTo>
                    <a:pt x="610445" y="1524775"/>
                    <a:pt x="605034" y="1521618"/>
                    <a:pt x="603580" y="1514452"/>
                  </a:cubicBezTo>
                  <a:cubicBezTo>
                    <a:pt x="603079" y="1512047"/>
                    <a:pt x="601475" y="1509642"/>
                    <a:pt x="599822" y="1507086"/>
                  </a:cubicBezTo>
                  <a:cubicBezTo>
                    <a:pt x="595963" y="1501273"/>
                    <a:pt x="591203" y="1494107"/>
                    <a:pt x="598870" y="1483985"/>
                  </a:cubicBezTo>
                  <a:lnTo>
                    <a:pt x="600574" y="1481730"/>
                  </a:lnTo>
                  <a:lnTo>
                    <a:pt x="602728" y="1483534"/>
                  </a:lnTo>
                  <a:cubicBezTo>
                    <a:pt x="607489" y="1487493"/>
                    <a:pt x="612099" y="1491852"/>
                    <a:pt x="616559" y="1496011"/>
                  </a:cubicBezTo>
                  <a:cubicBezTo>
                    <a:pt x="630840" y="1509441"/>
                    <a:pt x="644320" y="1522119"/>
                    <a:pt x="664464" y="1525677"/>
                  </a:cubicBezTo>
                  <a:cubicBezTo>
                    <a:pt x="669274" y="1523722"/>
                    <a:pt x="672832" y="1519613"/>
                    <a:pt x="676641" y="1515254"/>
                  </a:cubicBezTo>
                  <a:cubicBezTo>
                    <a:pt x="677693" y="1514001"/>
                    <a:pt x="678796" y="1512799"/>
                    <a:pt x="679898" y="1511596"/>
                  </a:cubicBezTo>
                  <a:lnTo>
                    <a:pt x="681201" y="1510243"/>
                  </a:lnTo>
                  <a:cubicBezTo>
                    <a:pt x="707208" y="1482331"/>
                    <a:pt x="734067" y="1453468"/>
                    <a:pt x="760174" y="1424755"/>
                  </a:cubicBezTo>
                  <a:cubicBezTo>
                    <a:pt x="768994" y="1414983"/>
                    <a:pt x="776861" y="1405162"/>
                    <a:pt x="783526" y="1395541"/>
                  </a:cubicBezTo>
                  <a:cubicBezTo>
                    <a:pt x="810735" y="1356004"/>
                    <a:pt x="838195" y="1315665"/>
                    <a:pt x="864704" y="1276679"/>
                  </a:cubicBezTo>
                  <a:lnTo>
                    <a:pt x="898178" y="1227521"/>
                  </a:lnTo>
                  <a:cubicBezTo>
                    <a:pt x="898879" y="1226519"/>
                    <a:pt x="899530" y="1225467"/>
                    <a:pt x="900232" y="1224415"/>
                  </a:cubicBezTo>
                  <a:cubicBezTo>
                    <a:pt x="901685" y="1222160"/>
                    <a:pt x="903239" y="1219805"/>
                    <a:pt x="904993" y="1217600"/>
                  </a:cubicBezTo>
                  <a:cubicBezTo>
                    <a:pt x="910304" y="1210985"/>
                    <a:pt x="912058" y="1203168"/>
                    <a:pt x="910555" y="1192946"/>
                  </a:cubicBezTo>
                  <a:cubicBezTo>
                    <a:pt x="908099" y="1176259"/>
                    <a:pt x="906245" y="1161627"/>
                    <a:pt x="904792" y="1148247"/>
                  </a:cubicBezTo>
                  <a:cubicBezTo>
                    <a:pt x="903840" y="1139227"/>
                    <a:pt x="903339" y="1131711"/>
                    <a:pt x="904090" y="1124245"/>
                  </a:cubicBezTo>
                  <a:cubicBezTo>
                    <a:pt x="905043" y="1114824"/>
                    <a:pt x="906346" y="1105353"/>
                    <a:pt x="907598" y="1096183"/>
                  </a:cubicBezTo>
                  <a:cubicBezTo>
                    <a:pt x="908751" y="1087714"/>
                    <a:pt x="909953" y="1078945"/>
                    <a:pt x="910905" y="1070276"/>
                  </a:cubicBezTo>
                  <a:cubicBezTo>
                    <a:pt x="912308" y="1057348"/>
                    <a:pt x="916167" y="1041413"/>
                    <a:pt x="933555" y="1031190"/>
                  </a:cubicBezTo>
                  <a:cubicBezTo>
                    <a:pt x="933205" y="1030789"/>
                    <a:pt x="932853" y="1030439"/>
                    <a:pt x="932503" y="1030088"/>
                  </a:cubicBezTo>
                  <a:cubicBezTo>
                    <a:pt x="930048" y="1027582"/>
                    <a:pt x="927993" y="1025428"/>
                    <a:pt x="925738" y="1023473"/>
                  </a:cubicBezTo>
                  <a:cubicBezTo>
                    <a:pt x="924635" y="1022521"/>
                    <a:pt x="923082" y="1021619"/>
                    <a:pt x="921579" y="1020717"/>
                  </a:cubicBezTo>
                  <a:cubicBezTo>
                    <a:pt x="918372" y="1018813"/>
                    <a:pt x="915065" y="1016909"/>
                    <a:pt x="914163" y="1013601"/>
                  </a:cubicBezTo>
                  <a:cubicBezTo>
                    <a:pt x="911757" y="1004682"/>
                    <a:pt x="905443" y="1000773"/>
                    <a:pt x="896073" y="997316"/>
                  </a:cubicBezTo>
                  <a:lnTo>
                    <a:pt x="894720" y="996815"/>
                  </a:lnTo>
                  <a:lnTo>
                    <a:pt x="894369" y="995412"/>
                  </a:lnTo>
                  <a:cubicBezTo>
                    <a:pt x="893718" y="992605"/>
                    <a:pt x="893066" y="989799"/>
                    <a:pt x="892415" y="987043"/>
                  </a:cubicBezTo>
                  <a:cubicBezTo>
                    <a:pt x="889057" y="973012"/>
                    <a:pt x="885900" y="959783"/>
                    <a:pt x="885249" y="946003"/>
                  </a:cubicBezTo>
                  <a:lnTo>
                    <a:pt x="885249" y="945051"/>
                  </a:lnTo>
                  <a:cubicBezTo>
                    <a:pt x="885249" y="945051"/>
                    <a:pt x="885750" y="944299"/>
                    <a:pt x="885750" y="944299"/>
                  </a:cubicBezTo>
                  <a:cubicBezTo>
                    <a:pt x="897225" y="928715"/>
                    <a:pt x="912660" y="916188"/>
                    <a:pt x="934357" y="904863"/>
                  </a:cubicBezTo>
                  <a:lnTo>
                    <a:pt x="935359" y="904311"/>
                  </a:lnTo>
                  <a:lnTo>
                    <a:pt x="952146" y="909974"/>
                  </a:lnTo>
                  <a:lnTo>
                    <a:pt x="954050" y="907017"/>
                  </a:lnTo>
                  <a:cubicBezTo>
                    <a:pt x="962218" y="894490"/>
                    <a:pt x="969985" y="882614"/>
                    <a:pt x="983615" y="876300"/>
                  </a:cubicBezTo>
                  <a:lnTo>
                    <a:pt x="985219" y="875548"/>
                  </a:lnTo>
                  <a:lnTo>
                    <a:pt x="986522" y="876701"/>
                  </a:lnTo>
                  <a:cubicBezTo>
                    <a:pt x="1015886" y="902307"/>
                    <a:pt x="1016337" y="902357"/>
                    <a:pt x="1040590" y="902608"/>
                  </a:cubicBezTo>
                  <a:lnTo>
                    <a:pt x="1042645" y="902608"/>
                  </a:lnTo>
                  <a:cubicBezTo>
                    <a:pt x="1068702" y="903058"/>
                    <a:pt x="1082382" y="885169"/>
                    <a:pt x="1094208" y="866879"/>
                  </a:cubicBezTo>
                  <a:lnTo>
                    <a:pt x="1095862" y="864323"/>
                  </a:lnTo>
                  <a:lnTo>
                    <a:pt x="1098217" y="866278"/>
                  </a:lnTo>
                  <a:cubicBezTo>
                    <a:pt x="1099921" y="867681"/>
                    <a:pt x="1101474" y="868984"/>
                    <a:pt x="1103028" y="870236"/>
                  </a:cubicBezTo>
                  <a:cubicBezTo>
                    <a:pt x="1106284" y="872892"/>
                    <a:pt x="1109091" y="875197"/>
                    <a:pt x="1111847" y="877753"/>
                  </a:cubicBezTo>
                  <a:cubicBezTo>
                    <a:pt x="1116106" y="881662"/>
                    <a:pt x="1120115" y="883566"/>
                    <a:pt x="1124775" y="883466"/>
                  </a:cubicBezTo>
                  <a:cubicBezTo>
                    <a:pt x="1128283" y="883466"/>
                    <a:pt x="1131741" y="883566"/>
                    <a:pt x="1135198" y="883666"/>
                  </a:cubicBezTo>
                  <a:cubicBezTo>
                    <a:pt x="1149079" y="884017"/>
                    <a:pt x="1162157" y="884418"/>
                    <a:pt x="1174585" y="877903"/>
                  </a:cubicBezTo>
                  <a:cubicBezTo>
                    <a:pt x="1176589" y="876851"/>
                    <a:pt x="1178844" y="877302"/>
                    <a:pt x="1180548" y="877553"/>
                  </a:cubicBezTo>
                  <a:cubicBezTo>
                    <a:pt x="1181049" y="877653"/>
                    <a:pt x="1181500" y="877753"/>
                    <a:pt x="1181901" y="877753"/>
                  </a:cubicBezTo>
                  <a:lnTo>
                    <a:pt x="1183254" y="877753"/>
                  </a:lnTo>
                  <a:cubicBezTo>
                    <a:pt x="1183254" y="877753"/>
                    <a:pt x="1184005" y="878956"/>
                    <a:pt x="1184005" y="878956"/>
                  </a:cubicBezTo>
                  <a:cubicBezTo>
                    <a:pt x="1184256" y="879356"/>
                    <a:pt x="1184507" y="879707"/>
                    <a:pt x="1184757" y="880008"/>
                  </a:cubicBezTo>
                  <a:cubicBezTo>
                    <a:pt x="1185358" y="880860"/>
                    <a:pt x="1186010" y="881762"/>
                    <a:pt x="1186110" y="883014"/>
                  </a:cubicBezTo>
                  <a:cubicBezTo>
                    <a:pt x="1186962" y="894289"/>
                    <a:pt x="1190771" y="902106"/>
                    <a:pt x="1198137" y="907518"/>
                  </a:cubicBezTo>
                  <a:cubicBezTo>
                    <a:pt x="1206154" y="913331"/>
                    <a:pt x="1214623" y="913281"/>
                    <a:pt x="1226499" y="907318"/>
                  </a:cubicBezTo>
                  <a:cubicBezTo>
                    <a:pt x="1235068" y="903009"/>
                    <a:pt x="1243436" y="904412"/>
                    <a:pt x="1251303" y="906266"/>
                  </a:cubicBezTo>
                  <a:cubicBezTo>
                    <a:pt x="1253458" y="906767"/>
                    <a:pt x="1255613" y="907418"/>
                    <a:pt x="1257817" y="908069"/>
                  </a:cubicBezTo>
                  <a:cubicBezTo>
                    <a:pt x="1263180" y="909673"/>
                    <a:pt x="1268742" y="911327"/>
                    <a:pt x="1273051" y="910274"/>
                  </a:cubicBezTo>
                  <a:lnTo>
                    <a:pt x="1275256" y="909723"/>
                  </a:lnTo>
                  <a:cubicBezTo>
                    <a:pt x="1293696" y="905113"/>
                    <a:pt x="1312738" y="900302"/>
                    <a:pt x="1325616" y="884618"/>
                  </a:cubicBezTo>
                  <a:cubicBezTo>
                    <a:pt x="1335739" y="872241"/>
                    <a:pt x="1345711" y="860164"/>
                    <a:pt x="1356134" y="848338"/>
                  </a:cubicBezTo>
                  <a:cubicBezTo>
                    <a:pt x="1361445" y="842425"/>
                    <a:pt x="1366006" y="839669"/>
                    <a:pt x="1369663" y="840020"/>
                  </a:cubicBezTo>
                  <a:cubicBezTo>
                    <a:pt x="1384045" y="841624"/>
                    <a:pt x="1395119" y="844079"/>
                    <a:pt x="1404590" y="847837"/>
                  </a:cubicBezTo>
                  <a:cubicBezTo>
                    <a:pt x="1408699" y="849441"/>
                    <a:pt x="1410954" y="854101"/>
                    <a:pt x="1413159" y="858661"/>
                  </a:cubicBezTo>
                  <a:cubicBezTo>
                    <a:pt x="1413860" y="860114"/>
                    <a:pt x="1414612" y="861668"/>
                    <a:pt x="1415364" y="863021"/>
                  </a:cubicBezTo>
                  <a:lnTo>
                    <a:pt x="1451894" y="871138"/>
                  </a:lnTo>
                  <a:lnTo>
                    <a:pt x="1475947" y="849541"/>
                  </a:lnTo>
                  <a:lnTo>
                    <a:pt x="1476548" y="849391"/>
                  </a:lnTo>
                  <a:cubicBezTo>
                    <a:pt x="1480407" y="848388"/>
                    <a:pt x="1483564" y="849691"/>
                    <a:pt x="1486119" y="850743"/>
                  </a:cubicBezTo>
                  <a:cubicBezTo>
                    <a:pt x="1488975" y="851896"/>
                    <a:pt x="1490028" y="852247"/>
                    <a:pt x="1491381" y="850944"/>
                  </a:cubicBezTo>
                  <a:lnTo>
                    <a:pt x="1491381" y="816168"/>
                  </a:lnTo>
                  <a:lnTo>
                    <a:pt x="1474494" y="808351"/>
                  </a:lnTo>
                  <a:lnTo>
                    <a:pt x="1474243" y="806947"/>
                  </a:lnTo>
                  <a:cubicBezTo>
                    <a:pt x="1473592" y="802788"/>
                    <a:pt x="1472890" y="798579"/>
                    <a:pt x="1472189" y="794320"/>
                  </a:cubicBezTo>
                  <a:cubicBezTo>
                    <a:pt x="1470535" y="784298"/>
                    <a:pt x="1468832" y="773875"/>
                    <a:pt x="1467328" y="763552"/>
                  </a:cubicBezTo>
                  <a:cubicBezTo>
                    <a:pt x="1467077" y="761698"/>
                    <a:pt x="1466727" y="759794"/>
                    <a:pt x="1466426" y="757940"/>
                  </a:cubicBezTo>
                  <a:cubicBezTo>
                    <a:pt x="1464322" y="745462"/>
                    <a:pt x="1462167" y="732634"/>
                    <a:pt x="1473141" y="721109"/>
                  </a:cubicBezTo>
                  <a:cubicBezTo>
                    <a:pt x="1473391" y="720808"/>
                    <a:pt x="1473642" y="719706"/>
                    <a:pt x="1473491" y="718854"/>
                  </a:cubicBezTo>
                  <a:cubicBezTo>
                    <a:pt x="1471587" y="706527"/>
                    <a:pt x="1479505" y="699311"/>
                    <a:pt x="1486871" y="693699"/>
                  </a:cubicBezTo>
                  <a:lnTo>
                    <a:pt x="1474143" y="67626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15" name="Полилиния: фигура 114">
              <a:extLst>
                <a:ext uri="{FF2B5EF4-FFF2-40B4-BE49-F238E27FC236}">
                  <a16:creationId xmlns:a16="http://schemas.microsoft.com/office/drawing/2014/main" id="{CDF9E7DB-095C-4EDD-979C-6692233465DE}"/>
                </a:ext>
              </a:extLst>
            </p:cNvPr>
            <p:cNvSpPr/>
            <p:nvPr/>
          </p:nvSpPr>
          <p:spPr>
            <a:xfrm>
              <a:off x="9206624" y="3527793"/>
              <a:ext cx="1196277" cy="2518477"/>
            </a:xfrm>
            <a:custGeom>
              <a:avLst/>
              <a:gdLst>
                <a:gd name="connsiteX0" fmla="*/ 949837 w 959230"/>
                <a:gd name="connsiteY0" fmla="*/ 1617849 h 2019431"/>
                <a:gd name="connsiteX1" fmla="*/ 949837 w 959230"/>
                <a:gd name="connsiteY1" fmla="*/ 1614291 h 2019431"/>
                <a:gd name="connsiteX2" fmla="*/ 947933 w 959230"/>
                <a:gd name="connsiteY2" fmla="*/ 1602415 h 2019431"/>
                <a:gd name="connsiteX3" fmla="*/ 940717 w 959230"/>
                <a:gd name="connsiteY3" fmla="*/ 1576909 h 2019431"/>
                <a:gd name="connsiteX4" fmla="*/ 940416 w 959230"/>
                <a:gd name="connsiteY4" fmla="*/ 1571748 h 2019431"/>
                <a:gd name="connsiteX5" fmla="*/ 936558 w 959230"/>
                <a:gd name="connsiteY5" fmla="*/ 1551754 h 2019431"/>
                <a:gd name="connsiteX6" fmla="*/ 927388 w 959230"/>
                <a:gd name="connsiteY6" fmla="*/ 1530006 h 2019431"/>
                <a:gd name="connsiteX7" fmla="*/ 919972 w 959230"/>
                <a:gd name="connsiteY7" fmla="*/ 1512668 h 2019431"/>
                <a:gd name="connsiteX8" fmla="*/ 918268 w 959230"/>
                <a:gd name="connsiteY8" fmla="*/ 1508659 h 2019431"/>
                <a:gd name="connsiteX9" fmla="*/ 913006 w 959230"/>
                <a:gd name="connsiteY9" fmla="*/ 1489367 h 2019431"/>
                <a:gd name="connsiteX10" fmla="*/ 902834 w 959230"/>
                <a:gd name="connsiteY10" fmla="*/ 1442213 h 2019431"/>
                <a:gd name="connsiteX11" fmla="*/ 898925 w 959230"/>
                <a:gd name="connsiteY11" fmla="*/ 1431439 h 2019431"/>
                <a:gd name="connsiteX12" fmla="*/ 879733 w 959230"/>
                <a:gd name="connsiteY12" fmla="*/ 1377571 h 2019431"/>
                <a:gd name="connsiteX13" fmla="*/ 873019 w 959230"/>
                <a:gd name="connsiteY13" fmla="*/ 1358980 h 2019431"/>
                <a:gd name="connsiteX14" fmla="*/ 872468 w 959230"/>
                <a:gd name="connsiteY14" fmla="*/ 1284466 h 2019431"/>
                <a:gd name="connsiteX15" fmla="*/ 872066 w 959230"/>
                <a:gd name="connsiteY15" fmla="*/ 1260163 h 2019431"/>
                <a:gd name="connsiteX16" fmla="*/ 871465 w 959230"/>
                <a:gd name="connsiteY16" fmla="*/ 1258109 h 2019431"/>
                <a:gd name="connsiteX17" fmla="*/ 867256 w 959230"/>
                <a:gd name="connsiteY17" fmla="*/ 1238766 h 2019431"/>
                <a:gd name="connsiteX18" fmla="*/ 868909 w 959230"/>
                <a:gd name="connsiteY18" fmla="*/ 1224334 h 2019431"/>
                <a:gd name="connsiteX19" fmla="*/ 869511 w 959230"/>
                <a:gd name="connsiteY19" fmla="*/ 1221177 h 2019431"/>
                <a:gd name="connsiteX20" fmla="*/ 869410 w 959230"/>
                <a:gd name="connsiteY20" fmla="*/ 1221177 h 2019431"/>
                <a:gd name="connsiteX21" fmla="*/ 854779 w 959230"/>
                <a:gd name="connsiteY21" fmla="*/ 1215314 h 2019431"/>
                <a:gd name="connsiteX22" fmla="*/ 835987 w 959230"/>
                <a:gd name="connsiteY22" fmla="*/ 1168912 h 2019431"/>
                <a:gd name="connsiteX23" fmla="*/ 803516 w 959230"/>
                <a:gd name="connsiteY23" fmla="*/ 1146563 h 2019431"/>
                <a:gd name="connsiteX24" fmla="*/ 803516 w 959230"/>
                <a:gd name="connsiteY24" fmla="*/ 1146563 h 2019431"/>
                <a:gd name="connsiteX25" fmla="*/ 799557 w 959230"/>
                <a:gd name="connsiteY25" fmla="*/ 1144910 h 2019431"/>
                <a:gd name="connsiteX26" fmla="*/ 788483 w 959230"/>
                <a:gd name="connsiteY26" fmla="*/ 1130378 h 2019431"/>
                <a:gd name="connsiteX27" fmla="*/ 801812 w 959230"/>
                <a:gd name="connsiteY27" fmla="*/ 1123413 h 2019431"/>
                <a:gd name="connsiteX28" fmla="*/ 807174 w 959230"/>
                <a:gd name="connsiteY28" fmla="*/ 1123162 h 2019431"/>
                <a:gd name="connsiteX29" fmla="*/ 815292 w 959230"/>
                <a:gd name="connsiteY29" fmla="*/ 1117299 h 2019431"/>
                <a:gd name="connsiteX30" fmla="*/ 815692 w 959230"/>
                <a:gd name="connsiteY30" fmla="*/ 1109131 h 2019431"/>
                <a:gd name="connsiteX31" fmla="*/ 807976 w 959230"/>
                <a:gd name="connsiteY31" fmla="*/ 1101915 h 2019431"/>
                <a:gd name="connsiteX32" fmla="*/ 769992 w 959230"/>
                <a:gd name="connsiteY32" fmla="*/ 1086281 h 2019431"/>
                <a:gd name="connsiteX33" fmla="*/ 756012 w 959230"/>
                <a:gd name="connsiteY33" fmla="*/ 1082623 h 2019431"/>
                <a:gd name="connsiteX34" fmla="*/ 707956 w 959230"/>
                <a:gd name="connsiteY34" fmla="*/ 1056866 h 2019431"/>
                <a:gd name="connsiteX35" fmla="*/ 692572 w 959230"/>
                <a:gd name="connsiteY35" fmla="*/ 1045942 h 2019431"/>
                <a:gd name="connsiteX36" fmla="*/ 677038 w 959230"/>
                <a:gd name="connsiteY36" fmla="*/ 1039478 h 2019431"/>
                <a:gd name="connsiteX37" fmla="*/ 654588 w 959230"/>
                <a:gd name="connsiteY37" fmla="*/ 1042936 h 2019431"/>
                <a:gd name="connsiteX38" fmla="*/ 625224 w 959230"/>
                <a:gd name="connsiteY38" fmla="*/ 1060073 h 2019431"/>
                <a:gd name="connsiteX39" fmla="*/ 618710 w 959230"/>
                <a:gd name="connsiteY39" fmla="*/ 1063180 h 2019431"/>
                <a:gd name="connsiteX40" fmla="*/ 617307 w 959230"/>
                <a:gd name="connsiteY40" fmla="*/ 1063982 h 2019431"/>
                <a:gd name="connsiteX41" fmla="*/ 615352 w 959230"/>
                <a:gd name="connsiteY41" fmla="*/ 1147916 h 2019431"/>
                <a:gd name="connsiteX42" fmla="*/ 615002 w 959230"/>
                <a:gd name="connsiteY42" fmla="*/ 1149119 h 2019431"/>
                <a:gd name="connsiteX43" fmla="*/ 613849 w 959230"/>
                <a:gd name="connsiteY43" fmla="*/ 1149620 h 2019431"/>
                <a:gd name="connsiteX44" fmla="*/ 600870 w 959230"/>
                <a:gd name="connsiteY44" fmla="*/ 1144559 h 2019431"/>
                <a:gd name="connsiteX45" fmla="*/ 598265 w 959230"/>
                <a:gd name="connsiteY45" fmla="*/ 1139648 h 2019431"/>
                <a:gd name="connsiteX46" fmla="*/ 596461 w 959230"/>
                <a:gd name="connsiteY46" fmla="*/ 1136090 h 2019431"/>
                <a:gd name="connsiteX47" fmla="*/ 595258 w 959230"/>
                <a:gd name="connsiteY47" fmla="*/ 1131581 h 2019431"/>
                <a:gd name="connsiteX48" fmla="*/ 594908 w 959230"/>
                <a:gd name="connsiteY48" fmla="*/ 1129676 h 2019431"/>
                <a:gd name="connsiteX49" fmla="*/ 577870 w 959230"/>
                <a:gd name="connsiteY49" fmla="*/ 1146914 h 2019431"/>
                <a:gd name="connsiteX50" fmla="*/ 545499 w 959230"/>
                <a:gd name="connsiteY50" fmla="*/ 1179586 h 2019431"/>
                <a:gd name="connsiteX51" fmla="*/ 532069 w 959230"/>
                <a:gd name="connsiteY51" fmla="*/ 1183194 h 2019431"/>
                <a:gd name="connsiteX52" fmla="*/ 531017 w 959230"/>
                <a:gd name="connsiteY52" fmla="*/ 1182593 h 2019431"/>
                <a:gd name="connsiteX53" fmla="*/ 530766 w 959230"/>
                <a:gd name="connsiteY53" fmla="*/ 1181390 h 2019431"/>
                <a:gd name="connsiteX54" fmla="*/ 536278 w 959230"/>
                <a:gd name="connsiteY54" fmla="*/ 1131430 h 2019431"/>
                <a:gd name="connsiteX55" fmla="*/ 517587 w 959230"/>
                <a:gd name="connsiteY55" fmla="*/ 1127872 h 2019431"/>
                <a:gd name="connsiteX56" fmla="*/ 513128 w 959230"/>
                <a:gd name="connsiteY56" fmla="*/ 1154581 h 2019431"/>
                <a:gd name="connsiteX57" fmla="*/ 511424 w 959230"/>
                <a:gd name="connsiteY57" fmla="*/ 1155032 h 2019431"/>
                <a:gd name="connsiteX58" fmla="*/ 486970 w 959230"/>
                <a:gd name="connsiteY58" fmla="*/ 1161045 h 2019431"/>
                <a:gd name="connsiteX59" fmla="*/ 485166 w 959230"/>
                <a:gd name="connsiteY59" fmla="*/ 1161496 h 2019431"/>
                <a:gd name="connsiteX60" fmla="*/ 484114 w 959230"/>
                <a:gd name="connsiteY60" fmla="*/ 1159943 h 2019431"/>
                <a:gd name="connsiteX61" fmla="*/ 472338 w 959230"/>
                <a:gd name="connsiteY61" fmla="*/ 1135088 h 2019431"/>
                <a:gd name="connsiteX62" fmla="*/ 464170 w 959230"/>
                <a:gd name="connsiteY62" fmla="*/ 1116548 h 2019431"/>
                <a:gd name="connsiteX63" fmla="*/ 459309 w 959230"/>
                <a:gd name="connsiteY63" fmla="*/ 1107628 h 2019431"/>
                <a:gd name="connsiteX64" fmla="*/ 438263 w 959230"/>
                <a:gd name="connsiteY64" fmla="*/ 1076610 h 2019431"/>
                <a:gd name="connsiteX65" fmla="*/ 433403 w 959230"/>
                <a:gd name="connsiteY65" fmla="*/ 1078564 h 2019431"/>
                <a:gd name="connsiteX66" fmla="*/ 415614 w 959230"/>
                <a:gd name="connsiteY66" fmla="*/ 1085780 h 2019431"/>
                <a:gd name="connsiteX67" fmla="*/ 406293 w 959230"/>
                <a:gd name="connsiteY67" fmla="*/ 1089839 h 2019431"/>
                <a:gd name="connsiteX68" fmla="*/ 389306 w 959230"/>
                <a:gd name="connsiteY68" fmla="*/ 1096854 h 2019431"/>
                <a:gd name="connsiteX69" fmla="*/ 371717 w 959230"/>
                <a:gd name="connsiteY69" fmla="*/ 1098708 h 2019431"/>
                <a:gd name="connsiteX70" fmla="*/ 326267 w 959230"/>
                <a:gd name="connsiteY70" fmla="*/ 1080168 h 2019431"/>
                <a:gd name="connsiteX71" fmla="*/ 324714 w 959230"/>
                <a:gd name="connsiteY71" fmla="*/ 1079315 h 2019431"/>
                <a:gd name="connsiteX72" fmla="*/ 324914 w 959230"/>
                <a:gd name="connsiteY72" fmla="*/ 1077512 h 2019431"/>
                <a:gd name="connsiteX73" fmla="*/ 325114 w 959230"/>
                <a:gd name="connsiteY73" fmla="*/ 1074705 h 2019431"/>
                <a:gd name="connsiteX74" fmla="*/ 326017 w 959230"/>
                <a:gd name="connsiteY74" fmla="*/ 1070296 h 2019431"/>
                <a:gd name="connsiteX75" fmla="*/ 333734 w 959230"/>
                <a:gd name="connsiteY75" fmla="*/ 1057217 h 2019431"/>
                <a:gd name="connsiteX76" fmla="*/ 360142 w 959230"/>
                <a:gd name="connsiteY76" fmla="*/ 1013471 h 2019431"/>
                <a:gd name="connsiteX77" fmla="*/ 376628 w 959230"/>
                <a:gd name="connsiteY77" fmla="*/ 980448 h 2019431"/>
                <a:gd name="connsiteX78" fmla="*/ 398075 w 959230"/>
                <a:gd name="connsiteY78" fmla="*/ 940360 h 2019431"/>
                <a:gd name="connsiteX79" fmla="*/ 431549 w 959230"/>
                <a:gd name="connsiteY79" fmla="*/ 865295 h 2019431"/>
                <a:gd name="connsiteX80" fmla="*/ 453246 w 959230"/>
                <a:gd name="connsiteY80" fmla="*/ 819094 h 2019431"/>
                <a:gd name="connsiteX81" fmla="*/ 446130 w 959230"/>
                <a:gd name="connsiteY81" fmla="*/ 803459 h 2019431"/>
                <a:gd name="connsiteX82" fmla="*/ 446431 w 959230"/>
                <a:gd name="connsiteY82" fmla="*/ 802457 h 2019431"/>
                <a:gd name="connsiteX83" fmla="*/ 449388 w 959230"/>
                <a:gd name="connsiteY83" fmla="*/ 794440 h 2019431"/>
                <a:gd name="connsiteX84" fmla="*/ 453496 w 959230"/>
                <a:gd name="connsiteY84" fmla="*/ 779757 h 2019431"/>
                <a:gd name="connsiteX85" fmla="*/ 466626 w 959230"/>
                <a:gd name="connsiteY85" fmla="*/ 738667 h 2019431"/>
                <a:gd name="connsiteX86" fmla="*/ 468680 w 959230"/>
                <a:gd name="connsiteY86" fmla="*/ 734257 h 2019431"/>
                <a:gd name="connsiteX87" fmla="*/ 469933 w 959230"/>
                <a:gd name="connsiteY87" fmla="*/ 730850 h 2019431"/>
                <a:gd name="connsiteX88" fmla="*/ 481508 w 959230"/>
                <a:gd name="connsiteY88" fmla="*/ 705444 h 2019431"/>
                <a:gd name="connsiteX89" fmla="*/ 503106 w 959230"/>
                <a:gd name="connsiteY89" fmla="*/ 657689 h 2019431"/>
                <a:gd name="connsiteX90" fmla="*/ 510121 w 959230"/>
                <a:gd name="connsiteY90" fmla="*/ 636292 h 2019431"/>
                <a:gd name="connsiteX91" fmla="*/ 519341 w 959230"/>
                <a:gd name="connsiteY91" fmla="*/ 613592 h 2019431"/>
                <a:gd name="connsiteX92" fmla="*/ 529363 w 959230"/>
                <a:gd name="connsiteY92" fmla="*/ 582474 h 2019431"/>
                <a:gd name="connsiteX93" fmla="*/ 529514 w 959230"/>
                <a:gd name="connsiteY93" fmla="*/ 558371 h 2019431"/>
                <a:gd name="connsiteX94" fmla="*/ 530065 w 959230"/>
                <a:gd name="connsiteY94" fmla="*/ 553761 h 2019431"/>
                <a:gd name="connsiteX95" fmla="*/ 552815 w 959230"/>
                <a:gd name="connsiteY95" fmla="*/ 496385 h 2019431"/>
                <a:gd name="connsiteX96" fmla="*/ 558778 w 959230"/>
                <a:gd name="connsiteY96" fmla="*/ 480901 h 2019431"/>
                <a:gd name="connsiteX97" fmla="*/ 561484 w 959230"/>
                <a:gd name="connsiteY97" fmla="*/ 460957 h 2019431"/>
                <a:gd name="connsiteX98" fmla="*/ 565693 w 959230"/>
                <a:gd name="connsiteY98" fmla="*/ 429337 h 2019431"/>
                <a:gd name="connsiteX99" fmla="*/ 574813 w 959230"/>
                <a:gd name="connsiteY99" fmla="*/ 406437 h 2019431"/>
                <a:gd name="connsiteX100" fmla="*/ 589495 w 959230"/>
                <a:gd name="connsiteY100" fmla="*/ 385992 h 2019431"/>
                <a:gd name="connsiteX101" fmla="*/ 607986 w 959230"/>
                <a:gd name="connsiteY101" fmla="*/ 360336 h 2019431"/>
                <a:gd name="connsiteX102" fmla="*/ 621015 w 959230"/>
                <a:gd name="connsiteY102" fmla="*/ 348359 h 2019431"/>
                <a:gd name="connsiteX103" fmla="*/ 640458 w 959230"/>
                <a:gd name="connsiteY103" fmla="*/ 333878 h 2019431"/>
                <a:gd name="connsiteX104" fmla="*/ 672778 w 959230"/>
                <a:gd name="connsiteY104" fmla="*/ 312781 h 2019431"/>
                <a:gd name="connsiteX105" fmla="*/ 711263 w 959230"/>
                <a:gd name="connsiteY105" fmla="*/ 295493 h 2019431"/>
                <a:gd name="connsiteX106" fmla="*/ 740277 w 959230"/>
                <a:gd name="connsiteY106" fmla="*/ 280059 h 2019431"/>
                <a:gd name="connsiteX107" fmla="*/ 763177 w 959230"/>
                <a:gd name="connsiteY107" fmla="*/ 267783 h 2019431"/>
                <a:gd name="connsiteX108" fmla="*/ 778561 w 959230"/>
                <a:gd name="connsiteY108" fmla="*/ 263724 h 2019431"/>
                <a:gd name="connsiteX109" fmla="*/ 787631 w 959230"/>
                <a:gd name="connsiteY109" fmla="*/ 279107 h 2019431"/>
                <a:gd name="connsiteX110" fmla="*/ 788132 w 959230"/>
                <a:gd name="connsiteY110" fmla="*/ 281011 h 2019431"/>
                <a:gd name="connsiteX111" fmla="*/ 788533 w 959230"/>
                <a:gd name="connsiteY111" fmla="*/ 282415 h 2019431"/>
                <a:gd name="connsiteX112" fmla="*/ 789084 w 959230"/>
                <a:gd name="connsiteY112" fmla="*/ 282816 h 2019431"/>
                <a:gd name="connsiteX113" fmla="*/ 793895 w 959230"/>
                <a:gd name="connsiteY113" fmla="*/ 285772 h 2019431"/>
                <a:gd name="connsiteX114" fmla="*/ 797753 w 959230"/>
                <a:gd name="connsiteY114" fmla="*/ 281513 h 2019431"/>
                <a:gd name="connsiteX115" fmla="*/ 797052 w 959230"/>
                <a:gd name="connsiteY115" fmla="*/ 271090 h 2019431"/>
                <a:gd name="connsiteX116" fmla="*/ 793694 w 959230"/>
                <a:gd name="connsiteY116" fmla="*/ 256859 h 2019431"/>
                <a:gd name="connsiteX117" fmla="*/ 791940 w 959230"/>
                <a:gd name="connsiteY117" fmla="*/ 249743 h 2019431"/>
                <a:gd name="connsiteX118" fmla="*/ 791239 w 959230"/>
                <a:gd name="connsiteY118" fmla="*/ 246837 h 2019431"/>
                <a:gd name="connsiteX119" fmla="*/ 826015 w 959230"/>
                <a:gd name="connsiteY119" fmla="*/ 242176 h 2019431"/>
                <a:gd name="connsiteX120" fmla="*/ 823961 w 959230"/>
                <a:gd name="connsiteY120" fmla="*/ 223134 h 2019431"/>
                <a:gd name="connsiteX121" fmla="*/ 748796 w 959230"/>
                <a:gd name="connsiteY121" fmla="*/ 185101 h 2019431"/>
                <a:gd name="connsiteX122" fmla="*/ 717877 w 959230"/>
                <a:gd name="connsiteY122" fmla="*/ 184750 h 2019431"/>
                <a:gd name="connsiteX123" fmla="*/ 708156 w 959230"/>
                <a:gd name="connsiteY123" fmla="*/ 183397 h 2019431"/>
                <a:gd name="connsiteX124" fmla="*/ 704348 w 959230"/>
                <a:gd name="connsiteY124" fmla="*/ 182695 h 2019431"/>
                <a:gd name="connsiteX125" fmla="*/ 702694 w 959230"/>
                <a:gd name="connsiteY125" fmla="*/ 182445 h 2019431"/>
                <a:gd name="connsiteX126" fmla="*/ 702193 w 959230"/>
                <a:gd name="connsiteY126" fmla="*/ 180841 h 2019431"/>
                <a:gd name="connsiteX127" fmla="*/ 700590 w 959230"/>
                <a:gd name="connsiteY127" fmla="*/ 127324 h 2019431"/>
                <a:gd name="connsiteX128" fmla="*/ 700840 w 959230"/>
                <a:gd name="connsiteY128" fmla="*/ 126171 h 2019431"/>
                <a:gd name="connsiteX129" fmla="*/ 715272 w 959230"/>
                <a:gd name="connsiteY129" fmla="*/ 117302 h 2019431"/>
                <a:gd name="connsiteX130" fmla="*/ 716073 w 959230"/>
                <a:gd name="connsiteY130" fmla="*/ 106729 h 2019431"/>
                <a:gd name="connsiteX131" fmla="*/ 718228 w 959230"/>
                <a:gd name="connsiteY131" fmla="*/ 75510 h 2019431"/>
                <a:gd name="connsiteX132" fmla="*/ 716574 w 959230"/>
                <a:gd name="connsiteY132" fmla="*/ 67743 h 2019431"/>
                <a:gd name="connsiteX133" fmla="*/ 715422 w 959230"/>
                <a:gd name="connsiteY133" fmla="*/ 65287 h 2019431"/>
                <a:gd name="connsiteX134" fmla="*/ 702894 w 959230"/>
                <a:gd name="connsiteY134" fmla="*/ 40533 h 2019431"/>
                <a:gd name="connsiteX135" fmla="*/ 691018 w 959230"/>
                <a:gd name="connsiteY135" fmla="*/ 27655 h 2019431"/>
                <a:gd name="connsiteX136" fmla="*/ 670674 w 959230"/>
                <a:gd name="connsiteY136" fmla="*/ 13825 h 2019431"/>
                <a:gd name="connsiteX137" fmla="*/ 655841 w 959230"/>
                <a:gd name="connsiteY137" fmla="*/ 3903 h 2019431"/>
                <a:gd name="connsiteX138" fmla="*/ 637802 w 959230"/>
                <a:gd name="connsiteY138" fmla="*/ 746 h 2019431"/>
                <a:gd name="connsiteX139" fmla="*/ 608988 w 959230"/>
                <a:gd name="connsiteY139" fmla="*/ 7310 h 2019431"/>
                <a:gd name="connsiteX140" fmla="*/ 580225 w 959230"/>
                <a:gd name="connsiteY140" fmla="*/ 13874 h 2019431"/>
                <a:gd name="connsiteX141" fmla="*/ 575415 w 959230"/>
                <a:gd name="connsiteY141" fmla="*/ 16180 h 2019431"/>
                <a:gd name="connsiteX142" fmla="*/ 574412 w 959230"/>
                <a:gd name="connsiteY142" fmla="*/ 16781 h 2019431"/>
                <a:gd name="connsiteX143" fmla="*/ 556523 w 959230"/>
                <a:gd name="connsiteY143" fmla="*/ 70349 h 2019431"/>
                <a:gd name="connsiteX144" fmla="*/ 554820 w 959230"/>
                <a:gd name="connsiteY144" fmla="*/ 72553 h 2019431"/>
                <a:gd name="connsiteX145" fmla="*/ 552715 w 959230"/>
                <a:gd name="connsiteY145" fmla="*/ 70750 h 2019431"/>
                <a:gd name="connsiteX146" fmla="*/ 531017 w 959230"/>
                <a:gd name="connsiteY146" fmla="*/ 52459 h 2019431"/>
                <a:gd name="connsiteX147" fmla="*/ 527409 w 959230"/>
                <a:gd name="connsiteY147" fmla="*/ 49453 h 2019431"/>
                <a:gd name="connsiteX148" fmla="*/ 524503 w 959230"/>
                <a:gd name="connsiteY148" fmla="*/ 51708 h 2019431"/>
                <a:gd name="connsiteX149" fmla="*/ 513278 w 959230"/>
                <a:gd name="connsiteY149" fmla="*/ 60226 h 2019431"/>
                <a:gd name="connsiteX150" fmla="*/ 509219 w 959230"/>
                <a:gd name="connsiteY150" fmla="*/ 61629 h 2019431"/>
                <a:gd name="connsiteX151" fmla="*/ 507967 w 959230"/>
                <a:gd name="connsiteY151" fmla="*/ 61830 h 2019431"/>
                <a:gd name="connsiteX152" fmla="*/ 506914 w 959230"/>
                <a:gd name="connsiteY152" fmla="*/ 62080 h 2019431"/>
                <a:gd name="connsiteX153" fmla="*/ 493735 w 959230"/>
                <a:gd name="connsiteY153" fmla="*/ 54614 h 2019431"/>
                <a:gd name="connsiteX154" fmla="*/ 473491 w 959230"/>
                <a:gd name="connsiteY154" fmla="*/ 74959 h 2019431"/>
                <a:gd name="connsiteX155" fmla="*/ 458207 w 959230"/>
                <a:gd name="connsiteY155" fmla="*/ 96206 h 2019431"/>
                <a:gd name="connsiteX156" fmla="*/ 453797 w 959230"/>
                <a:gd name="connsiteY156" fmla="*/ 98460 h 2019431"/>
                <a:gd name="connsiteX157" fmla="*/ 451642 w 959230"/>
                <a:gd name="connsiteY157" fmla="*/ 99062 h 2019431"/>
                <a:gd name="connsiteX158" fmla="*/ 450290 w 959230"/>
                <a:gd name="connsiteY158" fmla="*/ 99513 h 2019431"/>
                <a:gd name="connsiteX159" fmla="*/ 434304 w 959230"/>
                <a:gd name="connsiteY159" fmla="*/ 87386 h 2019431"/>
                <a:gd name="connsiteX160" fmla="*/ 387201 w 959230"/>
                <a:gd name="connsiteY160" fmla="*/ 84329 h 2019431"/>
                <a:gd name="connsiteX161" fmla="*/ 375075 w 959230"/>
                <a:gd name="connsiteY161" fmla="*/ 79419 h 2019431"/>
                <a:gd name="connsiteX162" fmla="*/ 367608 w 959230"/>
                <a:gd name="connsiteY162" fmla="*/ 76512 h 2019431"/>
                <a:gd name="connsiteX163" fmla="*/ 328873 w 959230"/>
                <a:gd name="connsiteY163" fmla="*/ 74558 h 2019431"/>
                <a:gd name="connsiteX164" fmla="*/ 328121 w 959230"/>
                <a:gd name="connsiteY164" fmla="*/ 77113 h 2019431"/>
                <a:gd name="connsiteX165" fmla="*/ 326067 w 959230"/>
                <a:gd name="connsiteY165" fmla="*/ 84680 h 2019431"/>
                <a:gd name="connsiteX166" fmla="*/ 320404 w 959230"/>
                <a:gd name="connsiteY166" fmla="*/ 154383 h 2019431"/>
                <a:gd name="connsiteX167" fmla="*/ 296001 w 959230"/>
                <a:gd name="connsiteY167" fmla="*/ 199132 h 2019431"/>
                <a:gd name="connsiteX168" fmla="*/ 294547 w 959230"/>
                <a:gd name="connsiteY168" fmla="*/ 200435 h 2019431"/>
                <a:gd name="connsiteX169" fmla="*/ 294347 w 959230"/>
                <a:gd name="connsiteY169" fmla="*/ 200685 h 2019431"/>
                <a:gd name="connsiteX170" fmla="*/ 292643 w 959230"/>
                <a:gd name="connsiteY170" fmla="*/ 206999 h 2019431"/>
                <a:gd name="connsiteX171" fmla="*/ 287231 w 959230"/>
                <a:gd name="connsiteY171" fmla="*/ 221330 h 2019431"/>
                <a:gd name="connsiteX172" fmla="*/ 268891 w 959230"/>
                <a:gd name="connsiteY172" fmla="*/ 269135 h 2019431"/>
                <a:gd name="connsiteX173" fmla="*/ 266737 w 959230"/>
                <a:gd name="connsiteY173" fmla="*/ 277654 h 2019431"/>
                <a:gd name="connsiteX174" fmla="*/ 269342 w 959230"/>
                <a:gd name="connsiteY174" fmla="*/ 295393 h 2019431"/>
                <a:gd name="connsiteX175" fmla="*/ 287983 w 959230"/>
                <a:gd name="connsiteY175" fmla="*/ 344752 h 2019431"/>
                <a:gd name="connsiteX176" fmla="*/ 300410 w 959230"/>
                <a:gd name="connsiteY176" fmla="*/ 381833 h 2019431"/>
                <a:gd name="connsiteX177" fmla="*/ 315343 w 959230"/>
                <a:gd name="connsiteY177" fmla="*/ 411548 h 2019431"/>
                <a:gd name="connsiteX178" fmla="*/ 325766 w 959230"/>
                <a:gd name="connsiteY178" fmla="*/ 438157 h 2019431"/>
                <a:gd name="connsiteX179" fmla="*/ 313389 w 959230"/>
                <a:gd name="connsiteY179" fmla="*/ 463462 h 2019431"/>
                <a:gd name="connsiteX180" fmla="*/ 312838 w 959230"/>
                <a:gd name="connsiteY180" fmla="*/ 463663 h 2019431"/>
                <a:gd name="connsiteX181" fmla="*/ 312236 w 959230"/>
                <a:gd name="connsiteY181" fmla="*/ 463663 h 2019431"/>
                <a:gd name="connsiteX182" fmla="*/ 302064 w 959230"/>
                <a:gd name="connsiteY182" fmla="*/ 458101 h 2019431"/>
                <a:gd name="connsiteX183" fmla="*/ 292543 w 959230"/>
                <a:gd name="connsiteY183" fmla="*/ 453741 h 2019431"/>
                <a:gd name="connsiteX184" fmla="*/ 290288 w 959230"/>
                <a:gd name="connsiteY184" fmla="*/ 461809 h 2019431"/>
                <a:gd name="connsiteX185" fmla="*/ 284225 w 959230"/>
                <a:gd name="connsiteY185" fmla="*/ 485411 h 2019431"/>
                <a:gd name="connsiteX186" fmla="*/ 268089 w 959230"/>
                <a:gd name="connsiteY186" fmla="*/ 507259 h 2019431"/>
                <a:gd name="connsiteX187" fmla="*/ 237973 w 959230"/>
                <a:gd name="connsiteY187" fmla="*/ 525699 h 2019431"/>
                <a:gd name="connsiteX188" fmla="*/ 184205 w 959230"/>
                <a:gd name="connsiteY188" fmla="*/ 534869 h 2019431"/>
                <a:gd name="connsiteX189" fmla="*/ 182752 w 959230"/>
                <a:gd name="connsiteY189" fmla="*/ 538176 h 2019431"/>
                <a:gd name="connsiteX190" fmla="*/ 179946 w 959230"/>
                <a:gd name="connsiteY190" fmla="*/ 547146 h 2019431"/>
                <a:gd name="connsiteX191" fmla="*/ 155091 w 959230"/>
                <a:gd name="connsiteY191" fmla="*/ 581271 h 2019431"/>
                <a:gd name="connsiteX192" fmla="*/ 117509 w 959230"/>
                <a:gd name="connsiteY192" fmla="*/ 596204 h 2019431"/>
                <a:gd name="connsiteX193" fmla="*/ 80377 w 959230"/>
                <a:gd name="connsiteY193" fmla="*/ 610987 h 2019431"/>
                <a:gd name="connsiteX194" fmla="*/ 63440 w 959230"/>
                <a:gd name="connsiteY194" fmla="*/ 615096 h 2019431"/>
                <a:gd name="connsiteX195" fmla="*/ 63339 w 959230"/>
                <a:gd name="connsiteY195" fmla="*/ 615096 h 2019431"/>
                <a:gd name="connsiteX196" fmla="*/ 41491 w 959230"/>
                <a:gd name="connsiteY196" fmla="*/ 627373 h 2019431"/>
                <a:gd name="connsiteX197" fmla="*/ 27811 w 959230"/>
                <a:gd name="connsiteY197" fmla="*/ 657890 h 2019431"/>
                <a:gd name="connsiteX198" fmla="*/ 26508 w 959230"/>
                <a:gd name="connsiteY198" fmla="*/ 665606 h 2019431"/>
                <a:gd name="connsiteX199" fmla="*/ 17038 w 959230"/>
                <a:gd name="connsiteY199" fmla="*/ 711457 h 2019431"/>
                <a:gd name="connsiteX200" fmla="*/ 16236 w 959230"/>
                <a:gd name="connsiteY200" fmla="*/ 749290 h 2019431"/>
                <a:gd name="connsiteX201" fmla="*/ 17990 w 959230"/>
                <a:gd name="connsiteY201" fmla="*/ 762219 h 2019431"/>
                <a:gd name="connsiteX202" fmla="*/ 18391 w 959230"/>
                <a:gd name="connsiteY202" fmla="*/ 767380 h 2019431"/>
                <a:gd name="connsiteX203" fmla="*/ 18591 w 959230"/>
                <a:gd name="connsiteY203" fmla="*/ 769435 h 2019431"/>
                <a:gd name="connsiteX204" fmla="*/ 2155 w 959230"/>
                <a:gd name="connsiteY204" fmla="*/ 775899 h 2019431"/>
                <a:gd name="connsiteX205" fmla="*/ 21247 w 959230"/>
                <a:gd name="connsiteY205" fmla="*/ 797546 h 2019431"/>
                <a:gd name="connsiteX206" fmla="*/ 38485 w 959230"/>
                <a:gd name="connsiteY206" fmla="*/ 812730 h 2019431"/>
                <a:gd name="connsiteX207" fmla="*/ 39938 w 959230"/>
                <a:gd name="connsiteY207" fmla="*/ 814784 h 2019431"/>
                <a:gd name="connsiteX208" fmla="*/ 37984 w 959230"/>
                <a:gd name="connsiteY208" fmla="*/ 816388 h 2019431"/>
                <a:gd name="connsiteX209" fmla="*/ 18692 w 959230"/>
                <a:gd name="connsiteY209" fmla="*/ 859433 h 2019431"/>
                <a:gd name="connsiteX210" fmla="*/ 18692 w 959230"/>
                <a:gd name="connsiteY210" fmla="*/ 860184 h 2019431"/>
                <a:gd name="connsiteX211" fmla="*/ 18391 w 959230"/>
                <a:gd name="connsiteY211" fmla="*/ 860836 h 2019431"/>
                <a:gd name="connsiteX212" fmla="*/ 7667 w 959230"/>
                <a:gd name="connsiteY212" fmla="*/ 871008 h 2019431"/>
                <a:gd name="connsiteX213" fmla="*/ 0 w 959230"/>
                <a:gd name="connsiteY213" fmla="*/ 879126 h 2019431"/>
                <a:gd name="connsiteX214" fmla="*/ 7868 w 959230"/>
                <a:gd name="connsiteY214" fmla="*/ 883986 h 2019431"/>
                <a:gd name="connsiteX215" fmla="*/ 30116 w 959230"/>
                <a:gd name="connsiteY215" fmla="*/ 898067 h 2019431"/>
                <a:gd name="connsiteX216" fmla="*/ 48106 w 959230"/>
                <a:gd name="connsiteY216" fmla="*/ 934798 h 2019431"/>
                <a:gd name="connsiteX217" fmla="*/ 31069 w 959230"/>
                <a:gd name="connsiteY217" fmla="*/ 961507 h 2019431"/>
                <a:gd name="connsiteX218" fmla="*/ 19844 w 959230"/>
                <a:gd name="connsiteY218" fmla="*/ 981952 h 2019431"/>
                <a:gd name="connsiteX219" fmla="*/ 17188 w 959230"/>
                <a:gd name="connsiteY219" fmla="*/ 1009713 h 2019431"/>
                <a:gd name="connsiteX220" fmla="*/ 15334 w 959230"/>
                <a:gd name="connsiteY220" fmla="*/ 1026600 h 2019431"/>
                <a:gd name="connsiteX221" fmla="*/ 15184 w 959230"/>
                <a:gd name="connsiteY221" fmla="*/ 1037023 h 2019431"/>
                <a:gd name="connsiteX222" fmla="*/ 15234 w 959230"/>
                <a:gd name="connsiteY222" fmla="*/ 1040130 h 2019431"/>
                <a:gd name="connsiteX223" fmla="*/ 55322 w 959230"/>
                <a:gd name="connsiteY223" fmla="*/ 1038025 h 2019431"/>
                <a:gd name="connsiteX224" fmla="*/ 64342 w 959230"/>
                <a:gd name="connsiteY224" fmla="*/ 1032964 h 2019431"/>
                <a:gd name="connsiteX225" fmla="*/ 68852 w 959230"/>
                <a:gd name="connsiteY225" fmla="*/ 1030859 h 2019431"/>
                <a:gd name="connsiteX226" fmla="*/ 70656 w 959230"/>
                <a:gd name="connsiteY226" fmla="*/ 1029957 h 2019431"/>
                <a:gd name="connsiteX227" fmla="*/ 72058 w 959230"/>
                <a:gd name="connsiteY227" fmla="*/ 1031460 h 2019431"/>
                <a:gd name="connsiteX228" fmla="*/ 100822 w 959230"/>
                <a:gd name="connsiteY228" fmla="*/ 1031761 h 2019431"/>
                <a:gd name="connsiteX229" fmla="*/ 109892 w 959230"/>
                <a:gd name="connsiteY229" fmla="*/ 1025598 h 2019431"/>
                <a:gd name="connsiteX230" fmla="*/ 115805 w 959230"/>
                <a:gd name="connsiteY230" fmla="*/ 1021489 h 2019431"/>
                <a:gd name="connsiteX231" fmla="*/ 117058 w 959230"/>
                <a:gd name="connsiteY231" fmla="*/ 1021889 h 2019431"/>
                <a:gd name="connsiteX232" fmla="*/ 136600 w 959230"/>
                <a:gd name="connsiteY232" fmla="*/ 1030959 h 2019431"/>
                <a:gd name="connsiteX233" fmla="*/ 167118 w 959230"/>
                <a:gd name="connsiteY233" fmla="*/ 1041583 h 2019431"/>
                <a:gd name="connsiteX234" fmla="*/ 170275 w 959230"/>
                <a:gd name="connsiteY234" fmla="*/ 1041583 h 2019431"/>
                <a:gd name="connsiteX235" fmla="*/ 169724 w 959230"/>
                <a:gd name="connsiteY235" fmla="*/ 1044740 h 2019431"/>
                <a:gd name="connsiteX236" fmla="*/ 151233 w 959230"/>
                <a:gd name="connsiteY236" fmla="*/ 1088085 h 2019431"/>
                <a:gd name="connsiteX237" fmla="*/ 141862 w 959230"/>
                <a:gd name="connsiteY237" fmla="*/ 1106425 h 2019431"/>
                <a:gd name="connsiteX238" fmla="*/ 131439 w 959230"/>
                <a:gd name="connsiteY238" fmla="*/ 1126619 h 2019431"/>
                <a:gd name="connsiteX239" fmla="*/ 119363 w 959230"/>
                <a:gd name="connsiteY239" fmla="*/ 1138796 h 2019431"/>
                <a:gd name="connsiteX240" fmla="*/ 96162 w 959230"/>
                <a:gd name="connsiteY240" fmla="*/ 1161747 h 2019431"/>
                <a:gd name="connsiteX241" fmla="*/ 85689 w 959230"/>
                <a:gd name="connsiteY241" fmla="*/ 1186902 h 2019431"/>
                <a:gd name="connsiteX242" fmla="*/ 85438 w 959230"/>
                <a:gd name="connsiteY242" fmla="*/ 1214563 h 2019431"/>
                <a:gd name="connsiteX243" fmla="*/ 85138 w 959230"/>
                <a:gd name="connsiteY243" fmla="*/ 1227040 h 2019431"/>
                <a:gd name="connsiteX244" fmla="*/ 85138 w 959230"/>
                <a:gd name="connsiteY244" fmla="*/ 1228343 h 2019431"/>
                <a:gd name="connsiteX245" fmla="*/ 84085 w 959230"/>
                <a:gd name="connsiteY245" fmla="*/ 1229145 h 2019431"/>
                <a:gd name="connsiteX246" fmla="*/ 77170 w 959230"/>
                <a:gd name="connsiteY246" fmla="*/ 1234306 h 2019431"/>
                <a:gd name="connsiteX247" fmla="*/ 62788 w 959230"/>
                <a:gd name="connsiteY247" fmla="*/ 1245380 h 2019431"/>
                <a:gd name="connsiteX248" fmla="*/ 57928 w 959230"/>
                <a:gd name="connsiteY248" fmla="*/ 1265174 h 2019431"/>
                <a:gd name="connsiteX249" fmla="*/ 58278 w 959230"/>
                <a:gd name="connsiteY249" fmla="*/ 1269734 h 2019431"/>
                <a:gd name="connsiteX250" fmla="*/ 68000 w 959230"/>
                <a:gd name="connsiteY250" fmla="*/ 1278854 h 2019431"/>
                <a:gd name="connsiteX251" fmla="*/ 69453 w 959230"/>
                <a:gd name="connsiteY251" fmla="*/ 1279455 h 2019431"/>
                <a:gd name="connsiteX252" fmla="*/ 102075 w 959230"/>
                <a:gd name="connsiteY252" fmla="*/ 1283113 h 2019431"/>
                <a:gd name="connsiteX253" fmla="*/ 103377 w 959230"/>
                <a:gd name="connsiteY253" fmla="*/ 1283113 h 2019431"/>
                <a:gd name="connsiteX254" fmla="*/ 130587 w 959230"/>
                <a:gd name="connsiteY254" fmla="*/ 1294538 h 2019431"/>
                <a:gd name="connsiteX255" fmla="*/ 136851 w 959230"/>
                <a:gd name="connsiteY255" fmla="*/ 1302406 h 2019431"/>
                <a:gd name="connsiteX256" fmla="*/ 151283 w 959230"/>
                <a:gd name="connsiteY256" fmla="*/ 1320195 h 2019431"/>
                <a:gd name="connsiteX257" fmla="*/ 152636 w 959230"/>
                <a:gd name="connsiteY257" fmla="*/ 1321798 h 2019431"/>
                <a:gd name="connsiteX258" fmla="*/ 160102 w 959230"/>
                <a:gd name="connsiteY258" fmla="*/ 1328513 h 2019431"/>
                <a:gd name="connsiteX259" fmla="*/ 190319 w 959230"/>
                <a:gd name="connsiteY259" fmla="*/ 1326559 h 2019431"/>
                <a:gd name="connsiteX260" fmla="*/ 200792 w 959230"/>
                <a:gd name="connsiteY260" fmla="*/ 1320495 h 2019431"/>
                <a:gd name="connsiteX261" fmla="*/ 231910 w 959230"/>
                <a:gd name="connsiteY261" fmla="*/ 1303759 h 2019431"/>
                <a:gd name="connsiteX262" fmla="*/ 276407 w 959230"/>
                <a:gd name="connsiteY262" fmla="*/ 1262618 h 2019431"/>
                <a:gd name="connsiteX263" fmla="*/ 280417 w 959230"/>
                <a:gd name="connsiteY263" fmla="*/ 1258309 h 2019431"/>
                <a:gd name="connsiteX264" fmla="*/ 282471 w 959230"/>
                <a:gd name="connsiteY264" fmla="*/ 1256605 h 2019431"/>
                <a:gd name="connsiteX265" fmla="*/ 283222 w 959230"/>
                <a:gd name="connsiteY265" fmla="*/ 1255904 h 2019431"/>
                <a:gd name="connsiteX266" fmla="*/ 284275 w 959230"/>
                <a:gd name="connsiteY266" fmla="*/ 1255904 h 2019431"/>
                <a:gd name="connsiteX267" fmla="*/ 346863 w 959230"/>
                <a:gd name="connsiteY267" fmla="*/ 1228293 h 2019431"/>
                <a:gd name="connsiteX268" fmla="*/ 348015 w 959230"/>
                <a:gd name="connsiteY268" fmla="*/ 1226990 h 2019431"/>
                <a:gd name="connsiteX269" fmla="*/ 370565 w 959230"/>
                <a:gd name="connsiteY269" fmla="*/ 1233555 h 2019431"/>
                <a:gd name="connsiteX270" fmla="*/ 387652 w 959230"/>
                <a:gd name="connsiteY270" fmla="*/ 1251745 h 2019431"/>
                <a:gd name="connsiteX271" fmla="*/ 389706 w 959230"/>
                <a:gd name="connsiteY271" fmla="*/ 1260313 h 2019431"/>
                <a:gd name="connsiteX272" fmla="*/ 395469 w 959230"/>
                <a:gd name="connsiteY272" fmla="*/ 1301354 h 2019431"/>
                <a:gd name="connsiteX273" fmla="*/ 399979 w 959230"/>
                <a:gd name="connsiteY273" fmla="*/ 1328012 h 2019431"/>
                <a:gd name="connsiteX274" fmla="*/ 403287 w 959230"/>
                <a:gd name="connsiteY274" fmla="*/ 1352115 h 2019431"/>
                <a:gd name="connsiteX275" fmla="*/ 382491 w 959230"/>
                <a:gd name="connsiteY275" fmla="*/ 1372911 h 2019431"/>
                <a:gd name="connsiteX276" fmla="*/ 365053 w 959230"/>
                <a:gd name="connsiteY276" fmla="*/ 1373462 h 2019431"/>
                <a:gd name="connsiteX277" fmla="*/ 358638 w 959230"/>
                <a:gd name="connsiteY277" fmla="*/ 1373462 h 2019431"/>
                <a:gd name="connsiteX278" fmla="*/ 317748 w 959230"/>
                <a:gd name="connsiteY278" fmla="*/ 1381780 h 2019431"/>
                <a:gd name="connsiteX279" fmla="*/ 318500 w 959230"/>
                <a:gd name="connsiteY279" fmla="*/ 1386290 h 2019431"/>
                <a:gd name="connsiteX280" fmla="*/ 320204 w 959230"/>
                <a:gd name="connsiteY280" fmla="*/ 1399068 h 2019431"/>
                <a:gd name="connsiteX281" fmla="*/ 320404 w 959230"/>
                <a:gd name="connsiteY281" fmla="*/ 1410794 h 2019431"/>
                <a:gd name="connsiteX282" fmla="*/ 320505 w 959230"/>
                <a:gd name="connsiteY282" fmla="*/ 1420415 h 2019431"/>
                <a:gd name="connsiteX283" fmla="*/ 307776 w 959230"/>
                <a:gd name="connsiteY283" fmla="*/ 1441862 h 2019431"/>
                <a:gd name="connsiteX284" fmla="*/ 290990 w 959230"/>
                <a:gd name="connsiteY284" fmla="*/ 1450331 h 2019431"/>
                <a:gd name="connsiteX285" fmla="*/ 284726 w 959230"/>
                <a:gd name="connsiteY285" fmla="*/ 1453588 h 2019431"/>
                <a:gd name="connsiteX286" fmla="*/ 268290 w 959230"/>
                <a:gd name="connsiteY286" fmla="*/ 1471077 h 2019431"/>
                <a:gd name="connsiteX287" fmla="*/ 269242 w 959230"/>
                <a:gd name="connsiteY287" fmla="*/ 1479846 h 2019431"/>
                <a:gd name="connsiteX288" fmla="*/ 271096 w 959230"/>
                <a:gd name="connsiteY288" fmla="*/ 1490770 h 2019431"/>
                <a:gd name="connsiteX289" fmla="*/ 270695 w 959230"/>
                <a:gd name="connsiteY289" fmla="*/ 1491571 h 2019431"/>
                <a:gd name="connsiteX290" fmla="*/ 239026 w 959230"/>
                <a:gd name="connsiteY290" fmla="*/ 1517278 h 2019431"/>
                <a:gd name="connsiteX291" fmla="*/ 213068 w 959230"/>
                <a:gd name="connsiteY291" fmla="*/ 1536771 h 2019431"/>
                <a:gd name="connsiteX292" fmla="*/ 207907 w 959230"/>
                <a:gd name="connsiteY292" fmla="*/ 1582872 h 2019431"/>
                <a:gd name="connsiteX293" fmla="*/ 199889 w 959230"/>
                <a:gd name="connsiteY293" fmla="*/ 1644107 h 2019431"/>
                <a:gd name="connsiteX294" fmla="*/ 218681 w 959230"/>
                <a:gd name="connsiteY294" fmla="*/ 1661244 h 2019431"/>
                <a:gd name="connsiteX295" fmla="*/ 234165 w 959230"/>
                <a:gd name="connsiteY295" fmla="*/ 1657536 h 2019431"/>
                <a:gd name="connsiteX296" fmla="*/ 235217 w 959230"/>
                <a:gd name="connsiteY296" fmla="*/ 1658989 h 2019431"/>
                <a:gd name="connsiteX297" fmla="*/ 237422 w 959230"/>
                <a:gd name="connsiteY297" fmla="*/ 1662046 h 2019431"/>
                <a:gd name="connsiteX298" fmla="*/ 243184 w 959230"/>
                <a:gd name="connsiteY298" fmla="*/ 1669512 h 2019431"/>
                <a:gd name="connsiteX299" fmla="*/ 243786 w 959230"/>
                <a:gd name="connsiteY299" fmla="*/ 1670164 h 2019431"/>
                <a:gd name="connsiteX300" fmla="*/ 250501 w 959230"/>
                <a:gd name="connsiteY300" fmla="*/ 1675576 h 2019431"/>
                <a:gd name="connsiteX301" fmla="*/ 273802 w 959230"/>
                <a:gd name="connsiteY301" fmla="*/ 1709651 h 2019431"/>
                <a:gd name="connsiteX302" fmla="*/ 273702 w 959230"/>
                <a:gd name="connsiteY302" fmla="*/ 1717568 h 2019431"/>
                <a:gd name="connsiteX303" fmla="*/ 273702 w 959230"/>
                <a:gd name="connsiteY303" fmla="*/ 1721326 h 2019431"/>
                <a:gd name="connsiteX304" fmla="*/ 285979 w 959230"/>
                <a:gd name="connsiteY304" fmla="*/ 1800049 h 2019431"/>
                <a:gd name="connsiteX305" fmla="*/ 299608 w 959230"/>
                <a:gd name="connsiteY305" fmla="*/ 1794337 h 2019431"/>
                <a:gd name="connsiteX306" fmla="*/ 333984 w 959230"/>
                <a:gd name="connsiteY306" fmla="*/ 1765423 h 2019431"/>
                <a:gd name="connsiteX307" fmla="*/ 334435 w 959230"/>
                <a:gd name="connsiteY307" fmla="*/ 1763820 h 2019431"/>
                <a:gd name="connsiteX308" fmla="*/ 342403 w 959230"/>
                <a:gd name="connsiteY308" fmla="*/ 1762416 h 2019431"/>
                <a:gd name="connsiteX309" fmla="*/ 366606 w 959230"/>
                <a:gd name="connsiteY309" fmla="*/ 1763419 h 2019431"/>
                <a:gd name="connsiteX310" fmla="*/ 389757 w 959230"/>
                <a:gd name="connsiteY310" fmla="*/ 1763168 h 2019431"/>
                <a:gd name="connsiteX311" fmla="*/ 433102 w 959230"/>
                <a:gd name="connsiteY311" fmla="*/ 1774543 h 2019431"/>
                <a:gd name="connsiteX312" fmla="*/ 437813 w 959230"/>
                <a:gd name="connsiteY312" fmla="*/ 1779504 h 2019431"/>
                <a:gd name="connsiteX313" fmla="*/ 441170 w 959230"/>
                <a:gd name="connsiteY313" fmla="*/ 1782861 h 2019431"/>
                <a:gd name="connsiteX314" fmla="*/ 468881 w 959230"/>
                <a:gd name="connsiteY314" fmla="*/ 1798746 h 2019431"/>
                <a:gd name="connsiteX315" fmla="*/ 469131 w 959230"/>
                <a:gd name="connsiteY315" fmla="*/ 1798746 h 2019431"/>
                <a:gd name="connsiteX316" fmla="*/ 477399 w 959230"/>
                <a:gd name="connsiteY316" fmla="*/ 1801753 h 2019431"/>
                <a:gd name="connsiteX317" fmla="*/ 480807 w 959230"/>
                <a:gd name="connsiteY317" fmla="*/ 1803507 h 2019431"/>
                <a:gd name="connsiteX318" fmla="*/ 511625 w 959230"/>
                <a:gd name="connsiteY318" fmla="*/ 1794487 h 2019431"/>
                <a:gd name="connsiteX319" fmla="*/ 514681 w 959230"/>
                <a:gd name="connsiteY319" fmla="*/ 1791831 h 2019431"/>
                <a:gd name="connsiteX320" fmla="*/ 517237 w 959230"/>
                <a:gd name="connsiteY320" fmla="*/ 1789877 h 2019431"/>
                <a:gd name="connsiteX321" fmla="*/ 517838 w 959230"/>
                <a:gd name="connsiteY321" fmla="*/ 1789376 h 2019431"/>
                <a:gd name="connsiteX322" fmla="*/ 518590 w 959230"/>
                <a:gd name="connsiteY322" fmla="*/ 1789276 h 2019431"/>
                <a:gd name="connsiteX323" fmla="*/ 537231 w 959230"/>
                <a:gd name="connsiteY323" fmla="*/ 1788524 h 2019431"/>
                <a:gd name="connsiteX324" fmla="*/ 582630 w 959230"/>
                <a:gd name="connsiteY324" fmla="*/ 1779805 h 2019431"/>
                <a:gd name="connsiteX325" fmla="*/ 584534 w 959230"/>
                <a:gd name="connsiteY325" fmla="*/ 1778702 h 2019431"/>
                <a:gd name="connsiteX326" fmla="*/ 585988 w 959230"/>
                <a:gd name="connsiteY326" fmla="*/ 1780356 h 2019431"/>
                <a:gd name="connsiteX327" fmla="*/ 607735 w 959230"/>
                <a:gd name="connsiteY327" fmla="*/ 1818840 h 2019431"/>
                <a:gd name="connsiteX328" fmla="*/ 610341 w 959230"/>
                <a:gd name="connsiteY328" fmla="*/ 1825104 h 2019431"/>
                <a:gd name="connsiteX329" fmla="*/ 608888 w 959230"/>
                <a:gd name="connsiteY329" fmla="*/ 1826357 h 2019431"/>
                <a:gd name="connsiteX330" fmla="*/ 605380 w 959230"/>
                <a:gd name="connsiteY330" fmla="*/ 1829514 h 2019431"/>
                <a:gd name="connsiteX331" fmla="*/ 599117 w 959230"/>
                <a:gd name="connsiteY331" fmla="*/ 1834926 h 2019431"/>
                <a:gd name="connsiteX332" fmla="*/ 592552 w 959230"/>
                <a:gd name="connsiteY332" fmla="*/ 1839486 h 2019431"/>
                <a:gd name="connsiteX333" fmla="*/ 583783 w 959230"/>
                <a:gd name="connsiteY333" fmla="*/ 1845800 h 2019431"/>
                <a:gd name="connsiteX334" fmla="*/ 579824 w 959230"/>
                <a:gd name="connsiteY334" fmla="*/ 1873210 h 2019431"/>
                <a:gd name="connsiteX335" fmla="*/ 589746 w 959230"/>
                <a:gd name="connsiteY335" fmla="*/ 1884585 h 2019431"/>
                <a:gd name="connsiteX336" fmla="*/ 595358 w 959230"/>
                <a:gd name="connsiteY336" fmla="*/ 1890598 h 2019431"/>
                <a:gd name="connsiteX337" fmla="*/ 604629 w 959230"/>
                <a:gd name="connsiteY337" fmla="*/ 1901222 h 2019431"/>
                <a:gd name="connsiteX338" fmla="*/ 610391 w 959230"/>
                <a:gd name="connsiteY338" fmla="*/ 1907886 h 2019431"/>
                <a:gd name="connsiteX339" fmla="*/ 609339 w 959230"/>
                <a:gd name="connsiteY339" fmla="*/ 1909590 h 2019431"/>
                <a:gd name="connsiteX340" fmla="*/ 605431 w 959230"/>
                <a:gd name="connsiteY340" fmla="*/ 1916405 h 2019431"/>
                <a:gd name="connsiteX341" fmla="*/ 596762 w 959230"/>
                <a:gd name="connsiteY341" fmla="*/ 1929233 h 2019431"/>
                <a:gd name="connsiteX342" fmla="*/ 581829 w 959230"/>
                <a:gd name="connsiteY342" fmla="*/ 1981598 h 2019431"/>
                <a:gd name="connsiteX343" fmla="*/ 586088 w 959230"/>
                <a:gd name="connsiteY343" fmla="*/ 2011714 h 2019431"/>
                <a:gd name="connsiteX344" fmla="*/ 588443 w 959230"/>
                <a:gd name="connsiteY344" fmla="*/ 2018128 h 2019431"/>
                <a:gd name="connsiteX345" fmla="*/ 589044 w 959230"/>
                <a:gd name="connsiteY345" fmla="*/ 2019431 h 2019431"/>
                <a:gd name="connsiteX346" fmla="*/ 594857 w 959230"/>
                <a:gd name="connsiteY346" fmla="*/ 2007355 h 2019431"/>
                <a:gd name="connsiteX347" fmla="*/ 621015 w 959230"/>
                <a:gd name="connsiteY347" fmla="*/ 1945769 h 2019431"/>
                <a:gd name="connsiteX348" fmla="*/ 640107 w 959230"/>
                <a:gd name="connsiteY348" fmla="*/ 1938303 h 2019431"/>
                <a:gd name="connsiteX349" fmla="*/ 654489 w 959230"/>
                <a:gd name="connsiteY349" fmla="*/ 1940057 h 2019431"/>
                <a:gd name="connsiteX350" fmla="*/ 663007 w 959230"/>
                <a:gd name="connsiteY350" fmla="*/ 1940909 h 2019431"/>
                <a:gd name="connsiteX351" fmla="*/ 663859 w 959230"/>
                <a:gd name="connsiteY351" fmla="*/ 1941009 h 2019431"/>
                <a:gd name="connsiteX352" fmla="*/ 664511 w 959230"/>
                <a:gd name="connsiteY352" fmla="*/ 1941560 h 2019431"/>
                <a:gd name="connsiteX353" fmla="*/ 671676 w 959230"/>
                <a:gd name="connsiteY353" fmla="*/ 1947874 h 2019431"/>
                <a:gd name="connsiteX354" fmla="*/ 676387 w 959230"/>
                <a:gd name="connsiteY354" fmla="*/ 1952083 h 2019431"/>
                <a:gd name="connsiteX355" fmla="*/ 687761 w 959230"/>
                <a:gd name="connsiteY355" fmla="*/ 1947674 h 2019431"/>
                <a:gd name="connsiteX356" fmla="*/ 708106 w 959230"/>
                <a:gd name="connsiteY356" fmla="*/ 1963058 h 2019431"/>
                <a:gd name="connsiteX357" fmla="*/ 771596 w 959230"/>
                <a:gd name="connsiteY357" fmla="*/ 1930536 h 2019431"/>
                <a:gd name="connsiteX358" fmla="*/ 781217 w 959230"/>
                <a:gd name="connsiteY358" fmla="*/ 1910592 h 2019431"/>
                <a:gd name="connsiteX359" fmla="*/ 781217 w 959230"/>
                <a:gd name="connsiteY359" fmla="*/ 1906884 h 2019431"/>
                <a:gd name="connsiteX360" fmla="*/ 781217 w 959230"/>
                <a:gd name="connsiteY360" fmla="*/ 1903627 h 2019431"/>
                <a:gd name="connsiteX361" fmla="*/ 799306 w 959230"/>
                <a:gd name="connsiteY361" fmla="*/ 1875565 h 2019431"/>
                <a:gd name="connsiteX362" fmla="*/ 813638 w 959230"/>
                <a:gd name="connsiteY362" fmla="*/ 1868199 h 2019431"/>
                <a:gd name="connsiteX363" fmla="*/ 819651 w 959230"/>
                <a:gd name="connsiteY363" fmla="*/ 1863439 h 2019431"/>
                <a:gd name="connsiteX364" fmla="*/ 821706 w 959230"/>
                <a:gd name="connsiteY364" fmla="*/ 1858878 h 2019431"/>
                <a:gd name="connsiteX365" fmla="*/ 831377 w 959230"/>
                <a:gd name="connsiteY365" fmla="*/ 1824002 h 2019431"/>
                <a:gd name="connsiteX366" fmla="*/ 827468 w 959230"/>
                <a:gd name="connsiteY366" fmla="*/ 1823501 h 2019431"/>
                <a:gd name="connsiteX367" fmla="*/ 816645 w 959230"/>
                <a:gd name="connsiteY367" fmla="*/ 1822499 h 2019431"/>
                <a:gd name="connsiteX368" fmla="*/ 793293 w 959230"/>
                <a:gd name="connsiteY368" fmla="*/ 1807866 h 2019431"/>
                <a:gd name="connsiteX369" fmla="*/ 780365 w 959230"/>
                <a:gd name="connsiteY369" fmla="*/ 1788023 h 2019431"/>
                <a:gd name="connsiteX370" fmla="*/ 776607 w 959230"/>
                <a:gd name="connsiteY370" fmla="*/ 1783563 h 2019431"/>
                <a:gd name="connsiteX371" fmla="*/ 774953 w 959230"/>
                <a:gd name="connsiteY371" fmla="*/ 1765223 h 2019431"/>
                <a:gd name="connsiteX372" fmla="*/ 775254 w 959230"/>
                <a:gd name="connsiteY372" fmla="*/ 1764722 h 2019431"/>
                <a:gd name="connsiteX373" fmla="*/ 775755 w 959230"/>
                <a:gd name="connsiteY373" fmla="*/ 1764421 h 2019431"/>
                <a:gd name="connsiteX374" fmla="*/ 776857 w 959230"/>
                <a:gd name="connsiteY374" fmla="*/ 1763619 h 2019431"/>
                <a:gd name="connsiteX375" fmla="*/ 781116 w 959230"/>
                <a:gd name="connsiteY375" fmla="*/ 1761565 h 2019431"/>
                <a:gd name="connsiteX376" fmla="*/ 803466 w 959230"/>
                <a:gd name="connsiteY376" fmla="*/ 1747383 h 2019431"/>
                <a:gd name="connsiteX377" fmla="*/ 816695 w 959230"/>
                <a:gd name="connsiteY377" fmla="*/ 1732451 h 2019431"/>
                <a:gd name="connsiteX378" fmla="*/ 856382 w 959230"/>
                <a:gd name="connsiteY378" fmla="*/ 1713860 h 2019431"/>
                <a:gd name="connsiteX379" fmla="*/ 857885 w 959230"/>
                <a:gd name="connsiteY379" fmla="*/ 1713459 h 2019431"/>
                <a:gd name="connsiteX380" fmla="*/ 858988 w 959230"/>
                <a:gd name="connsiteY380" fmla="*/ 1714561 h 2019431"/>
                <a:gd name="connsiteX381" fmla="*/ 867356 w 959230"/>
                <a:gd name="connsiteY381" fmla="*/ 1722780 h 2019431"/>
                <a:gd name="connsiteX382" fmla="*/ 885746 w 959230"/>
                <a:gd name="connsiteY382" fmla="*/ 1741871 h 2019431"/>
                <a:gd name="connsiteX383" fmla="*/ 893163 w 959230"/>
                <a:gd name="connsiteY383" fmla="*/ 1783463 h 2019431"/>
                <a:gd name="connsiteX384" fmla="*/ 891309 w 959230"/>
                <a:gd name="connsiteY384" fmla="*/ 1788975 h 2019431"/>
                <a:gd name="connsiteX385" fmla="*/ 899978 w 959230"/>
                <a:gd name="connsiteY385" fmla="*/ 1804459 h 2019431"/>
                <a:gd name="connsiteX386" fmla="*/ 923179 w 959230"/>
                <a:gd name="connsiteY386" fmla="*/ 1804058 h 2019431"/>
                <a:gd name="connsiteX387" fmla="*/ 924331 w 959230"/>
                <a:gd name="connsiteY387" fmla="*/ 1800350 h 2019431"/>
                <a:gd name="connsiteX388" fmla="*/ 927238 w 959230"/>
                <a:gd name="connsiteY388" fmla="*/ 1790428 h 2019431"/>
                <a:gd name="connsiteX389" fmla="*/ 945878 w 959230"/>
                <a:gd name="connsiteY389" fmla="*/ 1716365 h 2019431"/>
                <a:gd name="connsiteX390" fmla="*/ 955500 w 959230"/>
                <a:gd name="connsiteY390" fmla="*/ 1678081 h 2019431"/>
                <a:gd name="connsiteX391" fmla="*/ 957404 w 959230"/>
                <a:gd name="connsiteY391" fmla="*/ 1671066 h 2019431"/>
                <a:gd name="connsiteX392" fmla="*/ 958005 w 959230"/>
                <a:gd name="connsiteY392" fmla="*/ 1668861 h 2019431"/>
                <a:gd name="connsiteX393" fmla="*/ 957003 w 959230"/>
                <a:gd name="connsiteY393" fmla="*/ 1652575 h 2019431"/>
                <a:gd name="connsiteX394" fmla="*/ 950188 w 959230"/>
                <a:gd name="connsiteY394" fmla="*/ 1617899 h 2019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</a:cxnLst>
              <a:rect l="l" t="t" r="r" b="b"/>
              <a:pathLst>
                <a:path w="959230" h="2019431">
                  <a:moveTo>
                    <a:pt x="949837" y="1617849"/>
                  </a:moveTo>
                  <a:lnTo>
                    <a:pt x="949837" y="1614291"/>
                  </a:lnTo>
                  <a:cubicBezTo>
                    <a:pt x="949837" y="1609881"/>
                    <a:pt x="949837" y="1604920"/>
                    <a:pt x="947933" y="1602415"/>
                  </a:cubicBezTo>
                  <a:cubicBezTo>
                    <a:pt x="941619" y="1594247"/>
                    <a:pt x="941168" y="1585428"/>
                    <a:pt x="940717" y="1576909"/>
                  </a:cubicBezTo>
                  <a:cubicBezTo>
                    <a:pt x="940617" y="1575205"/>
                    <a:pt x="940517" y="1573451"/>
                    <a:pt x="940416" y="1571748"/>
                  </a:cubicBezTo>
                  <a:cubicBezTo>
                    <a:pt x="939715" y="1563229"/>
                    <a:pt x="938512" y="1557065"/>
                    <a:pt x="936558" y="1551754"/>
                  </a:cubicBezTo>
                  <a:cubicBezTo>
                    <a:pt x="933802" y="1544438"/>
                    <a:pt x="930545" y="1537122"/>
                    <a:pt x="927388" y="1530006"/>
                  </a:cubicBezTo>
                  <a:cubicBezTo>
                    <a:pt x="924832" y="1524243"/>
                    <a:pt x="922277" y="1518531"/>
                    <a:pt x="919972" y="1512668"/>
                  </a:cubicBezTo>
                  <a:cubicBezTo>
                    <a:pt x="919421" y="1511365"/>
                    <a:pt x="918870" y="1510012"/>
                    <a:pt x="918268" y="1508659"/>
                  </a:cubicBezTo>
                  <a:cubicBezTo>
                    <a:pt x="915612" y="1502395"/>
                    <a:pt x="912806" y="1495981"/>
                    <a:pt x="913006" y="1489367"/>
                  </a:cubicBezTo>
                  <a:cubicBezTo>
                    <a:pt x="913407" y="1472730"/>
                    <a:pt x="908446" y="1457547"/>
                    <a:pt x="902834" y="1442213"/>
                  </a:cubicBezTo>
                  <a:lnTo>
                    <a:pt x="898925" y="1431439"/>
                  </a:lnTo>
                  <a:cubicBezTo>
                    <a:pt x="892562" y="1413800"/>
                    <a:pt x="885947" y="1395611"/>
                    <a:pt x="879733" y="1377571"/>
                  </a:cubicBezTo>
                  <a:cubicBezTo>
                    <a:pt x="877127" y="1370054"/>
                    <a:pt x="874873" y="1364041"/>
                    <a:pt x="873019" y="1358980"/>
                  </a:cubicBezTo>
                  <a:cubicBezTo>
                    <a:pt x="863347" y="1333073"/>
                    <a:pt x="862545" y="1330969"/>
                    <a:pt x="872468" y="1284466"/>
                  </a:cubicBezTo>
                  <a:cubicBezTo>
                    <a:pt x="874421" y="1275246"/>
                    <a:pt x="874271" y="1267529"/>
                    <a:pt x="872066" y="1260163"/>
                  </a:cubicBezTo>
                  <a:lnTo>
                    <a:pt x="871465" y="1258109"/>
                  </a:lnTo>
                  <a:cubicBezTo>
                    <a:pt x="869561" y="1251845"/>
                    <a:pt x="867556" y="1245380"/>
                    <a:pt x="867256" y="1238766"/>
                  </a:cubicBezTo>
                  <a:cubicBezTo>
                    <a:pt x="867005" y="1233905"/>
                    <a:pt x="867957" y="1229044"/>
                    <a:pt x="868909" y="1224334"/>
                  </a:cubicBezTo>
                  <a:cubicBezTo>
                    <a:pt x="869110" y="1223282"/>
                    <a:pt x="869311" y="1222230"/>
                    <a:pt x="869511" y="1221177"/>
                  </a:cubicBezTo>
                  <a:lnTo>
                    <a:pt x="869410" y="1221177"/>
                  </a:lnTo>
                  <a:cubicBezTo>
                    <a:pt x="864300" y="1221277"/>
                    <a:pt x="858988" y="1221277"/>
                    <a:pt x="854779" y="1215314"/>
                  </a:cubicBezTo>
                  <a:cubicBezTo>
                    <a:pt x="843955" y="1200031"/>
                    <a:pt x="835085" y="1186000"/>
                    <a:pt x="835987" y="1168912"/>
                  </a:cubicBezTo>
                  <a:cubicBezTo>
                    <a:pt x="826266" y="1159191"/>
                    <a:pt x="815943" y="1152927"/>
                    <a:pt x="803516" y="1146563"/>
                  </a:cubicBezTo>
                  <a:lnTo>
                    <a:pt x="803516" y="1146563"/>
                  </a:lnTo>
                  <a:cubicBezTo>
                    <a:pt x="802364" y="1145962"/>
                    <a:pt x="800960" y="1145461"/>
                    <a:pt x="799557" y="1144910"/>
                  </a:cubicBezTo>
                  <a:cubicBezTo>
                    <a:pt x="794196" y="1142955"/>
                    <a:pt x="786127" y="1139949"/>
                    <a:pt x="788483" y="1130378"/>
                  </a:cubicBezTo>
                  <a:cubicBezTo>
                    <a:pt x="790287" y="1123112"/>
                    <a:pt x="796951" y="1123312"/>
                    <a:pt x="801812" y="1123413"/>
                  </a:cubicBezTo>
                  <a:cubicBezTo>
                    <a:pt x="803816" y="1123463"/>
                    <a:pt x="805670" y="1123513"/>
                    <a:pt x="807174" y="1123162"/>
                  </a:cubicBezTo>
                  <a:cubicBezTo>
                    <a:pt x="810832" y="1122310"/>
                    <a:pt x="813738" y="1120155"/>
                    <a:pt x="815292" y="1117299"/>
                  </a:cubicBezTo>
                  <a:cubicBezTo>
                    <a:pt x="816595" y="1114794"/>
                    <a:pt x="816745" y="1111887"/>
                    <a:pt x="815692" y="1109131"/>
                  </a:cubicBezTo>
                  <a:cubicBezTo>
                    <a:pt x="813287" y="1103018"/>
                    <a:pt x="810130" y="1102066"/>
                    <a:pt x="807976" y="1101915"/>
                  </a:cubicBezTo>
                  <a:cubicBezTo>
                    <a:pt x="795448" y="1100813"/>
                    <a:pt x="783722" y="1095952"/>
                    <a:pt x="769992" y="1086281"/>
                  </a:cubicBezTo>
                  <a:cubicBezTo>
                    <a:pt x="766835" y="1084026"/>
                    <a:pt x="761474" y="1082623"/>
                    <a:pt x="756012" y="1082623"/>
                  </a:cubicBezTo>
                  <a:cubicBezTo>
                    <a:pt x="736919" y="1082623"/>
                    <a:pt x="720734" y="1073954"/>
                    <a:pt x="707956" y="1056866"/>
                  </a:cubicBezTo>
                  <a:cubicBezTo>
                    <a:pt x="703696" y="1051204"/>
                    <a:pt x="699086" y="1047947"/>
                    <a:pt x="692572" y="1045942"/>
                  </a:cubicBezTo>
                  <a:cubicBezTo>
                    <a:pt x="687561" y="1044389"/>
                    <a:pt x="682349" y="1042234"/>
                    <a:pt x="677038" y="1039478"/>
                  </a:cubicBezTo>
                  <a:cubicBezTo>
                    <a:pt x="668169" y="1034868"/>
                    <a:pt x="660803" y="1036021"/>
                    <a:pt x="654588" y="1042936"/>
                  </a:cubicBezTo>
                  <a:cubicBezTo>
                    <a:pt x="646020" y="1052406"/>
                    <a:pt x="634946" y="1056916"/>
                    <a:pt x="625224" y="1060073"/>
                  </a:cubicBezTo>
                  <a:cubicBezTo>
                    <a:pt x="623019" y="1060775"/>
                    <a:pt x="620814" y="1062028"/>
                    <a:pt x="618710" y="1063180"/>
                  </a:cubicBezTo>
                  <a:cubicBezTo>
                    <a:pt x="618209" y="1063431"/>
                    <a:pt x="617757" y="1063731"/>
                    <a:pt x="617307" y="1063982"/>
                  </a:cubicBezTo>
                  <a:cubicBezTo>
                    <a:pt x="620864" y="1098959"/>
                    <a:pt x="620163" y="1130979"/>
                    <a:pt x="615352" y="1147916"/>
                  </a:cubicBezTo>
                  <a:lnTo>
                    <a:pt x="615002" y="1149119"/>
                  </a:lnTo>
                  <a:lnTo>
                    <a:pt x="613849" y="1149620"/>
                  </a:lnTo>
                  <a:cubicBezTo>
                    <a:pt x="610291" y="1151174"/>
                    <a:pt x="605130" y="1151574"/>
                    <a:pt x="600870" y="1144559"/>
                  </a:cubicBezTo>
                  <a:cubicBezTo>
                    <a:pt x="599919" y="1143006"/>
                    <a:pt x="599067" y="1141302"/>
                    <a:pt x="598265" y="1139648"/>
                  </a:cubicBezTo>
                  <a:cubicBezTo>
                    <a:pt x="597713" y="1138446"/>
                    <a:pt x="597112" y="1137243"/>
                    <a:pt x="596461" y="1136090"/>
                  </a:cubicBezTo>
                  <a:cubicBezTo>
                    <a:pt x="595659" y="1134637"/>
                    <a:pt x="595409" y="1133034"/>
                    <a:pt x="595258" y="1131581"/>
                  </a:cubicBezTo>
                  <a:cubicBezTo>
                    <a:pt x="595208" y="1131029"/>
                    <a:pt x="595057" y="1130177"/>
                    <a:pt x="594908" y="1129676"/>
                  </a:cubicBezTo>
                  <a:lnTo>
                    <a:pt x="577870" y="1146914"/>
                  </a:lnTo>
                  <a:cubicBezTo>
                    <a:pt x="566946" y="1157988"/>
                    <a:pt x="556272" y="1168812"/>
                    <a:pt x="545499" y="1179586"/>
                  </a:cubicBezTo>
                  <a:cubicBezTo>
                    <a:pt x="542693" y="1182392"/>
                    <a:pt x="538484" y="1186702"/>
                    <a:pt x="532069" y="1183194"/>
                  </a:cubicBezTo>
                  <a:lnTo>
                    <a:pt x="531017" y="1182593"/>
                  </a:lnTo>
                  <a:lnTo>
                    <a:pt x="530766" y="1181390"/>
                  </a:lnTo>
                  <a:cubicBezTo>
                    <a:pt x="527058" y="1165004"/>
                    <a:pt x="528912" y="1148217"/>
                    <a:pt x="536278" y="1131430"/>
                  </a:cubicBezTo>
                  <a:cubicBezTo>
                    <a:pt x="530366" y="1127973"/>
                    <a:pt x="524603" y="1127772"/>
                    <a:pt x="517587" y="1127872"/>
                  </a:cubicBezTo>
                  <a:lnTo>
                    <a:pt x="513128" y="1154581"/>
                  </a:lnTo>
                  <a:lnTo>
                    <a:pt x="511424" y="1155032"/>
                  </a:lnTo>
                  <a:cubicBezTo>
                    <a:pt x="502906" y="1157137"/>
                    <a:pt x="495439" y="1158991"/>
                    <a:pt x="486970" y="1161045"/>
                  </a:cubicBezTo>
                  <a:lnTo>
                    <a:pt x="485166" y="1161496"/>
                  </a:lnTo>
                  <a:lnTo>
                    <a:pt x="484114" y="1159943"/>
                  </a:lnTo>
                  <a:cubicBezTo>
                    <a:pt x="478802" y="1151975"/>
                    <a:pt x="475495" y="1143407"/>
                    <a:pt x="472338" y="1135088"/>
                  </a:cubicBezTo>
                  <a:cubicBezTo>
                    <a:pt x="469832" y="1128524"/>
                    <a:pt x="467477" y="1122310"/>
                    <a:pt x="464170" y="1116548"/>
                  </a:cubicBezTo>
                  <a:cubicBezTo>
                    <a:pt x="462516" y="1113591"/>
                    <a:pt x="460913" y="1110634"/>
                    <a:pt x="459309" y="1107628"/>
                  </a:cubicBezTo>
                  <a:cubicBezTo>
                    <a:pt x="453547" y="1096854"/>
                    <a:pt x="447634" y="1085730"/>
                    <a:pt x="438263" y="1076610"/>
                  </a:cubicBezTo>
                  <a:lnTo>
                    <a:pt x="433403" y="1078564"/>
                  </a:lnTo>
                  <a:cubicBezTo>
                    <a:pt x="427339" y="1080969"/>
                    <a:pt x="421477" y="1083325"/>
                    <a:pt x="415614" y="1085780"/>
                  </a:cubicBezTo>
                  <a:cubicBezTo>
                    <a:pt x="412457" y="1087083"/>
                    <a:pt x="409400" y="1088436"/>
                    <a:pt x="406293" y="1089839"/>
                  </a:cubicBezTo>
                  <a:cubicBezTo>
                    <a:pt x="400781" y="1092294"/>
                    <a:pt x="395119" y="1094850"/>
                    <a:pt x="389306" y="1096854"/>
                  </a:cubicBezTo>
                  <a:cubicBezTo>
                    <a:pt x="384495" y="1098458"/>
                    <a:pt x="377480" y="1100462"/>
                    <a:pt x="371717" y="1098708"/>
                  </a:cubicBezTo>
                  <a:cubicBezTo>
                    <a:pt x="354880" y="1093797"/>
                    <a:pt x="339596" y="1087534"/>
                    <a:pt x="326267" y="1080168"/>
                  </a:cubicBezTo>
                  <a:lnTo>
                    <a:pt x="324714" y="1079315"/>
                  </a:lnTo>
                  <a:lnTo>
                    <a:pt x="324914" y="1077512"/>
                  </a:lnTo>
                  <a:cubicBezTo>
                    <a:pt x="325015" y="1076409"/>
                    <a:pt x="325065" y="1075457"/>
                    <a:pt x="325114" y="1074705"/>
                  </a:cubicBezTo>
                  <a:cubicBezTo>
                    <a:pt x="325165" y="1073052"/>
                    <a:pt x="325265" y="1071599"/>
                    <a:pt x="326017" y="1070296"/>
                  </a:cubicBezTo>
                  <a:lnTo>
                    <a:pt x="333734" y="1057217"/>
                  </a:lnTo>
                  <a:cubicBezTo>
                    <a:pt x="342202" y="1042785"/>
                    <a:pt x="351022" y="1027853"/>
                    <a:pt x="360142" y="1013471"/>
                  </a:cubicBezTo>
                  <a:cubicBezTo>
                    <a:pt x="366155" y="1004050"/>
                    <a:pt x="372819" y="992976"/>
                    <a:pt x="376628" y="980448"/>
                  </a:cubicBezTo>
                  <a:cubicBezTo>
                    <a:pt x="381538" y="964263"/>
                    <a:pt x="390208" y="951084"/>
                    <a:pt x="398075" y="940360"/>
                  </a:cubicBezTo>
                  <a:cubicBezTo>
                    <a:pt x="415714" y="916157"/>
                    <a:pt x="430446" y="893808"/>
                    <a:pt x="431549" y="865295"/>
                  </a:cubicBezTo>
                  <a:cubicBezTo>
                    <a:pt x="432300" y="846955"/>
                    <a:pt x="439566" y="831421"/>
                    <a:pt x="453246" y="819094"/>
                  </a:cubicBezTo>
                  <a:lnTo>
                    <a:pt x="446130" y="803459"/>
                  </a:lnTo>
                  <a:lnTo>
                    <a:pt x="446431" y="802457"/>
                  </a:lnTo>
                  <a:cubicBezTo>
                    <a:pt x="447333" y="799701"/>
                    <a:pt x="448386" y="797045"/>
                    <a:pt x="449388" y="794440"/>
                  </a:cubicBezTo>
                  <a:cubicBezTo>
                    <a:pt x="451392" y="789278"/>
                    <a:pt x="453296" y="784418"/>
                    <a:pt x="453496" y="779757"/>
                  </a:cubicBezTo>
                  <a:cubicBezTo>
                    <a:pt x="454048" y="764123"/>
                    <a:pt x="455451" y="750242"/>
                    <a:pt x="466626" y="738667"/>
                  </a:cubicBezTo>
                  <a:cubicBezTo>
                    <a:pt x="467527" y="737715"/>
                    <a:pt x="468079" y="736011"/>
                    <a:pt x="468680" y="734257"/>
                  </a:cubicBezTo>
                  <a:cubicBezTo>
                    <a:pt x="469081" y="733105"/>
                    <a:pt x="469432" y="731902"/>
                    <a:pt x="469933" y="730850"/>
                  </a:cubicBezTo>
                  <a:cubicBezTo>
                    <a:pt x="473791" y="722381"/>
                    <a:pt x="477650" y="713913"/>
                    <a:pt x="481508" y="705444"/>
                  </a:cubicBezTo>
                  <a:cubicBezTo>
                    <a:pt x="488774" y="689559"/>
                    <a:pt x="495990" y="673674"/>
                    <a:pt x="503106" y="657689"/>
                  </a:cubicBezTo>
                  <a:cubicBezTo>
                    <a:pt x="506463" y="650072"/>
                    <a:pt x="509269" y="643258"/>
                    <a:pt x="510121" y="636292"/>
                  </a:cubicBezTo>
                  <a:cubicBezTo>
                    <a:pt x="511223" y="627122"/>
                    <a:pt x="514080" y="620157"/>
                    <a:pt x="519341" y="613592"/>
                  </a:cubicBezTo>
                  <a:cubicBezTo>
                    <a:pt x="526658" y="604623"/>
                    <a:pt x="530065" y="594200"/>
                    <a:pt x="529363" y="582474"/>
                  </a:cubicBezTo>
                  <a:cubicBezTo>
                    <a:pt x="528862" y="574256"/>
                    <a:pt x="528512" y="566238"/>
                    <a:pt x="529514" y="558371"/>
                  </a:cubicBezTo>
                  <a:lnTo>
                    <a:pt x="530065" y="553761"/>
                  </a:lnTo>
                  <a:cubicBezTo>
                    <a:pt x="532570" y="533266"/>
                    <a:pt x="535126" y="512019"/>
                    <a:pt x="552815" y="496385"/>
                  </a:cubicBezTo>
                  <a:cubicBezTo>
                    <a:pt x="557225" y="492476"/>
                    <a:pt x="557976" y="486864"/>
                    <a:pt x="558778" y="480901"/>
                  </a:cubicBezTo>
                  <a:cubicBezTo>
                    <a:pt x="559630" y="474236"/>
                    <a:pt x="560582" y="467622"/>
                    <a:pt x="561484" y="460957"/>
                  </a:cubicBezTo>
                  <a:cubicBezTo>
                    <a:pt x="562937" y="450434"/>
                    <a:pt x="564390" y="439911"/>
                    <a:pt x="565693" y="429337"/>
                  </a:cubicBezTo>
                  <a:cubicBezTo>
                    <a:pt x="566746" y="420869"/>
                    <a:pt x="569752" y="413352"/>
                    <a:pt x="574813" y="406437"/>
                  </a:cubicBezTo>
                  <a:cubicBezTo>
                    <a:pt x="579774" y="399672"/>
                    <a:pt x="584635" y="392807"/>
                    <a:pt x="589495" y="385992"/>
                  </a:cubicBezTo>
                  <a:cubicBezTo>
                    <a:pt x="595609" y="377423"/>
                    <a:pt x="601722" y="368804"/>
                    <a:pt x="607986" y="360336"/>
                  </a:cubicBezTo>
                  <a:cubicBezTo>
                    <a:pt x="611143" y="356077"/>
                    <a:pt x="615453" y="350164"/>
                    <a:pt x="621015" y="348359"/>
                  </a:cubicBezTo>
                  <a:cubicBezTo>
                    <a:pt x="629133" y="345704"/>
                    <a:pt x="634594" y="340242"/>
                    <a:pt x="640458" y="333878"/>
                  </a:cubicBezTo>
                  <a:cubicBezTo>
                    <a:pt x="648826" y="324708"/>
                    <a:pt x="659399" y="317842"/>
                    <a:pt x="672778" y="312781"/>
                  </a:cubicBezTo>
                  <a:cubicBezTo>
                    <a:pt x="684555" y="308321"/>
                    <a:pt x="696781" y="302860"/>
                    <a:pt x="711263" y="295493"/>
                  </a:cubicBezTo>
                  <a:cubicBezTo>
                    <a:pt x="721034" y="290532"/>
                    <a:pt x="730806" y="285221"/>
                    <a:pt x="740277" y="280059"/>
                  </a:cubicBezTo>
                  <a:cubicBezTo>
                    <a:pt x="747893" y="275900"/>
                    <a:pt x="755510" y="271791"/>
                    <a:pt x="763177" y="267783"/>
                  </a:cubicBezTo>
                  <a:cubicBezTo>
                    <a:pt x="769892" y="264275"/>
                    <a:pt x="774602" y="262120"/>
                    <a:pt x="778561" y="263724"/>
                  </a:cubicBezTo>
                  <a:cubicBezTo>
                    <a:pt x="782770" y="265377"/>
                    <a:pt x="784725" y="270689"/>
                    <a:pt x="787631" y="279107"/>
                  </a:cubicBezTo>
                  <a:cubicBezTo>
                    <a:pt x="787831" y="279659"/>
                    <a:pt x="787981" y="280310"/>
                    <a:pt x="788132" y="281011"/>
                  </a:cubicBezTo>
                  <a:cubicBezTo>
                    <a:pt x="788232" y="281513"/>
                    <a:pt x="788383" y="282214"/>
                    <a:pt x="788533" y="282415"/>
                  </a:cubicBezTo>
                  <a:lnTo>
                    <a:pt x="789084" y="282816"/>
                  </a:lnTo>
                  <a:cubicBezTo>
                    <a:pt x="790237" y="283718"/>
                    <a:pt x="793043" y="286022"/>
                    <a:pt x="793895" y="285772"/>
                  </a:cubicBezTo>
                  <a:cubicBezTo>
                    <a:pt x="795097" y="285572"/>
                    <a:pt x="797353" y="283216"/>
                    <a:pt x="797753" y="281513"/>
                  </a:cubicBezTo>
                  <a:cubicBezTo>
                    <a:pt x="798455" y="278456"/>
                    <a:pt x="797753" y="274547"/>
                    <a:pt x="797052" y="271090"/>
                  </a:cubicBezTo>
                  <a:cubicBezTo>
                    <a:pt x="796149" y="266530"/>
                    <a:pt x="794997" y="262020"/>
                    <a:pt x="793694" y="256859"/>
                  </a:cubicBezTo>
                  <a:cubicBezTo>
                    <a:pt x="793143" y="254604"/>
                    <a:pt x="792542" y="252248"/>
                    <a:pt x="791940" y="249743"/>
                  </a:cubicBezTo>
                  <a:lnTo>
                    <a:pt x="791239" y="246837"/>
                  </a:lnTo>
                  <a:lnTo>
                    <a:pt x="826015" y="242176"/>
                  </a:lnTo>
                  <a:cubicBezTo>
                    <a:pt x="828821" y="233357"/>
                    <a:pt x="828220" y="227945"/>
                    <a:pt x="823961" y="223134"/>
                  </a:cubicBezTo>
                  <a:cubicBezTo>
                    <a:pt x="799607" y="195674"/>
                    <a:pt x="776507" y="183998"/>
                    <a:pt x="748796" y="185101"/>
                  </a:cubicBezTo>
                  <a:cubicBezTo>
                    <a:pt x="738874" y="185502"/>
                    <a:pt x="729303" y="185201"/>
                    <a:pt x="717877" y="184750"/>
                  </a:cubicBezTo>
                  <a:cubicBezTo>
                    <a:pt x="714520" y="184600"/>
                    <a:pt x="711263" y="183998"/>
                    <a:pt x="708156" y="183397"/>
                  </a:cubicBezTo>
                  <a:cubicBezTo>
                    <a:pt x="706853" y="183146"/>
                    <a:pt x="705601" y="182896"/>
                    <a:pt x="704348" y="182695"/>
                  </a:cubicBezTo>
                  <a:lnTo>
                    <a:pt x="702694" y="182445"/>
                  </a:lnTo>
                  <a:lnTo>
                    <a:pt x="702193" y="180841"/>
                  </a:lnTo>
                  <a:cubicBezTo>
                    <a:pt x="696330" y="162401"/>
                    <a:pt x="695979" y="149923"/>
                    <a:pt x="700590" y="127324"/>
                  </a:cubicBezTo>
                  <a:lnTo>
                    <a:pt x="700840" y="126171"/>
                  </a:lnTo>
                  <a:lnTo>
                    <a:pt x="715272" y="117302"/>
                  </a:lnTo>
                  <a:lnTo>
                    <a:pt x="716073" y="106729"/>
                  </a:lnTo>
                  <a:cubicBezTo>
                    <a:pt x="716875" y="96055"/>
                    <a:pt x="717677" y="85783"/>
                    <a:pt x="718228" y="75510"/>
                  </a:cubicBezTo>
                  <a:cubicBezTo>
                    <a:pt x="718329" y="73105"/>
                    <a:pt x="717728" y="70198"/>
                    <a:pt x="716574" y="67743"/>
                  </a:cubicBezTo>
                  <a:lnTo>
                    <a:pt x="715422" y="65287"/>
                  </a:lnTo>
                  <a:cubicBezTo>
                    <a:pt x="711614" y="56969"/>
                    <a:pt x="707655" y="48400"/>
                    <a:pt x="702894" y="40533"/>
                  </a:cubicBezTo>
                  <a:cubicBezTo>
                    <a:pt x="699938" y="35672"/>
                    <a:pt x="695729" y="31112"/>
                    <a:pt x="691018" y="27655"/>
                  </a:cubicBezTo>
                  <a:cubicBezTo>
                    <a:pt x="684404" y="22844"/>
                    <a:pt x="677439" y="18234"/>
                    <a:pt x="670674" y="13825"/>
                  </a:cubicBezTo>
                  <a:cubicBezTo>
                    <a:pt x="665713" y="10567"/>
                    <a:pt x="660702" y="7310"/>
                    <a:pt x="655841" y="3903"/>
                  </a:cubicBezTo>
                  <a:cubicBezTo>
                    <a:pt x="650329" y="94"/>
                    <a:pt x="644767" y="-858"/>
                    <a:pt x="637802" y="746"/>
                  </a:cubicBezTo>
                  <a:cubicBezTo>
                    <a:pt x="628231" y="3001"/>
                    <a:pt x="618610" y="5155"/>
                    <a:pt x="608988" y="7310"/>
                  </a:cubicBezTo>
                  <a:cubicBezTo>
                    <a:pt x="599367" y="9465"/>
                    <a:pt x="589796" y="11620"/>
                    <a:pt x="580225" y="13874"/>
                  </a:cubicBezTo>
                  <a:cubicBezTo>
                    <a:pt x="578622" y="14225"/>
                    <a:pt x="576968" y="15227"/>
                    <a:pt x="575415" y="16180"/>
                  </a:cubicBezTo>
                  <a:cubicBezTo>
                    <a:pt x="575064" y="16380"/>
                    <a:pt x="574713" y="16581"/>
                    <a:pt x="574412" y="16781"/>
                  </a:cubicBezTo>
                  <a:cubicBezTo>
                    <a:pt x="568449" y="54614"/>
                    <a:pt x="568199" y="55516"/>
                    <a:pt x="556523" y="70349"/>
                  </a:cubicBezTo>
                  <a:lnTo>
                    <a:pt x="554820" y="72553"/>
                  </a:lnTo>
                  <a:lnTo>
                    <a:pt x="552715" y="70750"/>
                  </a:lnTo>
                  <a:cubicBezTo>
                    <a:pt x="545599" y="64736"/>
                    <a:pt x="538433" y="58723"/>
                    <a:pt x="531017" y="52459"/>
                  </a:cubicBezTo>
                  <a:lnTo>
                    <a:pt x="527409" y="49453"/>
                  </a:lnTo>
                  <a:lnTo>
                    <a:pt x="524503" y="51708"/>
                  </a:lnTo>
                  <a:cubicBezTo>
                    <a:pt x="520544" y="54815"/>
                    <a:pt x="516936" y="57571"/>
                    <a:pt x="513278" y="60226"/>
                  </a:cubicBezTo>
                  <a:cubicBezTo>
                    <a:pt x="511975" y="61178"/>
                    <a:pt x="510472" y="61429"/>
                    <a:pt x="509219" y="61629"/>
                  </a:cubicBezTo>
                  <a:cubicBezTo>
                    <a:pt x="508818" y="61680"/>
                    <a:pt x="508367" y="61780"/>
                    <a:pt x="507967" y="61830"/>
                  </a:cubicBezTo>
                  <a:lnTo>
                    <a:pt x="506914" y="62080"/>
                  </a:lnTo>
                  <a:lnTo>
                    <a:pt x="493735" y="54614"/>
                  </a:lnTo>
                  <a:cubicBezTo>
                    <a:pt x="484314" y="59475"/>
                    <a:pt x="479053" y="66991"/>
                    <a:pt x="473491" y="74959"/>
                  </a:cubicBezTo>
                  <a:cubicBezTo>
                    <a:pt x="468480" y="82074"/>
                    <a:pt x="463419" y="89290"/>
                    <a:pt x="458207" y="96206"/>
                  </a:cubicBezTo>
                  <a:cubicBezTo>
                    <a:pt x="457105" y="97659"/>
                    <a:pt x="455501" y="98009"/>
                    <a:pt x="453797" y="98460"/>
                  </a:cubicBezTo>
                  <a:cubicBezTo>
                    <a:pt x="453146" y="98611"/>
                    <a:pt x="452444" y="98811"/>
                    <a:pt x="451642" y="99062"/>
                  </a:cubicBezTo>
                  <a:lnTo>
                    <a:pt x="450290" y="99513"/>
                  </a:lnTo>
                  <a:lnTo>
                    <a:pt x="434304" y="87386"/>
                  </a:lnTo>
                  <a:cubicBezTo>
                    <a:pt x="419271" y="93249"/>
                    <a:pt x="404238" y="92247"/>
                    <a:pt x="387201" y="84329"/>
                  </a:cubicBezTo>
                  <a:cubicBezTo>
                    <a:pt x="383293" y="82525"/>
                    <a:pt x="379083" y="80922"/>
                    <a:pt x="375075" y="79419"/>
                  </a:cubicBezTo>
                  <a:cubicBezTo>
                    <a:pt x="372569" y="78466"/>
                    <a:pt x="370064" y="77514"/>
                    <a:pt x="367608" y="76512"/>
                  </a:cubicBezTo>
                  <a:cubicBezTo>
                    <a:pt x="355532" y="71551"/>
                    <a:pt x="343205" y="70950"/>
                    <a:pt x="328873" y="74558"/>
                  </a:cubicBezTo>
                  <a:lnTo>
                    <a:pt x="328121" y="77113"/>
                  </a:lnTo>
                  <a:cubicBezTo>
                    <a:pt x="327370" y="79769"/>
                    <a:pt x="326618" y="82175"/>
                    <a:pt x="326067" y="84680"/>
                  </a:cubicBezTo>
                  <a:cubicBezTo>
                    <a:pt x="320555" y="108633"/>
                    <a:pt x="318651" y="132084"/>
                    <a:pt x="320404" y="154383"/>
                  </a:cubicBezTo>
                  <a:cubicBezTo>
                    <a:pt x="322108" y="176532"/>
                    <a:pt x="314391" y="190713"/>
                    <a:pt x="296001" y="199132"/>
                  </a:cubicBezTo>
                  <a:cubicBezTo>
                    <a:pt x="295500" y="199332"/>
                    <a:pt x="294949" y="199983"/>
                    <a:pt x="294547" y="200435"/>
                  </a:cubicBezTo>
                  <a:cubicBezTo>
                    <a:pt x="294497" y="200535"/>
                    <a:pt x="294397" y="200585"/>
                    <a:pt x="294347" y="200685"/>
                  </a:cubicBezTo>
                  <a:cubicBezTo>
                    <a:pt x="293696" y="202790"/>
                    <a:pt x="293144" y="204944"/>
                    <a:pt x="292643" y="206999"/>
                  </a:cubicBezTo>
                  <a:cubicBezTo>
                    <a:pt x="291340" y="212210"/>
                    <a:pt x="290087" y="217171"/>
                    <a:pt x="287231" y="221330"/>
                  </a:cubicBezTo>
                  <a:cubicBezTo>
                    <a:pt x="277260" y="235862"/>
                    <a:pt x="273200" y="251998"/>
                    <a:pt x="268891" y="269135"/>
                  </a:cubicBezTo>
                  <a:cubicBezTo>
                    <a:pt x="268189" y="271992"/>
                    <a:pt x="267438" y="274798"/>
                    <a:pt x="266737" y="277654"/>
                  </a:cubicBezTo>
                  <a:cubicBezTo>
                    <a:pt x="264732" y="285321"/>
                    <a:pt x="265534" y="290783"/>
                    <a:pt x="269342" y="295393"/>
                  </a:cubicBezTo>
                  <a:cubicBezTo>
                    <a:pt x="281770" y="310376"/>
                    <a:pt x="285478" y="328716"/>
                    <a:pt x="287983" y="344752"/>
                  </a:cubicBezTo>
                  <a:cubicBezTo>
                    <a:pt x="289988" y="357880"/>
                    <a:pt x="294097" y="370007"/>
                    <a:pt x="300410" y="381833"/>
                  </a:cubicBezTo>
                  <a:cubicBezTo>
                    <a:pt x="304720" y="389851"/>
                    <a:pt x="310282" y="400474"/>
                    <a:pt x="315343" y="411548"/>
                  </a:cubicBezTo>
                  <a:cubicBezTo>
                    <a:pt x="319352" y="420368"/>
                    <a:pt x="322860" y="429337"/>
                    <a:pt x="325766" y="438157"/>
                  </a:cubicBezTo>
                  <a:cubicBezTo>
                    <a:pt x="329675" y="450033"/>
                    <a:pt x="325165" y="459253"/>
                    <a:pt x="313389" y="463462"/>
                  </a:cubicBezTo>
                  <a:lnTo>
                    <a:pt x="312838" y="463663"/>
                  </a:lnTo>
                  <a:lnTo>
                    <a:pt x="312236" y="463663"/>
                  </a:lnTo>
                  <a:cubicBezTo>
                    <a:pt x="307827" y="463162"/>
                    <a:pt x="304770" y="460456"/>
                    <a:pt x="302064" y="458101"/>
                  </a:cubicBezTo>
                  <a:cubicBezTo>
                    <a:pt x="299007" y="455445"/>
                    <a:pt x="296552" y="453290"/>
                    <a:pt x="292543" y="453741"/>
                  </a:cubicBezTo>
                  <a:cubicBezTo>
                    <a:pt x="291792" y="456397"/>
                    <a:pt x="291040" y="459103"/>
                    <a:pt x="290288" y="461809"/>
                  </a:cubicBezTo>
                  <a:cubicBezTo>
                    <a:pt x="288133" y="469476"/>
                    <a:pt x="285878" y="477443"/>
                    <a:pt x="284225" y="485411"/>
                  </a:cubicBezTo>
                  <a:cubicBezTo>
                    <a:pt x="282220" y="495182"/>
                    <a:pt x="277109" y="502097"/>
                    <a:pt x="268089" y="507259"/>
                  </a:cubicBezTo>
                  <a:cubicBezTo>
                    <a:pt x="259220" y="512320"/>
                    <a:pt x="249900" y="517982"/>
                    <a:pt x="237973" y="525699"/>
                  </a:cubicBezTo>
                  <a:cubicBezTo>
                    <a:pt x="223742" y="534869"/>
                    <a:pt x="206203" y="546194"/>
                    <a:pt x="184205" y="534869"/>
                  </a:cubicBezTo>
                  <a:cubicBezTo>
                    <a:pt x="183704" y="536022"/>
                    <a:pt x="183203" y="537124"/>
                    <a:pt x="182752" y="538176"/>
                  </a:cubicBezTo>
                  <a:cubicBezTo>
                    <a:pt x="181198" y="541634"/>
                    <a:pt x="179795" y="544641"/>
                    <a:pt x="179946" y="547146"/>
                  </a:cubicBezTo>
                  <a:cubicBezTo>
                    <a:pt x="181148" y="568293"/>
                    <a:pt x="167318" y="576461"/>
                    <a:pt x="155091" y="581271"/>
                  </a:cubicBezTo>
                  <a:cubicBezTo>
                    <a:pt x="142513" y="586182"/>
                    <a:pt x="130036" y="591193"/>
                    <a:pt x="117509" y="596204"/>
                  </a:cubicBezTo>
                  <a:cubicBezTo>
                    <a:pt x="105132" y="601165"/>
                    <a:pt x="92754" y="606126"/>
                    <a:pt x="80377" y="610987"/>
                  </a:cubicBezTo>
                  <a:cubicBezTo>
                    <a:pt x="74965" y="613091"/>
                    <a:pt x="69253" y="614945"/>
                    <a:pt x="63440" y="615096"/>
                  </a:cubicBezTo>
                  <a:lnTo>
                    <a:pt x="63339" y="615096"/>
                  </a:lnTo>
                  <a:cubicBezTo>
                    <a:pt x="54169" y="615096"/>
                    <a:pt x="48156" y="619806"/>
                    <a:pt x="41491" y="627373"/>
                  </a:cubicBezTo>
                  <a:cubicBezTo>
                    <a:pt x="34376" y="635491"/>
                    <a:pt x="29916" y="645513"/>
                    <a:pt x="27811" y="657890"/>
                  </a:cubicBezTo>
                  <a:lnTo>
                    <a:pt x="26508" y="665606"/>
                  </a:lnTo>
                  <a:cubicBezTo>
                    <a:pt x="24003" y="680790"/>
                    <a:pt x="21397" y="696474"/>
                    <a:pt x="17038" y="711457"/>
                  </a:cubicBezTo>
                  <a:cubicBezTo>
                    <a:pt x="12979" y="725288"/>
                    <a:pt x="12728" y="737314"/>
                    <a:pt x="16236" y="749290"/>
                  </a:cubicBezTo>
                  <a:cubicBezTo>
                    <a:pt x="17489" y="753550"/>
                    <a:pt x="17739" y="757960"/>
                    <a:pt x="17990" y="762219"/>
                  </a:cubicBezTo>
                  <a:cubicBezTo>
                    <a:pt x="18090" y="763973"/>
                    <a:pt x="18190" y="765676"/>
                    <a:pt x="18391" y="767380"/>
                  </a:cubicBezTo>
                  <a:lnTo>
                    <a:pt x="18591" y="769435"/>
                  </a:lnTo>
                  <a:lnTo>
                    <a:pt x="2155" y="775899"/>
                  </a:lnTo>
                  <a:cubicBezTo>
                    <a:pt x="4811" y="786322"/>
                    <a:pt x="12778" y="791784"/>
                    <a:pt x="21247" y="797546"/>
                  </a:cubicBezTo>
                  <a:cubicBezTo>
                    <a:pt x="27461" y="801806"/>
                    <a:pt x="33925" y="806166"/>
                    <a:pt x="38485" y="812730"/>
                  </a:cubicBezTo>
                  <a:lnTo>
                    <a:pt x="39938" y="814784"/>
                  </a:lnTo>
                  <a:lnTo>
                    <a:pt x="37984" y="816388"/>
                  </a:lnTo>
                  <a:cubicBezTo>
                    <a:pt x="20746" y="830368"/>
                    <a:pt x="17990" y="847506"/>
                    <a:pt x="18692" y="859433"/>
                  </a:cubicBezTo>
                  <a:lnTo>
                    <a:pt x="18692" y="860184"/>
                  </a:lnTo>
                  <a:cubicBezTo>
                    <a:pt x="18692" y="860184"/>
                    <a:pt x="18391" y="860836"/>
                    <a:pt x="18391" y="860836"/>
                  </a:cubicBezTo>
                  <a:cubicBezTo>
                    <a:pt x="15635" y="866047"/>
                    <a:pt x="11425" y="868653"/>
                    <a:pt x="7667" y="871008"/>
                  </a:cubicBezTo>
                  <a:cubicBezTo>
                    <a:pt x="3808" y="873413"/>
                    <a:pt x="952" y="875217"/>
                    <a:pt x="0" y="879126"/>
                  </a:cubicBezTo>
                  <a:cubicBezTo>
                    <a:pt x="2606" y="880729"/>
                    <a:pt x="5212" y="882383"/>
                    <a:pt x="7868" y="883986"/>
                  </a:cubicBezTo>
                  <a:cubicBezTo>
                    <a:pt x="15234" y="888496"/>
                    <a:pt x="22800" y="893207"/>
                    <a:pt x="30116" y="898067"/>
                  </a:cubicBezTo>
                  <a:cubicBezTo>
                    <a:pt x="41943" y="905884"/>
                    <a:pt x="47655" y="917560"/>
                    <a:pt x="48106" y="934798"/>
                  </a:cubicBezTo>
                  <a:cubicBezTo>
                    <a:pt x="48457" y="947426"/>
                    <a:pt x="42594" y="956696"/>
                    <a:pt x="31069" y="961507"/>
                  </a:cubicBezTo>
                  <a:cubicBezTo>
                    <a:pt x="22299" y="965165"/>
                    <a:pt x="20445" y="971278"/>
                    <a:pt x="19844" y="981952"/>
                  </a:cubicBezTo>
                  <a:cubicBezTo>
                    <a:pt x="19343" y="991222"/>
                    <a:pt x="18240" y="1000643"/>
                    <a:pt x="17188" y="1009713"/>
                  </a:cubicBezTo>
                  <a:cubicBezTo>
                    <a:pt x="16537" y="1015325"/>
                    <a:pt x="15835" y="1020988"/>
                    <a:pt x="15334" y="1026600"/>
                  </a:cubicBezTo>
                  <a:cubicBezTo>
                    <a:pt x="15033" y="1030057"/>
                    <a:pt x="15133" y="1033615"/>
                    <a:pt x="15184" y="1037023"/>
                  </a:cubicBezTo>
                  <a:cubicBezTo>
                    <a:pt x="15184" y="1038075"/>
                    <a:pt x="15234" y="1039127"/>
                    <a:pt x="15234" y="1040130"/>
                  </a:cubicBezTo>
                  <a:cubicBezTo>
                    <a:pt x="30618" y="1049200"/>
                    <a:pt x="42995" y="1048548"/>
                    <a:pt x="55322" y="1038025"/>
                  </a:cubicBezTo>
                  <a:cubicBezTo>
                    <a:pt x="57928" y="1035820"/>
                    <a:pt x="61034" y="1034417"/>
                    <a:pt x="64342" y="1032964"/>
                  </a:cubicBezTo>
                  <a:cubicBezTo>
                    <a:pt x="65795" y="1032312"/>
                    <a:pt x="67298" y="1031661"/>
                    <a:pt x="68852" y="1030859"/>
                  </a:cubicBezTo>
                  <a:lnTo>
                    <a:pt x="70656" y="1029957"/>
                  </a:lnTo>
                  <a:lnTo>
                    <a:pt x="72058" y="1031460"/>
                  </a:lnTo>
                  <a:cubicBezTo>
                    <a:pt x="81129" y="1041232"/>
                    <a:pt x="89798" y="1038827"/>
                    <a:pt x="100822" y="1031761"/>
                  </a:cubicBezTo>
                  <a:cubicBezTo>
                    <a:pt x="103829" y="1029807"/>
                    <a:pt x="106785" y="1027752"/>
                    <a:pt x="109892" y="1025598"/>
                  </a:cubicBezTo>
                  <a:lnTo>
                    <a:pt x="115805" y="1021489"/>
                  </a:lnTo>
                  <a:lnTo>
                    <a:pt x="117058" y="1021889"/>
                  </a:lnTo>
                  <a:cubicBezTo>
                    <a:pt x="124073" y="1024044"/>
                    <a:pt x="130437" y="1027552"/>
                    <a:pt x="136600" y="1030959"/>
                  </a:cubicBezTo>
                  <a:cubicBezTo>
                    <a:pt x="146322" y="1036321"/>
                    <a:pt x="155542" y="1041382"/>
                    <a:pt x="167118" y="1041583"/>
                  </a:cubicBezTo>
                  <a:lnTo>
                    <a:pt x="170275" y="1041583"/>
                  </a:lnTo>
                  <a:cubicBezTo>
                    <a:pt x="170275" y="1041583"/>
                    <a:pt x="169724" y="1044740"/>
                    <a:pt x="169724" y="1044740"/>
                  </a:cubicBezTo>
                  <a:cubicBezTo>
                    <a:pt x="166666" y="1061677"/>
                    <a:pt x="163159" y="1076610"/>
                    <a:pt x="151233" y="1088085"/>
                  </a:cubicBezTo>
                  <a:cubicBezTo>
                    <a:pt x="145169" y="1093948"/>
                    <a:pt x="141461" y="1099109"/>
                    <a:pt x="141862" y="1106425"/>
                  </a:cubicBezTo>
                  <a:cubicBezTo>
                    <a:pt x="142363" y="1115746"/>
                    <a:pt x="136300" y="1121759"/>
                    <a:pt x="131439" y="1126619"/>
                  </a:cubicBezTo>
                  <a:cubicBezTo>
                    <a:pt x="127380" y="1130628"/>
                    <a:pt x="123372" y="1134687"/>
                    <a:pt x="119363" y="1138796"/>
                  </a:cubicBezTo>
                  <a:cubicBezTo>
                    <a:pt x="111846" y="1146413"/>
                    <a:pt x="104079" y="1154330"/>
                    <a:pt x="96162" y="1161747"/>
                  </a:cubicBezTo>
                  <a:cubicBezTo>
                    <a:pt x="88595" y="1168863"/>
                    <a:pt x="85388" y="1176579"/>
                    <a:pt x="85689" y="1186902"/>
                  </a:cubicBezTo>
                  <a:cubicBezTo>
                    <a:pt x="85989" y="1196122"/>
                    <a:pt x="85689" y="1205493"/>
                    <a:pt x="85438" y="1214563"/>
                  </a:cubicBezTo>
                  <a:cubicBezTo>
                    <a:pt x="85338" y="1218722"/>
                    <a:pt x="85187" y="1222881"/>
                    <a:pt x="85138" y="1227040"/>
                  </a:cubicBezTo>
                  <a:lnTo>
                    <a:pt x="85138" y="1228343"/>
                  </a:lnTo>
                  <a:cubicBezTo>
                    <a:pt x="85138" y="1228343"/>
                    <a:pt x="84085" y="1229145"/>
                    <a:pt x="84085" y="1229145"/>
                  </a:cubicBezTo>
                  <a:cubicBezTo>
                    <a:pt x="81730" y="1230949"/>
                    <a:pt x="79425" y="1232653"/>
                    <a:pt x="77170" y="1234306"/>
                  </a:cubicBezTo>
                  <a:cubicBezTo>
                    <a:pt x="72109" y="1238065"/>
                    <a:pt x="67298" y="1241572"/>
                    <a:pt x="62788" y="1245380"/>
                  </a:cubicBezTo>
                  <a:cubicBezTo>
                    <a:pt x="56575" y="1250592"/>
                    <a:pt x="57226" y="1257307"/>
                    <a:pt x="57928" y="1265174"/>
                  </a:cubicBezTo>
                  <a:cubicBezTo>
                    <a:pt x="58078" y="1266727"/>
                    <a:pt x="58229" y="1268231"/>
                    <a:pt x="58278" y="1269734"/>
                  </a:cubicBezTo>
                  <a:cubicBezTo>
                    <a:pt x="58579" y="1274845"/>
                    <a:pt x="62187" y="1276499"/>
                    <a:pt x="68000" y="1278854"/>
                  </a:cubicBezTo>
                  <a:lnTo>
                    <a:pt x="69453" y="1279455"/>
                  </a:lnTo>
                  <a:cubicBezTo>
                    <a:pt x="79876" y="1283765"/>
                    <a:pt x="90650" y="1283464"/>
                    <a:pt x="102075" y="1283113"/>
                  </a:cubicBezTo>
                  <a:lnTo>
                    <a:pt x="103377" y="1283113"/>
                  </a:lnTo>
                  <a:cubicBezTo>
                    <a:pt x="115253" y="1282713"/>
                    <a:pt x="124123" y="1286471"/>
                    <a:pt x="130587" y="1294538"/>
                  </a:cubicBezTo>
                  <a:cubicBezTo>
                    <a:pt x="132692" y="1297144"/>
                    <a:pt x="134746" y="1299750"/>
                    <a:pt x="136851" y="1302406"/>
                  </a:cubicBezTo>
                  <a:cubicBezTo>
                    <a:pt x="141511" y="1308269"/>
                    <a:pt x="146322" y="1314382"/>
                    <a:pt x="151283" y="1320195"/>
                  </a:cubicBezTo>
                  <a:lnTo>
                    <a:pt x="152636" y="1321798"/>
                  </a:lnTo>
                  <a:cubicBezTo>
                    <a:pt x="154991" y="1324655"/>
                    <a:pt x="157647" y="1327912"/>
                    <a:pt x="160102" y="1328513"/>
                  </a:cubicBezTo>
                  <a:cubicBezTo>
                    <a:pt x="169924" y="1330818"/>
                    <a:pt x="180396" y="1332171"/>
                    <a:pt x="190319" y="1326559"/>
                  </a:cubicBezTo>
                  <a:cubicBezTo>
                    <a:pt x="193826" y="1324554"/>
                    <a:pt x="197284" y="1322550"/>
                    <a:pt x="200792" y="1320495"/>
                  </a:cubicBezTo>
                  <a:cubicBezTo>
                    <a:pt x="210814" y="1314683"/>
                    <a:pt x="221186" y="1308619"/>
                    <a:pt x="231910" y="1303759"/>
                  </a:cubicBezTo>
                  <a:cubicBezTo>
                    <a:pt x="252806" y="1294288"/>
                    <a:pt x="267388" y="1280858"/>
                    <a:pt x="276407" y="1262618"/>
                  </a:cubicBezTo>
                  <a:cubicBezTo>
                    <a:pt x="277310" y="1260814"/>
                    <a:pt x="278913" y="1259512"/>
                    <a:pt x="280417" y="1258309"/>
                  </a:cubicBezTo>
                  <a:cubicBezTo>
                    <a:pt x="281068" y="1257808"/>
                    <a:pt x="281770" y="1257206"/>
                    <a:pt x="282471" y="1256605"/>
                  </a:cubicBezTo>
                  <a:lnTo>
                    <a:pt x="283222" y="1255904"/>
                  </a:lnTo>
                  <a:lnTo>
                    <a:pt x="284275" y="1255904"/>
                  </a:lnTo>
                  <a:cubicBezTo>
                    <a:pt x="309831" y="1255904"/>
                    <a:pt x="330927" y="1246583"/>
                    <a:pt x="346863" y="1228293"/>
                  </a:cubicBezTo>
                  <a:lnTo>
                    <a:pt x="348015" y="1226990"/>
                  </a:lnTo>
                  <a:lnTo>
                    <a:pt x="370565" y="1233555"/>
                  </a:lnTo>
                  <a:cubicBezTo>
                    <a:pt x="379885" y="1236311"/>
                    <a:pt x="385497" y="1242274"/>
                    <a:pt x="387652" y="1251745"/>
                  </a:cubicBezTo>
                  <a:cubicBezTo>
                    <a:pt x="388304" y="1254601"/>
                    <a:pt x="389005" y="1257457"/>
                    <a:pt x="389706" y="1260313"/>
                  </a:cubicBezTo>
                  <a:cubicBezTo>
                    <a:pt x="392913" y="1273492"/>
                    <a:pt x="396221" y="1287122"/>
                    <a:pt x="395469" y="1301354"/>
                  </a:cubicBezTo>
                  <a:cubicBezTo>
                    <a:pt x="395018" y="1309972"/>
                    <a:pt x="396472" y="1318692"/>
                    <a:pt x="399979" y="1328012"/>
                  </a:cubicBezTo>
                  <a:cubicBezTo>
                    <a:pt x="403186" y="1336731"/>
                    <a:pt x="403537" y="1345951"/>
                    <a:pt x="403287" y="1352115"/>
                  </a:cubicBezTo>
                  <a:cubicBezTo>
                    <a:pt x="402835" y="1363440"/>
                    <a:pt x="394467" y="1371808"/>
                    <a:pt x="382491" y="1372911"/>
                  </a:cubicBezTo>
                  <a:cubicBezTo>
                    <a:pt x="376678" y="1373462"/>
                    <a:pt x="370765" y="1373462"/>
                    <a:pt x="365053" y="1373462"/>
                  </a:cubicBezTo>
                  <a:cubicBezTo>
                    <a:pt x="362898" y="1373462"/>
                    <a:pt x="360793" y="1373462"/>
                    <a:pt x="358638" y="1373462"/>
                  </a:cubicBezTo>
                  <a:cubicBezTo>
                    <a:pt x="343555" y="1373662"/>
                    <a:pt x="330176" y="1376368"/>
                    <a:pt x="317748" y="1381780"/>
                  </a:cubicBezTo>
                  <a:cubicBezTo>
                    <a:pt x="317999" y="1383334"/>
                    <a:pt x="318249" y="1384837"/>
                    <a:pt x="318500" y="1386290"/>
                  </a:cubicBezTo>
                  <a:cubicBezTo>
                    <a:pt x="319252" y="1390650"/>
                    <a:pt x="319903" y="1394809"/>
                    <a:pt x="320204" y="1399068"/>
                  </a:cubicBezTo>
                  <a:cubicBezTo>
                    <a:pt x="320454" y="1402977"/>
                    <a:pt x="320454" y="1406935"/>
                    <a:pt x="320404" y="1410794"/>
                  </a:cubicBezTo>
                  <a:cubicBezTo>
                    <a:pt x="320404" y="1414001"/>
                    <a:pt x="320354" y="1417208"/>
                    <a:pt x="320505" y="1420415"/>
                  </a:cubicBezTo>
                  <a:cubicBezTo>
                    <a:pt x="320955" y="1430638"/>
                    <a:pt x="316797" y="1437653"/>
                    <a:pt x="307776" y="1441862"/>
                  </a:cubicBezTo>
                  <a:cubicBezTo>
                    <a:pt x="302114" y="1444468"/>
                    <a:pt x="296452" y="1447475"/>
                    <a:pt x="290990" y="1450331"/>
                  </a:cubicBezTo>
                  <a:lnTo>
                    <a:pt x="284726" y="1453588"/>
                  </a:lnTo>
                  <a:cubicBezTo>
                    <a:pt x="276658" y="1457747"/>
                    <a:pt x="271897" y="1464763"/>
                    <a:pt x="268290" y="1471077"/>
                  </a:cubicBezTo>
                  <a:cubicBezTo>
                    <a:pt x="266636" y="1473983"/>
                    <a:pt x="267538" y="1476188"/>
                    <a:pt x="269242" y="1479846"/>
                  </a:cubicBezTo>
                  <a:cubicBezTo>
                    <a:pt x="270745" y="1482953"/>
                    <a:pt x="272399" y="1486510"/>
                    <a:pt x="271096" y="1490770"/>
                  </a:cubicBezTo>
                  <a:lnTo>
                    <a:pt x="270695" y="1491571"/>
                  </a:lnTo>
                  <a:cubicBezTo>
                    <a:pt x="262126" y="1502846"/>
                    <a:pt x="250350" y="1510213"/>
                    <a:pt x="239026" y="1517278"/>
                  </a:cubicBezTo>
                  <a:cubicBezTo>
                    <a:pt x="229454" y="1523241"/>
                    <a:pt x="220335" y="1528954"/>
                    <a:pt x="213068" y="1536771"/>
                  </a:cubicBezTo>
                  <a:cubicBezTo>
                    <a:pt x="217879" y="1559020"/>
                    <a:pt x="217729" y="1559972"/>
                    <a:pt x="207907" y="1582872"/>
                  </a:cubicBezTo>
                  <a:cubicBezTo>
                    <a:pt x="199188" y="1603167"/>
                    <a:pt x="196482" y="1623762"/>
                    <a:pt x="199889" y="1644107"/>
                  </a:cubicBezTo>
                  <a:cubicBezTo>
                    <a:pt x="212868" y="1650972"/>
                    <a:pt x="214121" y="1651974"/>
                    <a:pt x="218681" y="1661244"/>
                  </a:cubicBezTo>
                  <a:lnTo>
                    <a:pt x="234165" y="1657536"/>
                  </a:lnTo>
                  <a:lnTo>
                    <a:pt x="235217" y="1658989"/>
                  </a:lnTo>
                  <a:cubicBezTo>
                    <a:pt x="235919" y="1659942"/>
                    <a:pt x="236671" y="1660994"/>
                    <a:pt x="237422" y="1662046"/>
                  </a:cubicBezTo>
                  <a:cubicBezTo>
                    <a:pt x="239226" y="1664602"/>
                    <a:pt x="241080" y="1667207"/>
                    <a:pt x="243184" y="1669512"/>
                  </a:cubicBezTo>
                  <a:lnTo>
                    <a:pt x="243786" y="1670164"/>
                  </a:lnTo>
                  <a:cubicBezTo>
                    <a:pt x="245840" y="1672419"/>
                    <a:pt x="248346" y="1675175"/>
                    <a:pt x="250501" y="1675576"/>
                  </a:cubicBezTo>
                  <a:cubicBezTo>
                    <a:pt x="273200" y="1679785"/>
                    <a:pt x="274654" y="1697023"/>
                    <a:pt x="273802" y="1709651"/>
                  </a:cubicBezTo>
                  <a:cubicBezTo>
                    <a:pt x="273602" y="1712257"/>
                    <a:pt x="273652" y="1714812"/>
                    <a:pt x="273702" y="1717568"/>
                  </a:cubicBezTo>
                  <a:cubicBezTo>
                    <a:pt x="273702" y="1718821"/>
                    <a:pt x="273702" y="1720074"/>
                    <a:pt x="273702" y="1721326"/>
                  </a:cubicBezTo>
                  <a:cubicBezTo>
                    <a:pt x="273702" y="1756854"/>
                    <a:pt x="273702" y="1757706"/>
                    <a:pt x="285979" y="1800049"/>
                  </a:cubicBezTo>
                  <a:cubicBezTo>
                    <a:pt x="290439" y="1797895"/>
                    <a:pt x="295098" y="1796091"/>
                    <a:pt x="299608" y="1794337"/>
                  </a:cubicBezTo>
                  <a:cubicBezTo>
                    <a:pt x="314642" y="1788524"/>
                    <a:pt x="328823" y="1783012"/>
                    <a:pt x="333984" y="1765423"/>
                  </a:cubicBezTo>
                  <a:lnTo>
                    <a:pt x="334435" y="1763820"/>
                  </a:lnTo>
                  <a:lnTo>
                    <a:pt x="342403" y="1762416"/>
                  </a:lnTo>
                  <a:cubicBezTo>
                    <a:pt x="355180" y="1760112"/>
                    <a:pt x="357135" y="1759761"/>
                    <a:pt x="366606" y="1763419"/>
                  </a:cubicBezTo>
                  <a:cubicBezTo>
                    <a:pt x="374122" y="1766325"/>
                    <a:pt x="380787" y="1766275"/>
                    <a:pt x="389757" y="1763168"/>
                  </a:cubicBezTo>
                  <a:cubicBezTo>
                    <a:pt x="407846" y="1756955"/>
                    <a:pt x="422428" y="1760763"/>
                    <a:pt x="433102" y="1774543"/>
                  </a:cubicBezTo>
                  <a:cubicBezTo>
                    <a:pt x="434455" y="1776297"/>
                    <a:pt x="436108" y="1777850"/>
                    <a:pt x="437813" y="1779504"/>
                  </a:cubicBezTo>
                  <a:cubicBezTo>
                    <a:pt x="438965" y="1780606"/>
                    <a:pt x="440117" y="1781659"/>
                    <a:pt x="441170" y="1782861"/>
                  </a:cubicBezTo>
                  <a:cubicBezTo>
                    <a:pt x="449638" y="1791831"/>
                    <a:pt x="457055" y="1798746"/>
                    <a:pt x="468881" y="1798746"/>
                  </a:cubicBezTo>
                  <a:cubicBezTo>
                    <a:pt x="468981" y="1798746"/>
                    <a:pt x="469031" y="1798746"/>
                    <a:pt x="469131" y="1798746"/>
                  </a:cubicBezTo>
                  <a:cubicBezTo>
                    <a:pt x="472188" y="1798746"/>
                    <a:pt x="474843" y="1800250"/>
                    <a:pt x="477399" y="1801753"/>
                  </a:cubicBezTo>
                  <a:cubicBezTo>
                    <a:pt x="478551" y="1802405"/>
                    <a:pt x="479654" y="1803056"/>
                    <a:pt x="480807" y="1803507"/>
                  </a:cubicBezTo>
                  <a:cubicBezTo>
                    <a:pt x="495489" y="1809570"/>
                    <a:pt x="500400" y="1808167"/>
                    <a:pt x="511625" y="1794487"/>
                  </a:cubicBezTo>
                  <a:cubicBezTo>
                    <a:pt x="512426" y="1793485"/>
                    <a:pt x="513378" y="1792833"/>
                    <a:pt x="514681" y="1791831"/>
                  </a:cubicBezTo>
                  <a:cubicBezTo>
                    <a:pt x="515383" y="1791330"/>
                    <a:pt x="516234" y="1790729"/>
                    <a:pt x="517237" y="1789877"/>
                  </a:cubicBezTo>
                  <a:lnTo>
                    <a:pt x="517838" y="1789376"/>
                  </a:lnTo>
                  <a:lnTo>
                    <a:pt x="518590" y="1789276"/>
                  </a:lnTo>
                  <a:cubicBezTo>
                    <a:pt x="524653" y="1788624"/>
                    <a:pt x="531067" y="1788574"/>
                    <a:pt x="537231" y="1788524"/>
                  </a:cubicBezTo>
                  <a:cubicBezTo>
                    <a:pt x="552514" y="1788373"/>
                    <a:pt x="568299" y="1788223"/>
                    <a:pt x="582630" y="1779805"/>
                  </a:cubicBezTo>
                  <a:lnTo>
                    <a:pt x="584534" y="1778702"/>
                  </a:lnTo>
                  <a:lnTo>
                    <a:pt x="585988" y="1780356"/>
                  </a:lnTo>
                  <a:cubicBezTo>
                    <a:pt x="596762" y="1792332"/>
                    <a:pt x="602324" y="1805812"/>
                    <a:pt x="607735" y="1818840"/>
                  </a:cubicBezTo>
                  <a:lnTo>
                    <a:pt x="610341" y="1825104"/>
                  </a:lnTo>
                  <a:lnTo>
                    <a:pt x="608888" y="1826357"/>
                  </a:lnTo>
                  <a:cubicBezTo>
                    <a:pt x="607635" y="1827460"/>
                    <a:pt x="606483" y="1828562"/>
                    <a:pt x="605380" y="1829514"/>
                  </a:cubicBezTo>
                  <a:cubicBezTo>
                    <a:pt x="603176" y="1831569"/>
                    <a:pt x="601272" y="1833322"/>
                    <a:pt x="599117" y="1834926"/>
                  </a:cubicBezTo>
                  <a:cubicBezTo>
                    <a:pt x="596962" y="1836530"/>
                    <a:pt x="594757" y="1837983"/>
                    <a:pt x="592552" y="1839486"/>
                  </a:cubicBezTo>
                  <a:cubicBezTo>
                    <a:pt x="589445" y="1841541"/>
                    <a:pt x="586489" y="1843545"/>
                    <a:pt x="583783" y="1845800"/>
                  </a:cubicBezTo>
                  <a:cubicBezTo>
                    <a:pt x="573611" y="1854469"/>
                    <a:pt x="572408" y="1862687"/>
                    <a:pt x="579824" y="1873210"/>
                  </a:cubicBezTo>
                  <a:cubicBezTo>
                    <a:pt x="582680" y="1877219"/>
                    <a:pt x="586088" y="1880827"/>
                    <a:pt x="589746" y="1884585"/>
                  </a:cubicBezTo>
                  <a:cubicBezTo>
                    <a:pt x="591650" y="1886539"/>
                    <a:pt x="593555" y="1888544"/>
                    <a:pt x="595358" y="1890598"/>
                  </a:cubicBezTo>
                  <a:cubicBezTo>
                    <a:pt x="598465" y="1894106"/>
                    <a:pt x="601522" y="1897614"/>
                    <a:pt x="604629" y="1901222"/>
                  </a:cubicBezTo>
                  <a:lnTo>
                    <a:pt x="610391" y="1907886"/>
                  </a:lnTo>
                  <a:lnTo>
                    <a:pt x="609339" y="1909590"/>
                  </a:lnTo>
                  <a:cubicBezTo>
                    <a:pt x="607886" y="1911945"/>
                    <a:pt x="606633" y="1914200"/>
                    <a:pt x="605431" y="1916405"/>
                  </a:cubicBezTo>
                  <a:cubicBezTo>
                    <a:pt x="602775" y="1921165"/>
                    <a:pt x="600319" y="1925675"/>
                    <a:pt x="596762" y="1929233"/>
                  </a:cubicBezTo>
                  <a:cubicBezTo>
                    <a:pt x="584033" y="1941961"/>
                    <a:pt x="579574" y="1957646"/>
                    <a:pt x="581829" y="1981598"/>
                  </a:cubicBezTo>
                  <a:cubicBezTo>
                    <a:pt x="582680" y="1990417"/>
                    <a:pt x="583983" y="1999688"/>
                    <a:pt x="586088" y="2011714"/>
                  </a:cubicBezTo>
                  <a:cubicBezTo>
                    <a:pt x="586439" y="2013719"/>
                    <a:pt x="587341" y="2015773"/>
                    <a:pt x="588443" y="2018128"/>
                  </a:cubicBezTo>
                  <a:cubicBezTo>
                    <a:pt x="588644" y="2018579"/>
                    <a:pt x="588844" y="2018980"/>
                    <a:pt x="589044" y="2019431"/>
                  </a:cubicBezTo>
                  <a:cubicBezTo>
                    <a:pt x="594156" y="2016826"/>
                    <a:pt x="594456" y="2012767"/>
                    <a:pt x="594857" y="2007355"/>
                  </a:cubicBezTo>
                  <a:cubicBezTo>
                    <a:pt x="596812" y="1981498"/>
                    <a:pt x="609840" y="1960853"/>
                    <a:pt x="621015" y="1945769"/>
                  </a:cubicBezTo>
                  <a:cubicBezTo>
                    <a:pt x="625825" y="1939305"/>
                    <a:pt x="632089" y="1936850"/>
                    <a:pt x="640107" y="1938303"/>
                  </a:cubicBezTo>
                  <a:cubicBezTo>
                    <a:pt x="644517" y="1939155"/>
                    <a:pt x="649126" y="1939556"/>
                    <a:pt x="654489" y="1940057"/>
                  </a:cubicBezTo>
                  <a:cubicBezTo>
                    <a:pt x="657094" y="1940307"/>
                    <a:pt x="659900" y="1940558"/>
                    <a:pt x="663007" y="1940909"/>
                  </a:cubicBezTo>
                  <a:lnTo>
                    <a:pt x="663859" y="1941009"/>
                  </a:lnTo>
                  <a:lnTo>
                    <a:pt x="664511" y="1941560"/>
                  </a:lnTo>
                  <a:cubicBezTo>
                    <a:pt x="666264" y="1943113"/>
                    <a:pt x="668820" y="1945369"/>
                    <a:pt x="671676" y="1947874"/>
                  </a:cubicBezTo>
                  <a:lnTo>
                    <a:pt x="676387" y="1952083"/>
                  </a:lnTo>
                  <a:lnTo>
                    <a:pt x="687761" y="1947674"/>
                  </a:lnTo>
                  <a:lnTo>
                    <a:pt x="708106" y="1963058"/>
                  </a:lnTo>
                  <a:cubicBezTo>
                    <a:pt x="735466" y="1954639"/>
                    <a:pt x="755059" y="1944567"/>
                    <a:pt x="771596" y="1930536"/>
                  </a:cubicBezTo>
                  <a:cubicBezTo>
                    <a:pt x="779112" y="1924172"/>
                    <a:pt x="781868" y="1918409"/>
                    <a:pt x="781217" y="1910592"/>
                  </a:cubicBezTo>
                  <a:cubicBezTo>
                    <a:pt x="781116" y="1909389"/>
                    <a:pt x="781217" y="1908137"/>
                    <a:pt x="781217" y="1906884"/>
                  </a:cubicBezTo>
                  <a:cubicBezTo>
                    <a:pt x="781267" y="1905732"/>
                    <a:pt x="781317" y="1904579"/>
                    <a:pt x="781217" y="1903627"/>
                  </a:cubicBezTo>
                  <a:cubicBezTo>
                    <a:pt x="779363" y="1890147"/>
                    <a:pt x="785276" y="1880927"/>
                    <a:pt x="799306" y="1875565"/>
                  </a:cubicBezTo>
                  <a:cubicBezTo>
                    <a:pt x="804167" y="1873711"/>
                    <a:pt x="808877" y="1871005"/>
                    <a:pt x="813638" y="1868199"/>
                  </a:cubicBezTo>
                  <a:cubicBezTo>
                    <a:pt x="816144" y="1866746"/>
                    <a:pt x="818899" y="1865142"/>
                    <a:pt x="819651" y="1863439"/>
                  </a:cubicBezTo>
                  <a:lnTo>
                    <a:pt x="821706" y="1858878"/>
                  </a:lnTo>
                  <a:cubicBezTo>
                    <a:pt x="826566" y="1848105"/>
                    <a:pt x="831628" y="1836930"/>
                    <a:pt x="831377" y="1824002"/>
                  </a:cubicBezTo>
                  <a:cubicBezTo>
                    <a:pt x="830024" y="1823851"/>
                    <a:pt x="828721" y="1823651"/>
                    <a:pt x="827468" y="1823501"/>
                  </a:cubicBezTo>
                  <a:cubicBezTo>
                    <a:pt x="823510" y="1822950"/>
                    <a:pt x="820102" y="1822348"/>
                    <a:pt x="816645" y="1822499"/>
                  </a:cubicBezTo>
                  <a:cubicBezTo>
                    <a:pt x="805270" y="1822499"/>
                    <a:pt x="796551" y="1817037"/>
                    <a:pt x="793293" y="1807866"/>
                  </a:cubicBezTo>
                  <a:cubicBezTo>
                    <a:pt x="790487" y="1800049"/>
                    <a:pt x="785576" y="1794237"/>
                    <a:pt x="780365" y="1788023"/>
                  </a:cubicBezTo>
                  <a:cubicBezTo>
                    <a:pt x="779112" y="1786570"/>
                    <a:pt x="777860" y="1785066"/>
                    <a:pt x="776607" y="1783563"/>
                  </a:cubicBezTo>
                  <a:cubicBezTo>
                    <a:pt x="771746" y="1777600"/>
                    <a:pt x="771195" y="1771086"/>
                    <a:pt x="774953" y="1765223"/>
                  </a:cubicBezTo>
                  <a:lnTo>
                    <a:pt x="775254" y="1764722"/>
                  </a:lnTo>
                  <a:lnTo>
                    <a:pt x="775755" y="1764421"/>
                  </a:lnTo>
                  <a:cubicBezTo>
                    <a:pt x="776105" y="1764171"/>
                    <a:pt x="776507" y="1763870"/>
                    <a:pt x="776857" y="1763619"/>
                  </a:cubicBezTo>
                  <a:cubicBezTo>
                    <a:pt x="777959" y="1762717"/>
                    <a:pt x="779312" y="1761615"/>
                    <a:pt x="781116" y="1761565"/>
                  </a:cubicBezTo>
                  <a:cubicBezTo>
                    <a:pt x="790888" y="1761314"/>
                    <a:pt x="797753" y="1756955"/>
                    <a:pt x="803466" y="1747383"/>
                  </a:cubicBezTo>
                  <a:cubicBezTo>
                    <a:pt x="807825" y="1740068"/>
                    <a:pt x="812034" y="1735307"/>
                    <a:pt x="816695" y="1732451"/>
                  </a:cubicBezTo>
                  <a:cubicBezTo>
                    <a:pt x="827719" y="1725636"/>
                    <a:pt x="840848" y="1718069"/>
                    <a:pt x="856382" y="1713860"/>
                  </a:cubicBezTo>
                  <a:lnTo>
                    <a:pt x="857885" y="1713459"/>
                  </a:lnTo>
                  <a:lnTo>
                    <a:pt x="858988" y="1714561"/>
                  </a:lnTo>
                  <a:cubicBezTo>
                    <a:pt x="861744" y="1717368"/>
                    <a:pt x="864550" y="1720074"/>
                    <a:pt x="867356" y="1722780"/>
                  </a:cubicBezTo>
                  <a:cubicBezTo>
                    <a:pt x="873570" y="1728843"/>
                    <a:pt x="880034" y="1735157"/>
                    <a:pt x="885746" y="1741871"/>
                  </a:cubicBezTo>
                  <a:cubicBezTo>
                    <a:pt x="895869" y="1753848"/>
                    <a:pt x="903736" y="1767177"/>
                    <a:pt x="893163" y="1783463"/>
                  </a:cubicBezTo>
                  <a:cubicBezTo>
                    <a:pt x="892261" y="1784866"/>
                    <a:pt x="891760" y="1786971"/>
                    <a:pt x="891309" y="1788975"/>
                  </a:cubicBezTo>
                  <a:cubicBezTo>
                    <a:pt x="889504" y="1796942"/>
                    <a:pt x="892461" y="1802054"/>
                    <a:pt x="899978" y="1804459"/>
                  </a:cubicBezTo>
                  <a:cubicBezTo>
                    <a:pt x="906943" y="1806764"/>
                    <a:pt x="914560" y="1808267"/>
                    <a:pt x="923179" y="1804058"/>
                  </a:cubicBezTo>
                  <a:cubicBezTo>
                    <a:pt x="923529" y="1802855"/>
                    <a:pt x="923930" y="1801603"/>
                    <a:pt x="924331" y="1800350"/>
                  </a:cubicBezTo>
                  <a:cubicBezTo>
                    <a:pt x="925333" y="1797193"/>
                    <a:pt x="926386" y="1793836"/>
                    <a:pt x="927238" y="1790428"/>
                  </a:cubicBezTo>
                  <a:cubicBezTo>
                    <a:pt x="933501" y="1765724"/>
                    <a:pt x="939665" y="1741070"/>
                    <a:pt x="945878" y="1716365"/>
                  </a:cubicBezTo>
                  <a:lnTo>
                    <a:pt x="955500" y="1678081"/>
                  </a:lnTo>
                  <a:cubicBezTo>
                    <a:pt x="956101" y="1675726"/>
                    <a:pt x="956752" y="1673421"/>
                    <a:pt x="957404" y="1671066"/>
                  </a:cubicBezTo>
                  <a:lnTo>
                    <a:pt x="958005" y="1668861"/>
                  </a:lnTo>
                  <a:cubicBezTo>
                    <a:pt x="959909" y="1662146"/>
                    <a:pt x="959608" y="1656935"/>
                    <a:pt x="957003" y="1652575"/>
                  </a:cubicBezTo>
                  <a:cubicBezTo>
                    <a:pt x="950489" y="1641501"/>
                    <a:pt x="950338" y="1629475"/>
                    <a:pt x="950188" y="161789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16" name="Полилиния: фигура 115">
              <a:extLst>
                <a:ext uri="{FF2B5EF4-FFF2-40B4-BE49-F238E27FC236}">
                  <a16:creationId xmlns:a16="http://schemas.microsoft.com/office/drawing/2014/main" id="{437B35A4-15C3-4165-9B95-3CB567BCABFD}"/>
                </a:ext>
              </a:extLst>
            </p:cNvPr>
            <p:cNvSpPr/>
            <p:nvPr/>
          </p:nvSpPr>
          <p:spPr>
            <a:xfrm>
              <a:off x="9862099" y="2451121"/>
              <a:ext cx="1200764" cy="1375195"/>
            </a:xfrm>
            <a:custGeom>
              <a:avLst/>
              <a:gdLst>
                <a:gd name="connsiteX0" fmla="*/ 951957 w 962828"/>
                <a:gd name="connsiteY0" fmla="*/ 330499 h 1102695"/>
                <a:gd name="connsiteX1" fmla="*/ 938377 w 962828"/>
                <a:gd name="connsiteY1" fmla="*/ 293868 h 1102695"/>
                <a:gd name="connsiteX2" fmla="*/ 937074 w 962828"/>
                <a:gd name="connsiteY2" fmla="*/ 292365 h 1102695"/>
                <a:gd name="connsiteX3" fmla="*/ 934117 w 962828"/>
                <a:gd name="connsiteY3" fmla="*/ 289308 h 1102695"/>
                <a:gd name="connsiteX4" fmla="*/ 920387 w 962828"/>
                <a:gd name="connsiteY4" fmla="*/ 260695 h 1102695"/>
                <a:gd name="connsiteX5" fmla="*/ 919736 w 962828"/>
                <a:gd name="connsiteY5" fmla="*/ 246765 h 1102695"/>
                <a:gd name="connsiteX6" fmla="*/ 919285 w 962828"/>
                <a:gd name="connsiteY6" fmla="*/ 241453 h 1102695"/>
                <a:gd name="connsiteX7" fmla="*/ 898740 w 962828"/>
                <a:gd name="connsiteY7" fmla="*/ 229828 h 1102695"/>
                <a:gd name="connsiteX8" fmla="*/ 856096 w 962828"/>
                <a:gd name="connsiteY8" fmla="*/ 201064 h 1102695"/>
                <a:gd name="connsiteX9" fmla="*/ 855244 w 962828"/>
                <a:gd name="connsiteY9" fmla="*/ 200212 h 1102695"/>
                <a:gd name="connsiteX10" fmla="*/ 855244 w 962828"/>
                <a:gd name="connsiteY10" fmla="*/ 199010 h 1102695"/>
                <a:gd name="connsiteX11" fmla="*/ 846675 w 962828"/>
                <a:gd name="connsiteY11" fmla="*/ 153610 h 1102695"/>
                <a:gd name="connsiteX12" fmla="*/ 845573 w 962828"/>
                <a:gd name="connsiteY12" fmla="*/ 145292 h 1102695"/>
                <a:gd name="connsiteX13" fmla="*/ 836152 w 962828"/>
                <a:gd name="connsiteY13" fmla="*/ 127002 h 1102695"/>
                <a:gd name="connsiteX14" fmla="*/ 835100 w 962828"/>
                <a:gd name="connsiteY14" fmla="*/ 125999 h 1102695"/>
                <a:gd name="connsiteX15" fmla="*/ 824376 w 962828"/>
                <a:gd name="connsiteY15" fmla="*/ 115075 h 1102695"/>
                <a:gd name="connsiteX16" fmla="*/ 798219 w 962828"/>
                <a:gd name="connsiteY16" fmla="*/ 52087 h 1102695"/>
                <a:gd name="connsiteX17" fmla="*/ 785291 w 962828"/>
                <a:gd name="connsiteY17" fmla="*/ 15456 h 1102695"/>
                <a:gd name="connsiteX18" fmla="*/ 782134 w 962828"/>
                <a:gd name="connsiteY18" fmla="*/ 10445 h 1102695"/>
                <a:gd name="connsiteX19" fmla="*/ 771710 w 962828"/>
                <a:gd name="connsiteY19" fmla="*/ 3179 h 1102695"/>
                <a:gd name="connsiteX20" fmla="*/ 757279 w 962828"/>
                <a:gd name="connsiteY20" fmla="*/ 7689 h 1102695"/>
                <a:gd name="connsiteX21" fmla="*/ 749562 w 962828"/>
                <a:gd name="connsiteY21" fmla="*/ 16409 h 1102695"/>
                <a:gd name="connsiteX22" fmla="*/ 748410 w 962828"/>
                <a:gd name="connsiteY22" fmla="*/ 17912 h 1102695"/>
                <a:gd name="connsiteX23" fmla="*/ 740041 w 962828"/>
                <a:gd name="connsiteY23" fmla="*/ 29187 h 1102695"/>
                <a:gd name="connsiteX24" fmla="*/ 735381 w 962828"/>
                <a:gd name="connsiteY24" fmla="*/ 35551 h 1102695"/>
                <a:gd name="connsiteX25" fmla="*/ 734579 w 962828"/>
                <a:gd name="connsiteY25" fmla="*/ 36653 h 1102695"/>
                <a:gd name="connsiteX26" fmla="*/ 733226 w 962828"/>
                <a:gd name="connsiteY26" fmla="*/ 36653 h 1102695"/>
                <a:gd name="connsiteX27" fmla="*/ 718043 w 962828"/>
                <a:gd name="connsiteY27" fmla="*/ 37054 h 1102695"/>
                <a:gd name="connsiteX28" fmla="*/ 664375 w 962828"/>
                <a:gd name="connsiteY28" fmla="*/ 32744 h 1102695"/>
                <a:gd name="connsiteX29" fmla="*/ 637766 w 962828"/>
                <a:gd name="connsiteY29" fmla="*/ 35751 h 1102695"/>
                <a:gd name="connsiteX30" fmla="*/ 577233 w 962828"/>
                <a:gd name="connsiteY30" fmla="*/ 41213 h 1102695"/>
                <a:gd name="connsiteX31" fmla="*/ 528676 w 962828"/>
                <a:gd name="connsiteY31" fmla="*/ 41664 h 1102695"/>
                <a:gd name="connsiteX32" fmla="*/ 484379 w 962828"/>
                <a:gd name="connsiteY32" fmla="*/ 44621 h 1102695"/>
                <a:gd name="connsiteX33" fmla="*/ 482776 w 962828"/>
                <a:gd name="connsiteY33" fmla="*/ 44320 h 1102695"/>
                <a:gd name="connsiteX34" fmla="*/ 482274 w 962828"/>
                <a:gd name="connsiteY34" fmla="*/ 42766 h 1102695"/>
                <a:gd name="connsiteX35" fmla="*/ 479769 w 962828"/>
                <a:gd name="connsiteY35" fmla="*/ 34699 h 1102695"/>
                <a:gd name="connsiteX36" fmla="*/ 474207 w 962828"/>
                <a:gd name="connsiteY36" fmla="*/ 15757 h 1102695"/>
                <a:gd name="connsiteX37" fmla="*/ 459976 w 962828"/>
                <a:gd name="connsiteY37" fmla="*/ 1726 h 1102695"/>
                <a:gd name="connsiteX38" fmla="*/ 441134 w 962828"/>
                <a:gd name="connsiteY38" fmla="*/ 2077 h 1102695"/>
                <a:gd name="connsiteX39" fmla="*/ 423545 w 962828"/>
                <a:gd name="connsiteY39" fmla="*/ 25028 h 1102695"/>
                <a:gd name="connsiteX40" fmla="*/ 416680 w 962828"/>
                <a:gd name="connsiteY40" fmla="*/ 35450 h 1102695"/>
                <a:gd name="connsiteX41" fmla="*/ 414927 w 962828"/>
                <a:gd name="connsiteY41" fmla="*/ 39309 h 1102695"/>
                <a:gd name="connsiteX42" fmla="*/ 408362 w 962828"/>
                <a:gd name="connsiteY42" fmla="*/ 53691 h 1102695"/>
                <a:gd name="connsiteX43" fmla="*/ 402249 w 962828"/>
                <a:gd name="connsiteY43" fmla="*/ 67170 h 1102695"/>
                <a:gd name="connsiteX44" fmla="*/ 387366 w 962828"/>
                <a:gd name="connsiteY44" fmla="*/ 74286 h 1102695"/>
                <a:gd name="connsiteX45" fmla="*/ 372734 w 962828"/>
                <a:gd name="connsiteY45" fmla="*/ 70878 h 1102695"/>
                <a:gd name="connsiteX46" fmla="*/ 367422 w 962828"/>
                <a:gd name="connsiteY46" fmla="*/ 69475 h 1102695"/>
                <a:gd name="connsiteX47" fmla="*/ 313053 w 962828"/>
                <a:gd name="connsiteY47" fmla="*/ 95482 h 1102695"/>
                <a:gd name="connsiteX48" fmla="*/ 306789 w 962828"/>
                <a:gd name="connsiteY48" fmla="*/ 97086 h 1102695"/>
                <a:gd name="connsiteX49" fmla="*/ 299273 w 962828"/>
                <a:gd name="connsiteY49" fmla="*/ 98990 h 1102695"/>
                <a:gd name="connsiteX50" fmla="*/ 289050 w 962828"/>
                <a:gd name="connsiteY50" fmla="*/ 109463 h 1102695"/>
                <a:gd name="connsiteX51" fmla="*/ 286745 w 962828"/>
                <a:gd name="connsiteY51" fmla="*/ 116028 h 1102695"/>
                <a:gd name="connsiteX52" fmla="*/ 285642 w 962828"/>
                <a:gd name="connsiteY52" fmla="*/ 118583 h 1102695"/>
                <a:gd name="connsiteX53" fmla="*/ 285091 w 962828"/>
                <a:gd name="connsiteY53" fmla="*/ 119986 h 1102695"/>
                <a:gd name="connsiteX54" fmla="*/ 264496 w 962828"/>
                <a:gd name="connsiteY54" fmla="*/ 123344 h 1102695"/>
                <a:gd name="connsiteX55" fmla="*/ 266050 w 962828"/>
                <a:gd name="connsiteY55" fmla="*/ 140431 h 1102695"/>
                <a:gd name="connsiteX56" fmla="*/ 266300 w 962828"/>
                <a:gd name="connsiteY56" fmla="*/ 140982 h 1102695"/>
                <a:gd name="connsiteX57" fmla="*/ 265699 w 962828"/>
                <a:gd name="connsiteY57" fmla="*/ 163732 h 1102695"/>
                <a:gd name="connsiteX58" fmla="*/ 262893 w 962828"/>
                <a:gd name="connsiteY58" fmla="*/ 169345 h 1102695"/>
                <a:gd name="connsiteX59" fmla="*/ 259284 w 962828"/>
                <a:gd name="connsiteY59" fmla="*/ 176460 h 1102695"/>
                <a:gd name="connsiteX60" fmla="*/ 253472 w 962828"/>
                <a:gd name="connsiteY60" fmla="*/ 208731 h 1102695"/>
                <a:gd name="connsiteX61" fmla="*/ 254474 w 962828"/>
                <a:gd name="connsiteY61" fmla="*/ 211036 h 1102695"/>
                <a:gd name="connsiteX62" fmla="*/ 255075 w 962828"/>
                <a:gd name="connsiteY62" fmla="*/ 212189 h 1102695"/>
                <a:gd name="connsiteX63" fmla="*/ 271311 w 962828"/>
                <a:gd name="connsiteY63" fmla="*/ 225318 h 1102695"/>
                <a:gd name="connsiteX64" fmla="*/ 270209 w 962828"/>
                <a:gd name="connsiteY64" fmla="*/ 227322 h 1102695"/>
                <a:gd name="connsiteX65" fmla="*/ 267302 w 962828"/>
                <a:gd name="connsiteY65" fmla="*/ 232734 h 1102695"/>
                <a:gd name="connsiteX66" fmla="*/ 260537 w 962828"/>
                <a:gd name="connsiteY66" fmla="*/ 244259 h 1102695"/>
                <a:gd name="connsiteX67" fmla="*/ 252620 w 962828"/>
                <a:gd name="connsiteY67" fmla="*/ 271369 h 1102695"/>
                <a:gd name="connsiteX68" fmla="*/ 252620 w 962828"/>
                <a:gd name="connsiteY68" fmla="*/ 281241 h 1102695"/>
                <a:gd name="connsiteX69" fmla="*/ 266250 w 962828"/>
                <a:gd name="connsiteY69" fmla="*/ 307949 h 1102695"/>
                <a:gd name="connsiteX70" fmla="*/ 288799 w 962828"/>
                <a:gd name="connsiteY70" fmla="*/ 330198 h 1102695"/>
                <a:gd name="connsiteX71" fmla="*/ 289651 w 962828"/>
                <a:gd name="connsiteY71" fmla="*/ 331902 h 1102695"/>
                <a:gd name="connsiteX72" fmla="*/ 288348 w 962828"/>
                <a:gd name="connsiteY72" fmla="*/ 333255 h 1102695"/>
                <a:gd name="connsiteX73" fmla="*/ 288198 w 962828"/>
                <a:gd name="connsiteY73" fmla="*/ 359763 h 1102695"/>
                <a:gd name="connsiteX74" fmla="*/ 288950 w 962828"/>
                <a:gd name="connsiteY74" fmla="*/ 370737 h 1102695"/>
                <a:gd name="connsiteX75" fmla="*/ 288649 w 962828"/>
                <a:gd name="connsiteY75" fmla="*/ 377201 h 1102695"/>
                <a:gd name="connsiteX76" fmla="*/ 288649 w 962828"/>
                <a:gd name="connsiteY76" fmla="*/ 379106 h 1102695"/>
                <a:gd name="connsiteX77" fmla="*/ 286845 w 962828"/>
                <a:gd name="connsiteY77" fmla="*/ 379757 h 1102695"/>
                <a:gd name="connsiteX78" fmla="*/ 262993 w 962828"/>
                <a:gd name="connsiteY78" fmla="*/ 403609 h 1102695"/>
                <a:gd name="connsiteX79" fmla="*/ 255477 w 962828"/>
                <a:gd name="connsiteY79" fmla="*/ 418091 h 1102695"/>
                <a:gd name="connsiteX80" fmla="*/ 235683 w 962828"/>
                <a:gd name="connsiteY80" fmla="*/ 440190 h 1102695"/>
                <a:gd name="connsiteX81" fmla="*/ 221050 w 962828"/>
                <a:gd name="connsiteY81" fmla="*/ 458179 h 1102695"/>
                <a:gd name="connsiteX82" fmla="*/ 220349 w 962828"/>
                <a:gd name="connsiteY82" fmla="*/ 459933 h 1102695"/>
                <a:gd name="connsiteX83" fmla="*/ 204264 w 962828"/>
                <a:gd name="connsiteY83" fmla="*/ 476570 h 1102695"/>
                <a:gd name="connsiteX84" fmla="*/ 203412 w 962828"/>
                <a:gd name="connsiteY84" fmla="*/ 476820 h 1102695"/>
                <a:gd name="connsiteX85" fmla="*/ 202560 w 962828"/>
                <a:gd name="connsiteY85" fmla="*/ 476469 h 1102695"/>
                <a:gd name="connsiteX86" fmla="*/ 145685 w 962828"/>
                <a:gd name="connsiteY86" fmla="*/ 454170 h 1102695"/>
                <a:gd name="connsiteX87" fmla="*/ 143330 w 962828"/>
                <a:gd name="connsiteY87" fmla="*/ 457428 h 1102695"/>
                <a:gd name="connsiteX88" fmla="*/ 137567 w 962828"/>
                <a:gd name="connsiteY88" fmla="*/ 465245 h 1102695"/>
                <a:gd name="connsiteX89" fmla="*/ 98181 w 962828"/>
                <a:gd name="connsiteY89" fmla="*/ 487494 h 1102695"/>
                <a:gd name="connsiteX90" fmla="*/ 92017 w 962828"/>
                <a:gd name="connsiteY90" fmla="*/ 490701 h 1102695"/>
                <a:gd name="connsiteX91" fmla="*/ 89561 w 962828"/>
                <a:gd name="connsiteY91" fmla="*/ 492404 h 1102695"/>
                <a:gd name="connsiteX92" fmla="*/ 102591 w 962828"/>
                <a:gd name="connsiteY92" fmla="*/ 517359 h 1102695"/>
                <a:gd name="connsiteX93" fmla="*/ 102189 w 962828"/>
                <a:gd name="connsiteY93" fmla="*/ 518462 h 1102695"/>
                <a:gd name="connsiteX94" fmla="*/ 99283 w 962828"/>
                <a:gd name="connsiteY94" fmla="*/ 527131 h 1102695"/>
                <a:gd name="connsiteX95" fmla="*/ 92318 w 962828"/>
                <a:gd name="connsiteY95" fmla="*/ 545822 h 1102695"/>
                <a:gd name="connsiteX96" fmla="*/ 79891 w 962828"/>
                <a:gd name="connsiteY96" fmla="*/ 558650 h 1102695"/>
                <a:gd name="connsiteX97" fmla="*/ 69016 w 962828"/>
                <a:gd name="connsiteY97" fmla="*/ 558800 h 1102695"/>
                <a:gd name="connsiteX98" fmla="*/ 65308 w 962828"/>
                <a:gd name="connsiteY98" fmla="*/ 558199 h 1102695"/>
                <a:gd name="connsiteX99" fmla="*/ 17052 w 962828"/>
                <a:gd name="connsiteY99" fmla="*/ 582102 h 1102695"/>
                <a:gd name="connsiteX100" fmla="*/ 1518 w 962828"/>
                <a:gd name="connsiteY100" fmla="*/ 633114 h 1102695"/>
                <a:gd name="connsiteX101" fmla="*/ 215 w 962828"/>
                <a:gd name="connsiteY101" fmla="*/ 639327 h 1102695"/>
                <a:gd name="connsiteX102" fmla="*/ 416 w 962828"/>
                <a:gd name="connsiteY102" fmla="*/ 646192 h 1102695"/>
                <a:gd name="connsiteX103" fmla="*/ 616 w 962828"/>
                <a:gd name="connsiteY103" fmla="*/ 647896 h 1102695"/>
                <a:gd name="connsiteX104" fmla="*/ 2871 w 962828"/>
                <a:gd name="connsiteY104" fmla="*/ 666337 h 1102695"/>
                <a:gd name="connsiteX105" fmla="*/ 7131 w 962828"/>
                <a:gd name="connsiteY105" fmla="*/ 704320 h 1102695"/>
                <a:gd name="connsiteX106" fmla="*/ 20610 w 962828"/>
                <a:gd name="connsiteY106" fmla="*/ 727471 h 1102695"/>
                <a:gd name="connsiteX107" fmla="*/ 37297 w 962828"/>
                <a:gd name="connsiteY107" fmla="*/ 740800 h 1102695"/>
                <a:gd name="connsiteX108" fmla="*/ 46316 w 962828"/>
                <a:gd name="connsiteY108" fmla="*/ 748467 h 1102695"/>
                <a:gd name="connsiteX109" fmla="*/ 53533 w 962828"/>
                <a:gd name="connsiteY109" fmla="*/ 774675 h 1102695"/>
                <a:gd name="connsiteX110" fmla="*/ 52079 w 962828"/>
                <a:gd name="connsiteY110" fmla="*/ 790610 h 1102695"/>
                <a:gd name="connsiteX111" fmla="*/ 49975 w 962828"/>
                <a:gd name="connsiteY111" fmla="*/ 829295 h 1102695"/>
                <a:gd name="connsiteX112" fmla="*/ 47820 w 962828"/>
                <a:gd name="connsiteY112" fmla="*/ 859762 h 1102695"/>
                <a:gd name="connsiteX113" fmla="*/ 65409 w 962828"/>
                <a:gd name="connsiteY113" fmla="*/ 859160 h 1102695"/>
                <a:gd name="connsiteX114" fmla="*/ 69267 w 962828"/>
                <a:gd name="connsiteY114" fmla="*/ 858309 h 1102695"/>
                <a:gd name="connsiteX115" fmla="*/ 108203 w 962828"/>
                <a:gd name="connsiteY115" fmla="*/ 849239 h 1102695"/>
                <a:gd name="connsiteX116" fmla="*/ 137166 w 962828"/>
                <a:gd name="connsiteY116" fmla="*/ 853598 h 1102695"/>
                <a:gd name="connsiteX117" fmla="*/ 156208 w 962828"/>
                <a:gd name="connsiteY117" fmla="*/ 866526 h 1102695"/>
                <a:gd name="connsiteX118" fmla="*/ 174348 w 962828"/>
                <a:gd name="connsiteY118" fmla="*/ 878753 h 1102695"/>
                <a:gd name="connsiteX119" fmla="*/ 188178 w 962828"/>
                <a:gd name="connsiteY119" fmla="*/ 892834 h 1102695"/>
                <a:gd name="connsiteX120" fmla="*/ 213985 w 962828"/>
                <a:gd name="connsiteY120" fmla="*/ 944949 h 1102695"/>
                <a:gd name="connsiteX121" fmla="*/ 214486 w 962828"/>
                <a:gd name="connsiteY121" fmla="*/ 946151 h 1102695"/>
                <a:gd name="connsiteX122" fmla="*/ 213835 w 962828"/>
                <a:gd name="connsiteY122" fmla="*/ 947304 h 1102695"/>
                <a:gd name="connsiteX123" fmla="*/ 209224 w 962828"/>
                <a:gd name="connsiteY123" fmla="*/ 955021 h 1102695"/>
                <a:gd name="connsiteX124" fmla="*/ 212031 w 962828"/>
                <a:gd name="connsiteY124" fmla="*/ 983032 h 1102695"/>
                <a:gd name="connsiteX125" fmla="*/ 213835 w 962828"/>
                <a:gd name="connsiteY125" fmla="*/ 987893 h 1102695"/>
                <a:gd name="connsiteX126" fmla="*/ 211630 w 962828"/>
                <a:gd name="connsiteY126" fmla="*/ 988946 h 1102695"/>
                <a:gd name="connsiteX127" fmla="*/ 195946 w 962828"/>
                <a:gd name="connsiteY127" fmla="*/ 996562 h 1102695"/>
                <a:gd name="connsiteX128" fmla="*/ 187778 w 962828"/>
                <a:gd name="connsiteY128" fmla="*/ 1000521 h 1102695"/>
                <a:gd name="connsiteX129" fmla="*/ 187427 w 962828"/>
                <a:gd name="connsiteY129" fmla="*/ 1006634 h 1102695"/>
                <a:gd name="connsiteX130" fmla="*/ 188980 w 962828"/>
                <a:gd name="connsiteY130" fmla="*/ 1030286 h 1102695"/>
                <a:gd name="connsiteX131" fmla="*/ 215689 w 962828"/>
                <a:gd name="connsiteY131" fmla="*/ 1033093 h 1102695"/>
                <a:gd name="connsiteX132" fmla="*/ 216591 w 962828"/>
                <a:gd name="connsiteY132" fmla="*/ 1032992 h 1102695"/>
                <a:gd name="connsiteX133" fmla="*/ 280832 w 962828"/>
                <a:gd name="connsiteY133" fmla="*/ 1050731 h 1102695"/>
                <a:gd name="connsiteX134" fmla="*/ 318565 w 962828"/>
                <a:gd name="connsiteY134" fmla="*/ 1100992 h 1102695"/>
                <a:gd name="connsiteX135" fmla="*/ 319567 w 962828"/>
                <a:gd name="connsiteY135" fmla="*/ 1101743 h 1102695"/>
                <a:gd name="connsiteX136" fmla="*/ 320870 w 962828"/>
                <a:gd name="connsiteY136" fmla="*/ 1102695 h 1102695"/>
                <a:gd name="connsiteX137" fmla="*/ 360156 w 962828"/>
                <a:gd name="connsiteY137" fmla="*/ 1082802 h 1102695"/>
                <a:gd name="connsiteX138" fmla="*/ 363163 w 962828"/>
                <a:gd name="connsiteY138" fmla="*/ 1079695 h 1102695"/>
                <a:gd name="connsiteX139" fmla="*/ 365217 w 962828"/>
                <a:gd name="connsiteY139" fmla="*/ 1077640 h 1102695"/>
                <a:gd name="connsiteX140" fmla="*/ 399894 w 962828"/>
                <a:gd name="connsiteY140" fmla="*/ 1060553 h 1102695"/>
                <a:gd name="connsiteX141" fmla="*/ 406508 w 962828"/>
                <a:gd name="connsiteY141" fmla="*/ 1059050 h 1102695"/>
                <a:gd name="connsiteX142" fmla="*/ 408512 w 962828"/>
                <a:gd name="connsiteY142" fmla="*/ 1058398 h 1102695"/>
                <a:gd name="connsiteX143" fmla="*/ 408062 w 962828"/>
                <a:gd name="connsiteY143" fmla="*/ 1056394 h 1102695"/>
                <a:gd name="connsiteX144" fmla="*/ 413674 w 962828"/>
                <a:gd name="connsiteY144" fmla="*/ 1020515 h 1102695"/>
                <a:gd name="connsiteX145" fmla="*/ 414676 w 962828"/>
                <a:gd name="connsiteY145" fmla="*/ 1014351 h 1102695"/>
                <a:gd name="connsiteX146" fmla="*/ 414826 w 962828"/>
                <a:gd name="connsiteY146" fmla="*/ 1010794 h 1102695"/>
                <a:gd name="connsiteX147" fmla="*/ 415779 w 962828"/>
                <a:gd name="connsiteY147" fmla="*/ 997915 h 1102695"/>
                <a:gd name="connsiteX148" fmla="*/ 416380 w 962828"/>
                <a:gd name="connsiteY148" fmla="*/ 989497 h 1102695"/>
                <a:gd name="connsiteX149" fmla="*/ 417733 w 962828"/>
                <a:gd name="connsiteY149" fmla="*/ 988795 h 1102695"/>
                <a:gd name="connsiteX150" fmla="*/ 467192 w 962828"/>
                <a:gd name="connsiteY150" fmla="*/ 971457 h 1102695"/>
                <a:gd name="connsiteX151" fmla="*/ 503070 w 962828"/>
                <a:gd name="connsiteY151" fmla="*/ 967799 h 1102695"/>
                <a:gd name="connsiteX152" fmla="*/ 517502 w 962828"/>
                <a:gd name="connsiteY152" fmla="*/ 966997 h 1102695"/>
                <a:gd name="connsiteX153" fmla="*/ 547618 w 962828"/>
                <a:gd name="connsiteY153" fmla="*/ 942844 h 1102695"/>
                <a:gd name="connsiteX154" fmla="*/ 552428 w 962828"/>
                <a:gd name="connsiteY154" fmla="*/ 940339 h 1102695"/>
                <a:gd name="connsiteX155" fmla="*/ 553582 w 962828"/>
                <a:gd name="connsiteY155" fmla="*/ 939737 h 1102695"/>
                <a:gd name="connsiteX156" fmla="*/ 554784 w 962828"/>
                <a:gd name="connsiteY156" fmla="*/ 940289 h 1102695"/>
                <a:gd name="connsiteX157" fmla="*/ 561048 w 962828"/>
                <a:gd name="connsiteY157" fmla="*/ 943045 h 1102695"/>
                <a:gd name="connsiteX158" fmla="*/ 574377 w 962828"/>
                <a:gd name="connsiteY158" fmla="*/ 949359 h 1102695"/>
                <a:gd name="connsiteX159" fmla="*/ 603090 w 962828"/>
                <a:gd name="connsiteY159" fmla="*/ 951714 h 1102695"/>
                <a:gd name="connsiteX160" fmla="*/ 616269 w 962828"/>
                <a:gd name="connsiteY160" fmla="*/ 950110 h 1102695"/>
                <a:gd name="connsiteX161" fmla="*/ 625039 w 962828"/>
                <a:gd name="connsiteY161" fmla="*/ 957677 h 1102695"/>
                <a:gd name="connsiteX162" fmla="*/ 620779 w 962828"/>
                <a:gd name="connsiteY162" fmla="*/ 970956 h 1102695"/>
                <a:gd name="connsiteX163" fmla="*/ 599733 w 962828"/>
                <a:gd name="connsiteY163" fmla="*/ 985338 h 1102695"/>
                <a:gd name="connsiteX164" fmla="*/ 582395 w 962828"/>
                <a:gd name="connsiteY164" fmla="*/ 998517 h 1102695"/>
                <a:gd name="connsiteX165" fmla="*/ 587656 w 962828"/>
                <a:gd name="connsiteY165" fmla="*/ 1012397 h 1102695"/>
                <a:gd name="connsiteX166" fmla="*/ 608452 w 962828"/>
                <a:gd name="connsiteY166" fmla="*/ 1000320 h 1102695"/>
                <a:gd name="connsiteX167" fmla="*/ 611609 w 962828"/>
                <a:gd name="connsiteY167" fmla="*/ 995761 h 1102695"/>
                <a:gd name="connsiteX168" fmla="*/ 623535 w 962828"/>
                <a:gd name="connsiteY168" fmla="*/ 979024 h 1102695"/>
                <a:gd name="connsiteX169" fmla="*/ 643228 w 962828"/>
                <a:gd name="connsiteY169" fmla="*/ 967949 h 1102695"/>
                <a:gd name="connsiteX170" fmla="*/ 667231 w 962828"/>
                <a:gd name="connsiteY170" fmla="*/ 943496 h 1102695"/>
                <a:gd name="connsiteX171" fmla="*/ 699301 w 962828"/>
                <a:gd name="connsiteY171" fmla="*/ 906113 h 1102695"/>
                <a:gd name="connsiteX172" fmla="*/ 706517 w 962828"/>
                <a:gd name="connsiteY172" fmla="*/ 904460 h 1102695"/>
                <a:gd name="connsiteX173" fmla="*/ 715487 w 962828"/>
                <a:gd name="connsiteY173" fmla="*/ 902506 h 1102695"/>
                <a:gd name="connsiteX174" fmla="*/ 733126 w 962828"/>
                <a:gd name="connsiteY174" fmla="*/ 884817 h 1102695"/>
                <a:gd name="connsiteX175" fmla="*/ 734880 w 962828"/>
                <a:gd name="connsiteY175" fmla="*/ 879856 h 1102695"/>
                <a:gd name="connsiteX176" fmla="*/ 735231 w 962828"/>
                <a:gd name="connsiteY176" fmla="*/ 879054 h 1102695"/>
                <a:gd name="connsiteX177" fmla="*/ 735581 w 962828"/>
                <a:gd name="connsiteY177" fmla="*/ 878152 h 1102695"/>
                <a:gd name="connsiteX178" fmla="*/ 766399 w 962828"/>
                <a:gd name="connsiteY178" fmla="*/ 861014 h 1102695"/>
                <a:gd name="connsiteX179" fmla="*/ 756527 w 962828"/>
                <a:gd name="connsiteY179" fmla="*/ 846683 h 1102695"/>
                <a:gd name="connsiteX180" fmla="*/ 739039 w 962828"/>
                <a:gd name="connsiteY180" fmla="*/ 848737 h 1102695"/>
                <a:gd name="connsiteX181" fmla="*/ 727513 w 962828"/>
                <a:gd name="connsiteY181" fmla="*/ 863921 h 1102695"/>
                <a:gd name="connsiteX182" fmla="*/ 699201 w 962828"/>
                <a:gd name="connsiteY182" fmla="*/ 876548 h 1102695"/>
                <a:gd name="connsiteX183" fmla="*/ 697096 w 962828"/>
                <a:gd name="connsiteY183" fmla="*/ 876248 h 1102695"/>
                <a:gd name="connsiteX184" fmla="*/ 694040 w 962828"/>
                <a:gd name="connsiteY184" fmla="*/ 844979 h 1102695"/>
                <a:gd name="connsiteX185" fmla="*/ 693188 w 962828"/>
                <a:gd name="connsiteY185" fmla="*/ 843927 h 1102695"/>
                <a:gd name="connsiteX186" fmla="*/ 690432 w 962828"/>
                <a:gd name="connsiteY186" fmla="*/ 841071 h 1102695"/>
                <a:gd name="connsiteX187" fmla="*/ 676401 w 962828"/>
                <a:gd name="connsiteY187" fmla="*/ 810153 h 1102695"/>
                <a:gd name="connsiteX188" fmla="*/ 676251 w 962828"/>
                <a:gd name="connsiteY188" fmla="*/ 767860 h 1102695"/>
                <a:gd name="connsiteX189" fmla="*/ 684970 w 962828"/>
                <a:gd name="connsiteY189" fmla="*/ 732532 h 1102695"/>
                <a:gd name="connsiteX190" fmla="*/ 701256 w 962828"/>
                <a:gd name="connsiteY190" fmla="*/ 684477 h 1102695"/>
                <a:gd name="connsiteX191" fmla="*/ 698650 w 962828"/>
                <a:gd name="connsiteY191" fmla="*/ 661626 h 1102695"/>
                <a:gd name="connsiteX192" fmla="*/ 695443 w 962828"/>
                <a:gd name="connsiteY192" fmla="*/ 648497 h 1102695"/>
                <a:gd name="connsiteX193" fmla="*/ 695292 w 962828"/>
                <a:gd name="connsiteY193" fmla="*/ 646794 h 1102695"/>
                <a:gd name="connsiteX194" fmla="*/ 703110 w 962828"/>
                <a:gd name="connsiteY194" fmla="*/ 600342 h 1102695"/>
                <a:gd name="connsiteX195" fmla="*/ 699602 w 962828"/>
                <a:gd name="connsiteY195" fmla="*/ 592825 h 1102695"/>
                <a:gd name="connsiteX196" fmla="*/ 690482 w 962828"/>
                <a:gd name="connsiteY196" fmla="*/ 573633 h 1102695"/>
                <a:gd name="connsiteX197" fmla="*/ 690382 w 962828"/>
                <a:gd name="connsiteY197" fmla="*/ 553238 h 1102695"/>
                <a:gd name="connsiteX198" fmla="*/ 710376 w 962828"/>
                <a:gd name="connsiteY198" fmla="*/ 509442 h 1102695"/>
                <a:gd name="connsiteX199" fmla="*/ 717441 w 962828"/>
                <a:gd name="connsiteY199" fmla="*/ 493808 h 1102695"/>
                <a:gd name="connsiteX200" fmla="*/ 718493 w 962828"/>
                <a:gd name="connsiteY200" fmla="*/ 493407 h 1102695"/>
                <a:gd name="connsiteX201" fmla="*/ 719897 w 962828"/>
                <a:gd name="connsiteY201" fmla="*/ 492805 h 1102695"/>
                <a:gd name="connsiteX202" fmla="*/ 725559 w 962828"/>
                <a:gd name="connsiteY202" fmla="*/ 491252 h 1102695"/>
                <a:gd name="connsiteX203" fmla="*/ 748159 w 962828"/>
                <a:gd name="connsiteY203" fmla="*/ 477522 h 1102695"/>
                <a:gd name="connsiteX204" fmla="*/ 757580 w 962828"/>
                <a:gd name="connsiteY204" fmla="*/ 463391 h 1102695"/>
                <a:gd name="connsiteX205" fmla="*/ 758732 w 962828"/>
                <a:gd name="connsiteY205" fmla="*/ 461737 h 1102695"/>
                <a:gd name="connsiteX206" fmla="*/ 772162 w 962828"/>
                <a:gd name="connsiteY206" fmla="*/ 442244 h 1102695"/>
                <a:gd name="connsiteX207" fmla="*/ 782685 w 962828"/>
                <a:gd name="connsiteY207" fmla="*/ 426961 h 1102695"/>
                <a:gd name="connsiteX208" fmla="*/ 783737 w 962828"/>
                <a:gd name="connsiteY208" fmla="*/ 426760 h 1102695"/>
                <a:gd name="connsiteX209" fmla="*/ 828285 w 962828"/>
                <a:gd name="connsiteY209" fmla="*/ 428113 h 1102695"/>
                <a:gd name="connsiteX210" fmla="*/ 835852 w 962828"/>
                <a:gd name="connsiteY210" fmla="*/ 404461 h 1102695"/>
                <a:gd name="connsiteX211" fmla="*/ 838558 w 962828"/>
                <a:gd name="connsiteY211" fmla="*/ 387574 h 1102695"/>
                <a:gd name="connsiteX212" fmla="*/ 839660 w 962828"/>
                <a:gd name="connsiteY212" fmla="*/ 384066 h 1102695"/>
                <a:gd name="connsiteX213" fmla="*/ 842666 w 962828"/>
                <a:gd name="connsiteY213" fmla="*/ 386171 h 1102695"/>
                <a:gd name="connsiteX214" fmla="*/ 871731 w 962828"/>
                <a:gd name="connsiteY214" fmla="*/ 416788 h 1102695"/>
                <a:gd name="connsiteX215" fmla="*/ 878095 w 962828"/>
                <a:gd name="connsiteY215" fmla="*/ 432974 h 1102695"/>
                <a:gd name="connsiteX216" fmla="*/ 878646 w 962828"/>
                <a:gd name="connsiteY216" fmla="*/ 446203 h 1102695"/>
                <a:gd name="connsiteX217" fmla="*/ 880650 w 962828"/>
                <a:gd name="connsiteY217" fmla="*/ 465145 h 1102695"/>
                <a:gd name="connsiteX218" fmla="*/ 893227 w 962828"/>
                <a:gd name="connsiteY218" fmla="*/ 484888 h 1102695"/>
                <a:gd name="connsiteX219" fmla="*/ 899541 w 962828"/>
                <a:gd name="connsiteY219" fmla="*/ 493206 h 1102695"/>
                <a:gd name="connsiteX220" fmla="*/ 900042 w 962828"/>
                <a:gd name="connsiteY220" fmla="*/ 493457 h 1102695"/>
                <a:gd name="connsiteX221" fmla="*/ 900594 w 962828"/>
                <a:gd name="connsiteY221" fmla="*/ 493707 h 1102695"/>
                <a:gd name="connsiteX222" fmla="*/ 900644 w 962828"/>
                <a:gd name="connsiteY222" fmla="*/ 493707 h 1102695"/>
                <a:gd name="connsiteX223" fmla="*/ 907910 w 962828"/>
                <a:gd name="connsiteY223" fmla="*/ 488596 h 1102695"/>
                <a:gd name="connsiteX224" fmla="*/ 913923 w 962828"/>
                <a:gd name="connsiteY224" fmla="*/ 484537 h 1102695"/>
                <a:gd name="connsiteX225" fmla="*/ 920287 w 962828"/>
                <a:gd name="connsiteY225" fmla="*/ 480278 h 1102695"/>
                <a:gd name="connsiteX226" fmla="*/ 934919 w 962828"/>
                <a:gd name="connsiteY226" fmla="*/ 502928 h 1102695"/>
                <a:gd name="connsiteX227" fmla="*/ 936272 w 962828"/>
                <a:gd name="connsiteY227" fmla="*/ 497466 h 1102695"/>
                <a:gd name="connsiteX228" fmla="*/ 940081 w 962828"/>
                <a:gd name="connsiteY228" fmla="*/ 481280 h 1102695"/>
                <a:gd name="connsiteX229" fmla="*/ 947797 w 962828"/>
                <a:gd name="connsiteY229" fmla="*/ 440140 h 1102695"/>
                <a:gd name="connsiteX230" fmla="*/ 961728 w 962828"/>
                <a:gd name="connsiteY230" fmla="*/ 367480 h 1102695"/>
                <a:gd name="connsiteX231" fmla="*/ 955915 w 962828"/>
                <a:gd name="connsiteY231" fmla="*/ 336362 h 1102695"/>
                <a:gd name="connsiteX232" fmla="*/ 951857 w 962828"/>
                <a:gd name="connsiteY232" fmla="*/ 330649 h 1102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</a:cxnLst>
              <a:rect l="l" t="t" r="r" b="b"/>
              <a:pathLst>
                <a:path w="962828" h="1102695">
                  <a:moveTo>
                    <a:pt x="951957" y="330499"/>
                  </a:moveTo>
                  <a:cubicBezTo>
                    <a:pt x="944190" y="319725"/>
                    <a:pt x="936122" y="308601"/>
                    <a:pt x="938377" y="293868"/>
                  </a:cubicBezTo>
                  <a:cubicBezTo>
                    <a:pt x="937926" y="293317"/>
                    <a:pt x="937475" y="292816"/>
                    <a:pt x="937074" y="292365"/>
                  </a:cubicBezTo>
                  <a:cubicBezTo>
                    <a:pt x="935921" y="291012"/>
                    <a:pt x="935070" y="289960"/>
                    <a:pt x="934117" y="289308"/>
                  </a:cubicBezTo>
                  <a:cubicBezTo>
                    <a:pt x="924246" y="282644"/>
                    <a:pt x="919786" y="273273"/>
                    <a:pt x="920387" y="260695"/>
                  </a:cubicBezTo>
                  <a:cubicBezTo>
                    <a:pt x="920638" y="256135"/>
                    <a:pt x="920187" y="251575"/>
                    <a:pt x="919736" y="246765"/>
                  </a:cubicBezTo>
                  <a:cubicBezTo>
                    <a:pt x="919585" y="245011"/>
                    <a:pt x="919435" y="243207"/>
                    <a:pt x="919285" y="241453"/>
                  </a:cubicBezTo>
                  <a:cubicBezTo>
                    <a:pt x="912570" y="237244"/>
                    <a:pt x="905555" y="233486"/>
                    <a:pt x="898740" y="229828"/>
                  </a:cubicBezTo>
                  <a:cubicBezTo>
                    <a:pt x="884108" y="222010"/>
                    <a:pt x="869024" y="213943"/>
                    <a:pt x="856096" y="201064"/>
                  </a:cubicBezTo>
                  <a:lnTo>
                    <a:pt x="855244" y="200212"/>
                  </a:lnTo>
                  <a:lnTo>
                    <a:pt x="855244" y="199010"/>
                  </a:lnTo>
                  <a:cubicBezTo>
                    <a:pt x="856196" y="182473"/>
                    <a:pt x="853290" y="167190"/>
                    <a:pt x="846675" y="153610"/>
                  </a:cubicBezTo>
                  <a:cubicBezTo>
                    <a:pt x="845423" y="151054"/>
                    <a:pt x="845373" y="147948"/>
                    <a:pt x="845573" y="145292"/>
                  </a:cubicBezTo>
                  <a:cubicBezTo>
                    <a:pt x="845974" y="138026"/>
                    <a:pt x="842316" y="132915"/>
                    <a:pt x="836152" y="127002"/>
                  </a:cubicBezTo>
                  <a:lnTo>
                    <a:pt x="835100" y="125999"/>
                  </a:lnTo>
                  <a:cubicBezTo>
                    <a:pt x="831492" y="122492"/>
                    <a:pt x="827784" y="118934"/>
                    <a:pt x="824376" y="115075"/>
                  </a:cubicBezTo>
                  <a:cubicBezTo>
                    <a:pt x="809343" y="98138"/>
                    <a:pt x="794961" y="79297"/>
                    <a:pt x="798219" y="52087"/>
                  </a:cubicBezTo>
                  <a:cubicBezTo>
                    <a:pt x="799872" y="38407"/>
                    <a:pt x="792456" y="26731"/>
                    <a:pt x="785291" y="15456"/>
                  </a:cubicBezTo>
                  <a:cubicBezTo>
                    <a:pt x="784238" y="13803"/>
                    <a:pt x="783186" y="12099"/>
                    <a:pt x="782134" y="10445"/>
                  </a:cubicBezTo>
                  <a:cubicBezTo>
                    <a:pt x="779628" y="6387"/>
                    <a:pt x="776020" y="3881"/>
                    <a:pt x="771710" y="3179"/>
                  </a:cubicBezTo>
                  <a:cubicBezTo>
                    <a:pt x="766900" y="2378"/>
                    <a:pt x="761638" y="4031"/>
                    <a:pt x="757279" y="7689"/>
                  </a:cubicBezTo>
                  <a:cubicBezTo>
                    <a:pt x="754423" y="10045"/>
                    <a:pt x="752068" y="13151"/>
                    <a:pt x="749562" y="16409"/>
                  </a:cubicBezTo>
                  <a:lnTo>
                    <a:pt x="748410" y="17912"/>
                  </a:lnTo>
                  <a:cubicBezTo>
                    <a:pt x="745603" y="21520"/>
                    <a:pt x="742897" y="25278"/>
                    <a:pt x="740041" y="29187"/>
                  </a:cubicBezTo>
                  <a:cubicBezTo>
                    <a:pt x="738537" y="31241"/>
                    <a:pt x="736984" y="33346"/>
                    <a:pt x="735381" y="35551"/>
                  </a:cubicBezTo>
                  <a:lnTo>
                    <a:pt x="734579" y="36653"/>
                  </a:lnTo>
                  <a:lnTo>
                    <a:pt x="733226" y="36653"/>
                  </a:lnTo>
                  <a:cubicBezTo>
                    <a:pt x="728165" y="36653"/>
                    <a:pt x="723104" y="36853"/>
                    <a:pt x="718043" y="37054"/>
                  </a:cubicBezTo>
                  <a:cubicBezTo>
                    <a:pt x="700404" y="37655"/>
                    <a:pt x="682214" y="38307"/>
                    <a:pt x="664375" y="32744"/>
                  </a:cubicBezTo>
                  <a:cubicBezTo>
                    <a:pt x="652899" y="29187"/>
                    <a:pt x="644932" y="30089"/>
                    <a:pt x="637766" y="35751"/>
                  </a:cubicBezTo>
                  <a:cubicBezTo>
                    <a:pt x="621180" y="48880"/>
                    <a:pt x="601937" y="50634"/>
                    <a:pt x="577233" y="41213"/>
                  </a:cubicBezTo>
                  <a:cubicBezTo>
                    <a:pt x="560296" y="34749"/>
                    <a:pt x="543960" y="34899"/>
                    <a:pt x="528676" y="41664"/>
                  </a:cubicBezTo>
                  <a:cubicBezTo>
                    <a:pt x="513243" y="48479"/>
                    <a:pt x="498260" y="47126"/>
                    <a:pt x="484379" y="44621"/>
                  </a:cubicBezTo>
                  <a:lnTo>
                    <a:pt x="482776" y="44320"/>
                  </a:lnTo>
                  <a:lnTo>
                    <a:pt x="482274" y="42766"/>
                  </a:lnTo>
                  <a:cubicBezTo>
                    <a:pt x="481473" y="40061"/>
                    <a:pt x="480621" y="37355"/>
                    <a:pt x="479769" y="34699"/>
                  </a:cubicBezTo>
                  <a:cubicBezTo>
                    <a:pt x="477865" y="28535"/>
                    <a:pt x="475861" y="22121"/>
                    <a:pt x="474207" y="15757"/>
                  </a:cubicBezTo>
                  <a:cubicBezTo>
                    <a:pt x="472453" y="8842"/>
                    <a:pt x="468043" y="4482"/>
                    <a:pt x="459976" y="1726"/>
                  </a:cubicBezTo>
                  <a:cubicBezTo>
                    <a:pt x="453010" y="-679"/>
                    <a:pt x="447298" y="-579"/>
                    <a:pt x="441134" y="2077"/>
                  </a:cubicBezTo>
                  <a:cubicBezTo>
                    <a:pt x="438528" y="12450"/>
                    <a:pt x="432766" y="19916"/>
                    <a:pt x="423545" y="25028"/>
                  </a:cubicBezTo>
                  <a:cubicBezTo>
                    <a:pt x="420639" y="26631"/>
                    <a:pt x="418635" y="31091"/>
                    <a:pt x="416680" y="35450"/>
                  </a:cubicBezTo>
                  <a:cubicBezTo>
                    <a:pt x="416079" y="36753"/>
                    <a:pt x="415528" y="38056"/>
                    <a:pt x="414927" y="39309"/>
                  </a:cubicBezTo>
                  <a:cubicBezTo>
                    <a:pt x="412622" y="44019"/>
                    <a:pt x="410467" y="48880"/>
                    <a:pt x="408362" y="53691"/>
                  </a:cubicBezTo>
                  <a:cubicBezTo>
                    <a:pt x="406358" y="58200"/>
                    <a:pt x="404404" y="62710"/>
                    <a:pt x="402249" y="67170"/>
                  </a:cubicBezTo>
                  <a:cubicBezTo>
                    <a:pt x="399593" y="72632"/>
                    <a:pt x="393930" y="75388"/>
                    <a:pt x="387366" y="74286"/>
                  </a:cubicBezTo>
                  <a:cubicBezTo>
                    <a:pt x="382506" y="73484"/>
                    <a:pt x="377745" y="72231"/>
                    <a:pt x="372734" y="70878"/>
                  </a:cubicBezTo>
                  <a:cubicBezTo>
                    <a:pt x="370980" y="70427"/>
                    <a:pt x="369226" y="69926"/>
                    <a:pt x="367422" y="69475"/>
                  </a:cubicBezTo>
                  <a:cubicBezTo>
                    <a:pt x="352589" y="84809"/>
                    <a:pt x="333247" y="90571"/>
                    <a:pt x="313053" y="95482"/>
                  </a:cubicBezTo>
                  <a:cubicBezTo>
                    <a:pt x="310948" y="95983"/>
                    <a:pt x="308894" y="96535"/>
                    <a:pt x="306789" y="97086"/>
                  </a:cubicBezTo>
                  <a:cubicBezTo>
                    <a:pt x="304284" y="97737"/>
                    <a:pt x="301778" y="98389"/>
                    <a:pt x="299273" y="98990"/>
                  </a:cubicBezTo>
                  <a:cubicBezTo>
                    <a:pt x="293159" y="100443"/>
                    <a:pt x="290002" y="103700"/>
                    <a:pt x="289050" y="109463"/>
                  </a:cubicBezTo>
                  <a:cubicBezTo>
                    <a:pt x="288649" y="111818"/>
                    <a:pt x="287697" y="113973"/>
                    <a:pt x="286745" y="116028"/>
                  </a:cubicBezTo>
                  <a:cubicBezTo>
                    <a:pt x="286344" y="116879"/>
                    <a:pt x="285993" y="117731"/>
                    <a:pt x="285642" y="118583"/>
                  </a:cubicBezTo>
                  <a:lnTo>
                    <a:pt x="285091" y="119986"/>
                  </a:lnTo>
                  <a:lnTo>
                    <a:pt x="264496" y="123344"/>
                  </a:lnTo>
                  <a:cubicBezTo>
                    <a:pt x="261039" y="129707"/>
                    <a:pt x="263394" y="134718"/>
                    <a:pt x="266050" y="140431"/>
                  </a:cubicBezTo>
                  <a:lnTo>
                    <a:pt x="266300" y="140982"/>
                  </a:lnTo>
                  <a:cubicBezTo>
                    <a:pt x="269958" y="148649"/>
                    <a:pt x="269758" y="156116"/>
                    <a:pt x="265699" y="163732"/>
                  </a:cubicBezTo>
                  <a:cubicBezTo>
                    <a:pt x="264697" y="165586"/>
                    <a:pt x="263794" y="167491"/>
                    <a:pt x="262893" y="169345"/>
                  </a:cubicBezTo>
                  <a:cubicBezTo>
                    <a:pt x="261740" y="171750"/>
                    <a:pt x="260587" y="174155"/>
                    <a:pt x="259284" y="176460"/>
                  </a:cubicBezTo>
                  <a:cubicBezTo>
                    <a:pt x="253271" y="187134"/>
                    <a:pt x="251367" y="197707"/>
                    <a:pt x="253472" y="208731"/>
                  </a:cubicBezTo>
                  <a:cubicBezTo>
                    <a:pt x="253572" y="209383"/>
                    <a:pt x="253973" y="210134"/>
                    <a:pt x="254474" y="211036"/>
                  </a:cubicBezTo>
                  <a:cubicBezTo>
                    <a:pt x="254675" y="211387"/>
                    <a:pt x="254875" y="211788"/>
                    <a:pt x="255075" y="212189"/>
                  </a:cubicBezTo>
                  <a:lnTo>
                    <a:pt x="271311" y="225318"/>
                  </a:lnTo>
                  <a:lnTo>
                    <a:pt x="270209" y="227322"/>
                  </a:lnTo>
                  <a:cubicBezTo>
                    <a:pt x="269157" y="229176"/>
                    <a:pt x="268204" y="230980"/>
                    <a:pt x="267302" y="232734"/>
                  </a:cubicBezTo>
                  <a:cubicBezTo>
                    <a:pt x="265147" y="236793"/>
                    <a:pt x="263093" y="240651"/>
                    <a:pt x="260537" y="244259"/>
                  </a:cubicBezTo>
                  <a:cubicBezTo>
                    <a:pt x="254574" y="252427"/>
                    <a:pt x="252019" y="261297"/>
                    <a:pt x="252620" y="271369"/>
                  </a:cubicBezTo>
                  <a:cubicBezTo>
                    <a:pt x="252871" y="275227"/>
                    <a:pt x="252871" y="278384"/>
                    <a:pt x="252620" y="281241"/>
                  </a:cubicBezTo>
                  <a:cubicBezTo>
                    <a:pt x="251417" y="293918"/>
                    <a:pt x="255576" y="302136"/>
                    <a:pt x="266250" y="307949"/>
                  </a:cubicBezTo>
                  <a:cubicBezTo>
                    <a:pt x="274017" y="312209"/>
                    <a:pt x="282786" y="318172"/>
                    <a:pt x="288799" y="330198"/>
                  </a:cubicBezTo>
                  <a:lnTo>
                    <a:pt x="289651" y="331902"/>
                  </a:lnTo>
                  <a:lnTo>
                    <a:pt x="288348" y="333255"/>
                  </a:lnTo>
                  <a:cubicBezTo>
                    <a:pt x="281182" y="340721"/>
                    <a:pt x="283788" y="348939"/>
                    <a:pt x="288198" y="359763"/>
                  </a:cubicBezTo>
                  <a:cubicBezTo>
                    <a:pt x="289501" y="363020"/>
                    <a:pt x="289251" y="366628"/>
                    <a:pt x="288950" y="370737"/>
                  </a:cubicBezTo>
                  <a:cubicBezTo>
                    <a:pt x="288799" y="372691"/>
                    <a:pt x="288649" y="374846"/>
                    <a:pt x="288649" y="377201"/>
                  </a:cubicBezTo>
                  <a:lnTo>
                    <a:pt x="288649" y="379106"/>
                  </a:lnTo>
                  <a:lnTo>
                    <a:pt x="286845" y="379757"/>
                  </a:lnTo>
                  <a:cubicBezTo>
                    <a:pt x="274969" y="384016"/>
                    <a:pt x="269257" y="392736"/>
                    <a:pt x="262993" y="403609"/>
                  </a:cubicBezTo>
                  <a:cubicBezTo>
                    <a:pt x="260237" y="408420"/>
                    <a:pt x="257731" y="413331"/>
                    <a:pt x="255477" y="418091"/>
                  </a:cubicBezTo>
                  <a:cubicBezTo>
                    <a:pt x="250365" y="428865"/>
                    <a:pt x="243901" y="436081"/>
                    <a:pt x="235683" y="440190"/>
                  </a:cubicBezTo>
                  <a:cubicBezTo>
                    <a:pt x="227916" y="444098"/>
                    <a:pt x="224207" y="450212"/>
                    <a:pt x="221050" y="458179"/>
                  </a:cubicBezTo>
                  <a:lnTo>
                    <a:pt x="220349" y="459933"/>
                  </a:lnTo>
                  <a:cubicBezTo>
                    <a:pt x="218044" y="465996"/>
                    <a:pt x="215188" y="473513"/>
                    <a:pt x="204264" y="476570"/>
                  </a:cubicBezTo>
                  <a:lnTo>
                    <a:pt x="203412" y="476820"/>
                  </a:lnTo>
                  <a:lnTo>
                    <a:pt x="202560" y="476469"/>
                  </a:lnTo>
                  <a:cubicBezTo>
                    <a:pt x="184821" y="469554"/>
                    <a:pt x="165278" y="461887"/>
                    <a:pt x="145685" y="454170"/>
                  </a:cubicBezTo>
                  <a:cubicBezTo>
                    <a:pt x="144833" y="455323"/>
                    <a:pt x="144081" y="456425"/>
                    <a:pt x="143330" y="457428"/>
                  </a:cubicBezTo>
                  <a:cubicBezTo>
                    <a:pt x="141275" y="460334"/>
                    <a:pt x="139472" y="462840"/>
                    <a:pt x="137567" y="465245"/>
                  </a:cubicBezTo>
                  <a:cubicBezTo>
                    <a:pt x="127946" y="477171"/>
                    <a:pt x="116922" y="488696"/>
                    <a:pt x="98181" y="487494"/>
                  </a:cubicBezTo>
                  <a:cubicBezTo>
                    <a:pt x="96828" y="487293"/>
                    <a:pt x="94322" y="489097"/>
                    <a:pt x="92017" y="490701"/>
                  </a:cubicBezTo>
                  <a:cubicBezTo>
                    <a:pt x="91216" y="491252"/>
                    <a:pt x="90414" y="491853"/>
                    <a:pt x="89561" y="492404"/>
                  </a:cubicBezTo>
                  <a:lnTo>
                    <a:pt x="102591" y="517359"/>
                  </a:lnTo>
                  <a:lnTo>
                    <a:pt x="102189" y="518462"/>
                  </a:lnTo>
                  <a:cubicBezTo>
                    <a:pt x="101187" y="521368"/>
                    <a:pt x="100235" y="524275"/>
                    <a:pt x="99283" y="527131"/>
                  </a:cubicBezTo>
                  <a:cubicBezTo>
                    <a:pt x="97178" y="533695"/>
                    <a:pt x="95174" y="539859"/>
                    <a:pt x="92318" y="545822"/>
                  </a:cubicBezTo>
                  <a:cubicBezTo>
                    <a:pt x="89712" y="551184"/>
                    <a:pt x="84851" y="556245"/>
                    <a:pt x="79891" y="558650"/>
                  </a:cubicBezTo>
                  <a:cubicBezTo>
                    <a:pt x="76683" y="560203"/>
                    <a:pt x="72975" y="559502"/>
                    <a:pt x="69016" y="558800"/>
                  </a:cubicBezTo>
                  <a:cubicBezTo>
                    <a:pt x="67814" y="558600"/>
                    <a:pt x="66561" y="558349"/>
                    <a:pt x="65308" y="558199"/>
                  </a:cubicBezTo>
                  <a:cubicBezTo>
                    <a:pt x="50175" y="572581"/>
                    <a:pt x="34341" y="580398"/>
                    <a:pt x="17052" y="582102"/>
                  </a:cubicBezTo>
                  <a:cubicBezTo>
                    <a:pt x="8634" y="598488"/>
                    <a:pt x="5026" y="616076"/>
                    <a:pt x="1518" y="633114"/>
                  </a:cubicBezTo>
                  <a:lnTo>
                    <a:pt x="215" y="639327"/>
                  </a:lnTo>
                  <a:cubicBezTo>
                    <a:pt x="-235" y="641332"/>
                    <a:pt x="115" y="643837"/>
                    <a:pt x="416" y="646192"/>
                  </a:cubicBezTo>
                  <a:lnTo>
                    <a:pt x="616" y="647896"/>
                  </a:lnTo>
                  <a:cubicBezTo>
                    <a:pt x="1318" y="654010"/>
                    <a:pt x="2120" y="660173"/>
                    <a:pt x="2871" y="666337"/>
                  </a:cubicBezTo>
                  <a:cubicBezTo>
                    <a:pt x="4424" y="678764"/>
                    <a:pt x="6079" y="691642"/>
                    <a:pt x="7131" y="704320"/>
                  </a:cubicBezTo>
                  <a:cubicBezTo>
                    <a:pt x="7983" y="714793"/>
                    <a:pt x="12041" y="721708"/>
                    <a:pt x="20610" y="727471"/>
                  </a:cubicBezTo>
                  <a:cubicBezTo>
                    <a:pt x="26573" y="731430"/>
                    <a:pt x="32035" y="736190"/>
                    <a:pt x="37297" y="740800"/>
                  </a:cubicBezTo>
                  <a:cubicBezTo>
                    <a:pt x="40253" y="743406"/>
                    <a:pt x="43260" y="746012"/>
                    <a:pt x="46316" y="748467"/>
                  </a:cubicBezTo>
                  <a:cubicBezTo>
                    <a:pt x="55086" y="755533"/>
                    <a:pt x="57492" y="764352"/>
                    <a:pt x="53533" y="774675"/>
                  </a:cubicBezTo>
                  <a:cubicBezTo>
                    <a:pt x="51228" y="780688"/>
                    <a:pt x="49473" y="785148"/>
                    <a:pt x="52079" y="790610"/>
                  </a:cubicBezTo>
                  <a:cubicBezTo>
                    <a:pt x="57692" y="802436"/>
                    <a:pt x="57040" y="815114"/>
                    <a:pt x="49975" y="829295"/>
                  </a:cubicBezTo>
                  <a:cubicBezTo>
                    <a:pt x="45615" y="838064"/>
                    <a:pt x="44964" y="847785"/>
                    <a:pt x="47820" y="859762"/>
                  </a:cubicBezTo>
                  <a:cubicBezTo>
                    <a:pt x="54084" y="861766"/>
                    <a:pt x="59596" y="860513"/>
                    <a:pt x="65409" y="859160"/>
                  </a:cubicBezTo>
                  <a:cubicBezTo>
                    <a:pt x="66712" y="858860"/>
                    <a:pt x="67964" y="858559"/>
                    <a:pt x="69267" y="858309"/>
                  </a:cubicBezTo>
                  <a:cubicBezTo>
                    <a:pt x="81344" y="855903"/>
                    <a:pt x="95074" y="853147"/>
                    <a:pt x="108203" y="849239"/>
                  </a:cubicBezTo>
                  <a:cubicBezTo>
                    <a:pt x="119528" y="845881"/>
                    <a:pt x="128447" y="847234"/>
                    <a:pt x="137166" y="853598"/>
                  </a:cubicBezTo>
                  <a:cubicBezTo>
                    <a:pt x="143330" y="858108"/>
                    <a:pt x="149894" y="862367"/>
                    <a:pt x="156208" y="866526"/>
                  </a:cubicBezTo>
                  <a:cubicBezTo>
                    <a:pt x="162221" y="870435"/>
                    <a:pt x="168385" y="874494"/>
                    <a:pt x="174348" y="878753"/>
                  </a:cubicBezTo>
                  <a:cubicBezTo>
                    <a:pt x="181113" y="883614"/>
                    <a:pt x="185522" y="888124"/>
                    <a:pt x="188178" y="892834"/>
                  </a:cubicBezTo>
                  <a:cubicBezTo>
                    <a:pt x="199152" y="912578"/>
                    <a:pt x="207571" y="929615"/>
                    <a:pt x="213985" y="944949"/>
                  </a:cubicBezTo>
                  <a:lnTo>
                    <a:pt x="214486" y="946151"/>
                  </a:lnTo>
                  <a:lnTo>
                    <a:pt x="213835" y="947304"/>
                  </a:lnTo>
                  <a:cubicBezTo>
                    <a:pt x="212031" y="950561"/>
                    <a:pt x="210477" y="953016"/>
                    <a:pt x="209224" y="955021"/>
                  </a:cubicBezTo>
                  <a:cubicBezTo>
                    <a:pt x="206017" y="960097"/>
                    <a:pt x="206970" y="969438"/>
                    <a:pt x="212031" y="983032"/>
                  </a:cubicBezTo>
                  <a:lnTo>
                    <a:pt x="213835" y="987893"/>
                  </a:lnTo>
                  <a:lnTo>
                    <a:pt x="211630" y="988946"/>
                  </a:lnTo>
                  <a:cubicBezTo>
                    <a:pt x="206519" y="991451"/>
                    <a:pt x="201307" y="993957"/>
                    <a:pt x="195946" y="996562"/>
                  </a:cubicBezTo>
                  <a:lnTo>
                    <a:pt x="187778" y="1000521"/>
                  </a:lnTo>
                  <a:cubicBezTo>
                    <a:pt x="187677" y="1002575"/>
                    <a:pt x="187527" y="1004630"/>
                    <a:pt x="187427" y="1006634"/>
                  </a:cubicBezTo>
                  <a:cubicBezTo>
                    <a:pt x="186876" y="1014852"/>
                    <a:pt x="186375" y="1022670"/>
                    <a:pt x="188980" y="1030286"/>
                  </a:cubicBezTo>
                  <a:cubicBezTo>
                    <a:pt x="197298" y="1035047"/>
                    <a:pt x="206669" y="1034045"/>
                    <a:pt x="215689" y="1033093"/>
                  </a:cubicBezTo>
                  <a:lnTo>
                    <a:pt x="216591" y="1032992"/>
                  </a:lnTo>
                  <a:cubicBezTo>
                    <a:pt x="238639" y="1030737"/>
                    <a:pt x="259686" y="1036450"/>
                    <a:pt x="280832" y="1050731"/>
                  </a:cubicBezTo>
                  <a:cubicBezTo>
                    <a:pt x="297870" y="1062257"/>
                    <a:pt x="317112" y="1075285"/>
                    <a:pt x="318565" y="1100992"/>
                  </a:cubicBezTo>
                  <a:cubicBezTo>
                    <a:pt x="318815" y="1101192"/>
                    <a:pt x="319216" y="1101493"/>
                    <a:pt x="319567" y="1101743"/>
                  </a:cubicBezTo>
                  <a:cubicBezTo>
                    <a:pt x="319968" y="1102044"/>
                    <a:pt x="320419" y="1102345"/>
                    <a:pt x="320870" y="1102695"/>
                  </a:cubicBezTo>
                  <a:cubicBezTo>
                    <a:pt x="334400" y="1100791"/>
                    <a:pt x="349433" y="1096782"/>
                    <a:pt x="360156" y="1082802"/>
                  </a:cubicBezTo>
                  <a:cubicBezTo>
                    <a:pt x="361058" y="1081599"/>
                    <a:pt x="362110" y="1080647"/>
                    <a:pt x="363163" y="1079695"/>
                  </a:cubicBezTo>
                  <a:cubicBezTo>
                    <a:pt x="363864" y="1079044"/>
                    <a:pt x="364616" y="1078392"/>
                    <a:pt x="365217" y="1077640"/>
                  </a:cubicBezTo>
                  <a:cubicBezTo>
                    <a:pt x="371832" y="1069823"/>
                    <a:pt x="382606" y="1059551"/>
                    <a:pt x="399894" y="1060553"/>
                  </a:cubicBezTo>
                  <a:cubicBezTo>
                    <a:pt x="401798" y="1060753"/>
                    <a:pt x="403952" y="1059901"/>
                    <a:pt x="406508" y="1059050"/>
                  </a:cubicBezTo>
                  <a:cubicBezTo>
                    <a:pt x="407159" y="1058849"/>
                    <a:pt x="407811" y="1058599"/>
                    <a:pt x="408512" y="1058398"/>
                  </a:cubicBezTo>
                  <a:cubicBezTo>
                    <a:pt x="408362" y="1057747"/>
                    <a:pt x="408212" y="1057045"/>
                    <a:pt x="408062" y="1056394"/>
                  </a:cubicBezTo>
                  <a:cubicBezTo>
                    <a:pt x="405305" y="1044267"/>
                    <a:pt x="402449" y="1031740"/>
                    <a:pt x="413674" y="1020515"/>
                  </a:cubicBezTo>
                  <a:cubicBezTo>
                    <a:pt x="414526" y="1019663"/>
                    <a:pt x="414576" y="1016606"/>
                    <a:pt x="414676" y="1014351"/>
                  </a:cubicBezTo>
                  <a:cubicBezTo>
                    <a:pt x="414676" y="1013098"/>
                    <a:pt x="414726" y="1011896"/>
                    <a:pt x="414826" y="1010794"/>
                  </a:cubicBezTo>
                  <a:cubicBezTo>
                    <a:pt x="415227" y="1006634"/>
                    <a:pt x="415478" y="1002425"/>
                    <a:pt x="415779" y="997915"/>
                  </a:cubicBezTo>
                  <a:lnTo>
                    <a:pt x="416380" y="989497"/>
                  </a:lnTo>
                  <a:lnTo>
                    <a:pt x="417733" y="988795"/>
                  </a:lnTo>
                  <a:cubicBezTo>
                    <a:pt x="433618" y="980928"/>
                    <a:pt x="450255" y="975065"/>
                    <a:pt x="467192" y="971457"/>
                  </a:cubicBezTo>
                  <a:cubicBezTo>
                    <a:pt x="478917" y="968951"/>
                    <a:pt x="491194" y="968350"/>
                    <a:pt x="503070" y="967799"/>
                  </a:cubicBezTo>
                  <a:cubicBezTo>
                    <a:pt x="507881" y="967549"/>
                    <a:pt x="512692" y="967348"/>
                    <a:pt x="517502" y="966997"/>
                  </a:cubicBezTo>
                  <a:cubicBezTo>
                    <a:pt x="524267" y="954871"/>
                    <a:pt x="536143" y="948757"/>
                    <a:pt x="547618" y="942844"/>
                  </a:cubicBezTo>
                  <a:cubicBezTo>
                    <a:pt x="549222" y="941992"/>
                    <a:pt x="550825" y="941191"/>
                    <a:pt x="552428" y="940339"/>
                  </a:cubicBezTo>
                  <a:lnTo>
                    <a:pt x="553582" y="939737"/>
                  </a:lnTo>
                  <a:lnTo>
                    <a:pt x="554784" y="940289"/>
                  </a:lnTo>
                  <a:cubicBezTo>
                    <a:pt x="556888" y="941241"/>
                    <a:pt x="558943" y="942143"/>
                    <a:pt x="561048" y="943045"/>
                  </a:cubicBezTo>
                  <a:cubicBezTo>
                    <a:pt x="565508" y="944949"/>
                    <a:pt x="570067" y="946953"/>
                    <a:pt x="574377" y="949359"/>
                  </a:cubicBezTo>
                  <a:cubicBezTo>
                    <a:pt x="586003" y="955823"/>
                    <a:pt x="594321" y="956474"/>
                    <a:pt x="603090" y="951714"/>
                  </a:cubicBezTo>
                  <a:cubicBezTo>
                    <a:pt x="607800" y="949108"/>
                    <a:pt x="613864" y="949709"/>
                    <a:pt x="616269" y="950110"/>
                  </a:cubicBezTo>
                  <a:cubicBezTo>
                    <a:pt x="619426" y="950611"/>
                    <a:pt x="624537" y="953869"/>
                    <a:pt x="625039" y="957677"/>
                  </a:cubicBezTo>
                  <a:cubicBezTo>
                    <a:pt x="625389" y="960182"/>
                    <a:pt x="625188" y="969453"/>
                    <a:pt x="620779" y="970956"/>
                  </a:cubicBezTo>
                  <a:cubicBezTo>
                    <a:pt x="612511" y="973812"/>
                    <a:pt x="606297" y="979374"/>
                    <a:pt x="599733" y="985338"/>
                  </a:cubicBezTo>
                  <a:cubicBezTo>
                    <a:pt x="594471" y="990048"/>
                    <a:pt x="589109" y="994959"/>
                    <a:pt x="582395" y="998517"/>
                  </a:cubicBezTo>
                  <a:cubicBezTo>
                    <a:pt x="584299" y="1003528"/>
                    <a:pt x="585952" y="1007937"/>
                    <a:pt x="587656" y="1012397"/>
                  </a:cubicBezTo>
                  <a:cubicBezTo>
                    <a:pt x="596626" y="1011846"/>
                    <a:pt x="603090" y="1008038"/>
                    <a:pt x="608452" y="1000320"/>
                  </a:cubicBezTo>
                  <a:lnTo>
                    <a:pt x="611609" y="995761"/>
                  </a:lnTo>
                  <a:cubicBezTo>
                    <a:pt x="615467" y="990198"/>
                    <a:pt x="619426" y="984486"/>
                    <a:pt x="623535" y="979024"/>
                  </a:cubicBezTo>
                  <a:cubicBezTo>
                    <a:pt x="628345" y="972710"/>
                    <a:pt x="634559" y="969202"/>
                    <a:pt x="643228" y="967949"/>
                  </a:cubicBezTo>
                  <a:cubicBezTo>
                    <a:pt x="657309" y="965845"/>
                    <a:pt x="665277" y="957692"/>
                    <a:pt x="667231" y="943496"/>
                  </a:cubicBezTo>
                  <a:cubicBezTo>
                    <a:pt x="670187" y="921647"/>
                    <a:pt x="680661" y="909571"/>
                    <a:pt x="699301" y="906113"/>
                  </a:cubicBezTo>
                  <a:cubicBezTo>
                    <a:pt x="701707" y="905663"/>
                    <a:pt x="704112" y="905061"/>
                    <a:pt x="706517" y="904460"/>
                  </a:cubicBezTo>
                  <a:cubicBezTo>
                    <a:pt x="709424" y="903758"/>
                    <a:pt x="712430" y="903007"/>
                    <a:pt x="715487" y="902506"/>
                  </a:cubicBezTo>
                  <a:cubicBezTo>
                    <a:pt x="725358" y="900937"/>
                    <a:pt x="731272" y="895039"/>
                    <a:pt x="733126" y="884817"/>
                  </a:cubicBezTo>
                  <a:cubicBezTo>
                    <a:pt x="733476" y="882762"/>
                    <a:pt x="734328" y="881008"/>
                    <a:pt x="734880" y="879856"/>
                  </a:cubicBezTo>
                  <a:cubicBezTo>
                    <a:pt x="735030" y="879555"/>
                    <a:pt x="735180" y="879255"/>
                    <a:pt x="735231" y="879054"/>
                  </a:cubicBezTo>
                  <a:lnTo>
                    <a:pt x="735581" y="878152"/>
                  </a:lnTo>
                  <a:lnTo>
                    <a:pt x="766399" y="861014"/>
                  </a:lnTo>
                  <a:cubicBezTo>
                    <a:pt x="766399" y="854801"/>
                    <a:pt x="763292" y="850241"/>
                    <a:pt x="756527" y="846683"/>
                  </a:cubicBezTo>
                  <a:cubicBezTo>
                    <a:pt x="750614" y="843526"/>
                    <a:pt x="745253" y="845230"/>
                    <a:pt x="739039" y="848737"/>
                  </a:cubicBezTo>
                  <a:cubicBezTo>
                    <a:pt x="733126" y="852095"/>
                    <a:pt x="730520" y="857557"/>
                    <a:pt x="727513" y="863921"/>
                  </a:cubicBezTo>
                  <a:cubicBezTo>
                    <a:pt x="720899" y="877901"/>
                    <a:pt x="715888" y="878854"/>
                    <a:pt x="699201" y="876548"/>
                  </a:cubicBezTo>
                  <a:lnTo>
                    <a:pt x="697096" y="876248"/>
                  </a:lnTo>
                  <a:lnTo>
                    <a:pt x="694040" y="844979"/>
                  </a:lnTo>
                  <a:cubicBezTo>
                    <a:pt x="693739" y="844628"/>
                    <a:pt x="693489" y="844278"/>
                    <a:pt x="693188" y="843927"/>
                  </a:cubicBezTo>
                  <a:cubicBezTo>
                    <a:pt x="692286" y="842774"/>
                    <a:pt x="691434" y="841722"/>
                    <a:pt x="690432" y="841071"/>
                  </a:cubicBezTo>
                  <a:cubicBezTo>
                    <a:pt x="680259" y="834256"/>
                    <a:pt x="675800" y="824434"/>
                    <a:pt x="676401" y="810153"/>
                  </a:cubicBezTo>
                  <a:cubicBezTo>
                    <a:pt x="676953" y="796874"/>
                    <a:pt x="676902" y="783043"/>
                    <a:pt x="676251" y="767860"/>
                  </a:cubicBezTo>
                  <a:cubicBezTo>
                    <a:pt x="675700" y="755232"/>
                    <a:pt x="678556" y="743657"/>
                    <a:pt x="684970" y="732532"/>
                  </a:cubicBezTo>
                  <a:cubicBezTo>
                    <a:pt x="692937" y="718702"/>
                    <a:pt x="698249" y="702967"/>
                    <a:pt x="701256" y="684477"/>
                  </a:cubicBezTo>
                  <a:cubicBezTo>
                    <a:pt x="702709" y="675507"/>
                    <a:pt x="703360" y="668642"/>
                    <a:pt x="698650" y="661626"/>
                  </a:cubicBezTo>
                  <a:cubicBezTo>
                    <a:pt x="696145" y="657918"/>
                    <a:pt x="695794" y="652907"/>
                    <a:pt x="695443" y="648497"/>
                  </a:cubicBezTo>
                  <a:lnTo>
                    <a:pt x="695292" y="646794"/>
                  </a:lnTo>
                  <a:cubicBezTo>
                    <a:pt x="693840" y="628554"/>
                    <a:pt x="696345" y="613771"/>
                    <a:pt x="703110" y="600342"/>
                  </a:cubicBezTo>
                  <a:lnTo>
                    <a:pt x="699602" y="592825"/>
                  </a:lnTo>
                  <a:cubicBezTo>
                    <a:pt x="696545" y="586361"/>
                    <a:pt x="693589" y="579947"/>
                    <a:pt x="690482" y="573633"/>
                  </a:cubicBezTo>
                  <a:cubicBezTo>
                    <a:pt x="687175" y="566918"/>
                    <a:pt x="687124" y="560203"/>
                    <a:pt x="690382" y="553238"/>
                  </a:cubicBezTo>
                  <a:cubicBezTo>
                    <a:pt x="697096" y="538756"/>
                    <a:pt x="703711" y="524224"/>
                    <a:pt x="710376" y="509442"/>
                  </a:cubicBezTo>
                  <a:lnTo>
                    <a:pt x="717441" y="493808"/>
                  </a:lnTo>
                  <a:lnTo>
                    <a:pt x="718493" y="493407"/>
                  </a:lnTo>
                  <a:cubicBezTo>
                    <a:pt x="718945" y="493256"/>
                    <a:pt x="719396" y="493006"/>
                    <a:pt x="719897" y="492805"/>
                  </a:cubicBezTo>
                  <a:cubicBezTo>
                    <a:pt x="721450" y="492054"/>
                    <a:pt x="723404" y="491102"/>
                    <a:pt x="725559" y="491252"/>
                  </a:cubicBezTo>
                  <a:cubicBezTo>
                    <a:pt x="734930" y="491653"/>
                    <a:pt x="741845" y="487444"/>
                    <a:pt x="748159" y="477522"/>
                  </a:cubicBezTo>
                  <a:cubicBezTo>
                    <a:pt x="751215" y="472711"/>
                    <a:pt x="754372" y="468051"/>
                    <a:pt x="757580" y="463391"/>
                  </a:cubicBezTo>
                  <a:lnTo>
                    <a:pt x="758732" y="461737"/>
                  </a:lnTo>
                  <a:cubicBezTo>
                    <a:pt x="763242" y="455173"/>
                    <a:pt x="767752" y="448608"/>
                    <a:pt x="772162" y="442244"/>
                  </a:cubicBezTo>
                  <a:lnTo>
                    <a:pt x="782685" y="426961"/>
                  </a:lnTo>
                  <a:lnTo>
                    <a:pt x="783737" y="426760"/>
                  </a:lnTo>
                  <a:cubicBezTo>
                    <a:pt x="800324" y="423303"/>
                    <a:pt x="815156" y="425808"/>
                    <a:pt x="828285" y="428113"/>
                  </a:cubicBezTo>
                  <a:cubicBezTo>
                    <a:pt x="834498" y="421399"/>
                    <a:pt x="835100" y="413531"/>
                    <a:pt x="835852" y="404461"/>
                  </a:cubicBezTo>
                  <a:cubicBezTo>
                    <a:pt x="836302" y="398999"/>
                    <a:pt x="836754" y="393287"/>
                    <a:pt x="838558" y="387574"/>
                  </a:cubicBezTo>
                  <a:lnTo>
                    <a:pt x="839660" y="384066"/>
                  </a:lnTo>
                  <a:lnTo>
                    <a:pt x="842666" y="386171"/>
                  </a:lnTo>
                  <a:cubicBezTo>
                    <a:pt x="856647" y="396093"/>
                    <a:pt x="865617" y="405514"/>
                    <a:pt x="871731" y="416788"/>
                  </a:cubicBezTo>
                  <a:cubicBezTo>
                    <a:pt x="874186" y="421348"/>
                    <a:pt x="877293" y="427061"/>
                    <a:pt x="878095" y="432974"/>
                  </a:cubicBezTo>
                  <a:cubicBezTo>
                    <a:pt x="878646" y="437383"/>
                    <a:pt x="878646" y="441843"/>
                    <a:pt x="878646" y="446203"/>
                  </a:cubicBezTo>
                  <a:cubicBezTo>
                    <a:pt x="878646" y="453018"/>
                    <a:pt x="878646" y="459482"/>
                    <a:pt x="880650" y="465145"/>
                  </a:cubicBezTo>
                  <a:cubicBezTo>
                    <a:pt x="883205" y="472160"/>
                    <a:pt x="888066" y="478374"/>
                    <a:pt x="893227" y="484888"/>
                  </a:cubicBezTo>
                  <a:cubicBezTo>
                    <a:pt x="895382" y="487644"/>
                    <a:pt x="897537" y="490400"/>
                    <a:pt x="899541" y="493206"/>
                  </a:cubicBezTo>
                  <a:cubicBezTo>
                    <a:pt x="899692" y="493256"/>
                    <a:pt x="899842" y="493357"/>
                    <a:pt x="900042" y="493457"/>
                  </a:cubicBezTo>
                  <a:cubicBezTo>
                    <a:pt x="900193" y="493557"/>
                    <a:pt x="900393" y="493607"/>
                    <a:pt x="900594" y="493707"/>
                  </a:cubicBezTo>
                  <a:lnTo>
                    <a:pt x="900644" y="493707"/>
                  </a:lnTo>
                  <a:cubicBezTo>
                    <a:pt x="902849" y="492104"/>
                    <a:pt x="905354" y="490350"/>
                    <a:pt x="907910" y="488596"/>
                  </a:cubicBezTo>
                  <a:cubicBezTo>
                    <a:pt x="909864" y="487293"/>
                    <a:pt x="911768" y="485990"/>
                    <a:pt x="913923" y="484537"/>
                  </a:cubicBezTo>
                  <a:lnTo>
                    <a:pt x="920287" y="480278"/>
                  </a:lnTo>
                  <a:lnTo>
                    <a:pt x="934919" y="502928"/>
                  </a:lnTo>
                  <a:cubicBezTo>
                    <a:pt x="935370" y="501023"/>
                    <a:pt x="935871" y="499220"/>
                    <a:pt x="936272" y="497466"/>
                  </a:cubicBezTo>
                  <a:cubicBezTo>
                    <a:pt x="937775" y="491503"/>
                    <a:pt x="939078" y="486391"/>
                    <a:pt x="940081" y="481280"/>
                  </a:cubicBezTo>
                  <a:cubicBezTo>
                    <a:pt x="942686" y="467550"/>
                    <a:pt x="945242" y="453870"/>
                    <a:pt x="947797" y="440140"/>
                  </a:cubicBezTo>
                  <a:cubicBezTo>
                    <a:pt x="952257" y="416287"/>
                    <a:pt x="956817" y="391633"/>
                    <a:pt x="961728" y="367480"/>
                  </a:cubicBezTo>
                  <a:cubicBezTo>
                    <a:pt x="964234" y="355053"/>
                    <a:pt x="962530" y="346033"/>
                    <a:pt x="955915" y="336362"/>
                  </a:cubicBezTo>
                  <a:cubicBezTo>
                    <a:pt x="954612" y="334457"/>
                    <a:pt x="953260" y="332553"/>
                    <a:pt x="951857" y="33064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17" name="Полилиния: фигура 116">
              <a:extLst>
                <a:ext uri="{FF2B5EF4-FFF2-40B4-BE49-F238E27FC236}">
                  <a16:creationId xmlns:a16="http://schemas.microsoft.com/office/drawing/2014/main" id="{9CFB31EB-BB55-4119-9F9F-F78306FD3D2E}"/>
                </a:ext>
              </a:extLst>
            </p:cNvPr>
            <p:cNvSpPr/>
            <p:nvPr/>
          </p:nvSpPr>
          <p:spPr>
            <a:xfrm>
              <a:off x="10834203" y="2214548"/>
              <a:ext cx="890569" cy="2273761"/>
            </a:xfrm>
            <a:custGeom>
              <a:avLst/>
              <a:gdLst>
                <a:gd name="connsiteX0" fmla="*/ 625574 w 714099"/>
                <a:gd name="connsiteY0" fmla="*/ 1809326 h 1823206"/>
                <a:gd name="connsiteX1" fmla="*/ 647072 w 714099"/>
                <a:gd name="connsiteY1" fmla="*/ 1823206 h 1823206"/>
                <a:gd name="connsiteX2" fmla="*/ 654588 w 714099"/>
                <a:gd name="connsiteY2" fmla="*/ 1784721 h 1823206"/>
                <a:gd name="connsiteX3" fmla="*/ 654839 w 714099"/>
                <a:gd name="connsiteY3" fmla="*/ 1761921 h 1823206"/>
                <a:gd name="connsiteX4" fmla="*/ 654839 w 714099"/>
                <a:gd name="connsiteY4" fmla="*/ 1756509 h 1823206"/>
                <a:gd name="connsiteX5" fmla="*/ 661504 w 714099"/>
                <a:gd name="connsiteY5" fmla="*/ 1735062 h 1823206"/>
                <a:gd name="connsiteX6" fmla="*/ 672127 w 714099"/>
                <a:gd name="connsiteY6" fmla="*/ 1692269 h 1823206"/>
                <a:gd name="connsiteX7" fmla="*/ 671526 w 714099"/>
                <a:gd name="connsiteY7" fmla="*/ 1687257 h 1823206"/>
                <a:gd name="connsiteX8" fmla="*/ 666765 w 714099"/>
                <a:gd name="connsiteY8" fmla="*/ 1640404 h 1823206"/>
                <a:gd name="connsiteX9" fmla="*/ 650279 w 714099"/>
                <a:gd name="connsiteY9" fmla="*/ 1613545 h 1823206"/>
                <a:gd name="connsiteX10" fmla="*/ 643514 w 714099"/>
                <a:gd name="connsiteY10" fmla="*/ 1610138 h 1823206"/>
                <a:gd name="connsiteX11" fmla="*/ 640056 w 714099"/>
                <a:gd name="connsiteY11" fmla="*/ 1608585 h 1823206"/>
                <a:gd name="connsiteX12" fmla="*/ 638803 w 714099"/>
                <a:gd name="connsiteY12" fmla="*/ 1607983 h 1823206"/>
                <a:gd name="connsiteX13" fmla="*/ 637902 w 714099"/>
                <a:gd name="connsiteY13" fmla="*/ 1602922 h 1823206"/>
                <a:gd name="connsiteX14" fmla="*/ 636549 w 714099"/>
                <a:gd name="connsiteY14" fmla="*/ 1594303 h 1823206"/>
                <a:gd name="connsiteX15" fmla="*/ 622217 w 714099"/>
                <a:gd name="connsiteY15" fmla="*/ 1572405 h 1823206"/>
                <a:gd name="connsiteX16" fmla="*/ 613448 w 714099"/>
                <a:gd name="connsiteY16" fmla="*/ 1564187 h 1823206"/>
                <a:gd name="connsiteX17" fmla="*/ 610993 w 714099"/>
                <a:gd name="connsiteY17" fmla="*/ 1561130 h 1823206"/>
                <a:gd name="connsiteX18" fmla="*/ 610040 w 714099"/>
                <a:gd name="connsiteY18" fmla="*/ 1560128 h 1823206"/>
                <a:gd name="connsiteX19" fmla="*/ 610341 w 714099"/>
                <a:gd name="connsiteY19" fmla="*/ 1558775 h 1823206"/>
                <a:gd name="connsiteX20" fmla="*/ 634645 w 714099"/>
                <a:gd name="connsiteY20" fmla="*/ 1544043 h 1823206"/>
                <a:gd name="connsiteX21" fmla="*/ 641009 w 714099"/>
                <a:gd name="connsiteY21" fmla="*/ 1544644 h 1823206"/>
                <a:gd name="connsiteX22" fmla="*/ 645268 w 714099"/>
                <a:gd name="connsiteY22" fmla="*/ 1535324 h 1823206"/>
                <a:gd name="connsiteX23" fmla="*/ 655340 w 714099"/>
                <a:gd name="connsiteY23" fmla="*/ 1511521 h 1823206"/>
                <a:gd name="connsiteX24" fmla="*/ 686308 w 714099"/>
                <a:gd name="connsiteY24" fmla="*/ 1475843 h 1823206"/>
                <a:gd name="connsiteX25" fmla="*/ 686809 w 714099"/>
                <a:gd name="connsiteY25" fmla="*/ 1474690 h 1823206"/>
                <a:gd name="connsiteX26" fmla="*/ 687060 w 714099"/>
                <a:gd name="connsiteY26" fmla="*/ 1474089 h 1823206"/>
                <a:gd name="connsiteX27" fmla="*/ 684955 w 714099"/>
                <a:gd name="connsiteY27" fmla="*/ 1471934 h 1823206"/>
                <a:gd name="connsiteX28" fmla="*/ 677238 w 714099"/>
                <a:gd name="connsiteY28" fmla="*/ 1465069 h 1823206"/>
                <a:gd name="connsiteX29" fmla="*/ 633442 w 714099"/>
                <a:gd name="connsiteY29" fmla="*/ 1401129 h 1823206"/>
                <a:gd name="connsiteX30" fmla="*/ 645769 w 714099"/>
                <a:gd name="connsiteY30" fmla="*/ 1299856 h 1823206"/>
                <a:gd name="connsiteX31" fmla="*/ 651682 w 714099"/>
                <a:gd name="connsiteY31" fmla="*/ 1290085 h 1823206"/>
                <a:gd name="connsiteX32" fmla="*/ 674281 w 714099"/>
                <a:gd name="connsiteY32" fmla="*/ 1279662 h 1823206"/>
                <a:gd name="connsiteX33" fmla="*/ 678290 w 714099"/>
                <a:gd name="connsiteY33" fmla="*/ 1279762 h 1823206"/>
                <a:gd name="connsiteX34" fmla="*/ 679593 w 714099"/>
                <a:gd name="connsiteY34" fmla="*/ 1279712 h 1823206"/>
                <a:gd name="connsiteX35" fmla="*/ 692071 w 714099"/>
                <a:gd name="connsiteY35" fmla="*/ 1245637 h 1823206"/>
                <a:gd name="connsiteX36" fmla="*/ 683151 w 714099"/>
                <a:gd name="connsiteY36" fmla="*/ 1227998 h 1823206"/>
                <a:gd name="connsiteX37" fmla="*/ 649627 w 714099"/>
                <a:gd name="connsiteY37" fmla="*/ 1205449 h 1823206"/>
                <a:gd name="connsiteX38" fmla="*/ 635647 w 714099"/>
                <a:gd name="connsiteY38" fmla="*/ 1191368 h 1823206"/>
                <a:gd name="connsiteX39" fmla="*/ 631437 w 714099"/>
                <a:gd name="connsiteY39" fmla="*/ 1182498 h 1823206"/>
                <a:gd name="connsiteX40" fmla="*/ 614651 w 714099"/>
                <a:gd name="connsiteY40" fmla="*/ 1083681 h 1823206"/>
                <a:gd name="connsiteX41" fmla="*/ 614851 w 714099"/>
                <a:gd name="connsiteY41" fmla="*/ 1081827 h 1823206"/>
                <a:gd name="connsiteX42" fmla="*/ 615102 w 714099"/>
                <a:gd name="connsiteY42" fmla="*/ 1079372 h 1823206"/>
                <a:gd name="connsiteX43" fmla="*/ 609238 w 714099"/>
                <a:gd name="connsiteY43" fmla="*/ 1043192 h 1823206"/>
                <a:gd name="connsiteX44" fmla="*/ 608136 w 714099"/>
                <a:gd name="connsiteY44" fmla="*/ 1041789 h 1823206"/>
                <a:gd name="connsiteX45" fmla="*/ 621064 w 714099"/>
                <a:gd name="connsiteY45" fmla="*/ 1017987 h 1823206"/>
                <a:gd name="connsiteX46" fmla="*/ 623019 w 714099"/>
                <a:gd name="connsiteY46" fmla="*/ 1018337 h 1823206"/>
                <a:gd name="connsiteX47" fmla="*/ 642312 w 714099"/>
                <a:gd name="connsiteY47" fmla="*/ 1041990 h 1823206"/>
                <a:gd name="connsiteX48" fmla="*/ 644867 w 714099"/>
                <a:gd name="connsiteY48" fmla="*/ 1052262 h 1823206"/>
                <a:gd name="connsiteX49" fmla="*/ 652083 w 714099"/>
                <a:gd name="connsiteY49" fmla="*/ 1036778 h 1823206"/>
                <a:gd name="connsiteX50" fmla="*/ 611594 w 714099"/>
                <a:gd name="connsiteY50" fmla="*/ 1004256 h 1823206"/>
                <a:gd name="connsiteX51" fmla="*/ 595759 w 714099"/>
                <a:gd name="connsiteY51" fmla="*/ 1012625 h 1823206"/>
                <a:gd name="connsiteX52" fmla="*/ 594356 w 714099"/>
                <a:gd name="connsiteY52" fmla="*/ 1011523 h 1823206"/>
                <a:gd name="connsiteX53" fmla="*/ 553316 w 714099"/>
                <a:gd name="connsiteY53" fmla="*/ 967827 h 1823206"/>
                <a:gd name="connsiteX54" fmla="*/ 542993 w 714099"/>
                <a:gd name="connsiteY54" fmla="*/ 935455 h 1823206"/>
                <a:gd name="connsiteX55" fmla="*/ 534324 w 714099"/>
                <a:gd name="connsiteY55" fmla="*/ 902884 h 1823206"/>
                <a:gd name="connsiteX56" fmla="*/ 499096 w 714099"/>
                <a:gd name="connsiteY56" fmla="*/ 903385 h 1823206"/>
                <a:gd name="connsiteX57" fmla="*/ 499999 w 714099"/>
                <a:gd name="connsiteY57" fmla="*/ 913006 h 1823206"/>
                <a:gd name="connsiteX58" fmla="*/ 500099 w 714099"/>
                <a:gd name="connsiteY58" fmla="*/ 914209 h 1823206"/>
                <a:gd name="connsiteX59" fmla="*/ 499297 w 714099"/>
                <a:gd name="connsiteY59" fmla="*/ 915111 h 1823206"/>
                <a:gd name="connsiteX60" fmla="*/ 498295 w 714099"/>
                <a:gd name="connsiteY60" fmla="*/ 916313 h 1823206"/>
                <a:gd name="connsiteX61" fmla="*/ 495288 w 714099"/>
                <a:gd name="connsiteY61" fmla="*/ 919270 h 1823206"/>
                <a:gd name="connsiteX62" fmla="*/ 464520 w 714099"/>
                <a:gd name="connsiteY62" fmla="*/ 925233 h 1823206"/>
                <a:gd name="connsiteX63" fmla="*/ 445529 w 714099"/>
                <a:gd name="connsiteY63" fmla="*/ 901932 h 1823206"/>
                <a:gd name="connsiteX64" fmla="*/ 440167 w 714099"/>
                <a:gd name="connsiteY64" fmla="*/ 885846 h 1823206"/>
                <a:gd name="connsiteX65" fmla="*/ 432600 w 714099"/>
                <a:gd name="connsiteY65" fmla="*/ 863948 h 1823206"/>
                <a:gd name="connsiteX66" fmla="*/ 421125 w 714099"/>
                <a:gd name="connsiteY66" fmla="*/ 793443 h 1823206"/>
                <a:gd name="connsiteX67" fmla="*/ 412456 w 714099"/>
                <a:gd name="connsiteY67" fmla="*/ 764981 h 1823206"/>
                <a:gd name="connsiteX68" fmla="*/ 411504 w 714099"/>
                <a:gd name="connsiteY68" fmla="*/ 764179 h 1823206"/>
                <a:gd name="connsiteX69" fmla="*/ 411504 w 714099"/>
                <a:gd name="connsiteY69" fmla="*/ 735115 h 1823206"/>
                <a:gd name="connsiteX70" fmla="*/ 405641 w 714099"/>
                <a:gd name="connsiteY70" fmla="*/ 724392 h 1823206"/>
                <a:gd name="connsiteX71" fmla="*/ 391360 w 714099"/>
                <a:gd name="connsiteY71" fmla="*/ 707054 h 1823206"/>
                <a:gd name="connsiteX72" fmla="*/ 391209 w 714099"/>
                <a:gd name="connsiteY72" fmla="*/ 706502 h 1823206"/>
                <a:gd name="connsiteX73" fmla="*/ 399427 w 714099"/>
                <a:gd name="connsiteY73" fmla="*/ 635747 h 1823206"/>
                <a:gd name="connsiteX74" fmla="*/ 401983 w 714099"/>
                <a:gd name="connsiteY74" fmla="*/ 631387 h 1823206"/>
                <a:gd name="connsiteX75" fmla="*/ 405491 w 714099"/>
                <a:gd name="connsiteY75" fmla="*/ 624071 h 1823206"/>
                <a:gd name="connsiteX76" fmla="*/ 404238 w 714099"/>
                <a:gd name="connsiteY76" fmla="*/ 614450 h 1823206"/>
                <a:gd name="connsiteX77" fmla="*/ 403036 w 714099"/>
                <a:gd name="connsiteY77" fmla="*/ 608988 h 1823206"/>
                <a:gd name="connsiteX78" fmla="*/ 402484 w 714099"/>
                <a:gd name="connsiteY78" fmla="*/ 605981 h 1823206"/>
                <a:gd name="connsiteX79" fmla="*/ 409901 w 714099"/>
                <a:gd name="connsiteY79" fmla="*/ 605631 h 1823206"/>
                <a:gd name="connsiteX80" fmla="*/ 447433 w 714099"/>
                <a:gd name="connsiteY80" fmla="*/ 608136 h 1823206"/>
                <a:gd name="connsiteX81" fmla="*/ 452294 w 714099"/>
                <a:gd name="connsiteY81" fmla="*/ 606733 h 1823206"/>
                <a:gd name="connsiteX82" fmla="*/ 453096 w 714099"/>
                <a:gd name="connsiteY82" fmla="*/ 597363 h 1823206"/>
                <a:gd name="connsiteX83" fmla="*/ 449538 w 714099"/>
                <a:gd name="connsiteY83" fmla="*/ 594456 h 1823206"/>
                <a:gd name="connsiteX84" fmla="*/ 442672 w 714099"/>
                <a:gd name="connsiteY84" fmla="*/ 568499 h 1823206"/>
                <a:gd name="connsiteX85" fmla="*/ 445829 w 714099"/>
                <a:gd name="connsiteY85" fmla="*/ 561734 h 1823206"/>
                <a:gd name="connsiteX86" fmla="*/ 466225 w 714099"/>
                <a:gd name="connsiteY86" fmla="*/ 507365 h 1823206"/>
                <a:gd name="connsiteX87" fmla="*/ 466525 w 714099"/>
                <a:gd name="connsiteY87" fmla="*/ 505661 h 1823206"/>
                <a:gd name="connsiteX88" fmla="*/ 476096 w 714099"/>
                <a:gd name="connsiteY88" fmla="*/ 494286 h 1823206"/>
                <a:gd name="connsiteX89" fmla="*/ 476948 w 714099"/>
                <a:gd name="connsiteY89" fmla="*/ 494136 h 1823206"/>
                <a:gd name="connsiteX90" fmla="*/ 477750 w 714099"/>
                <a:gd name="connsiteY90" fmla="*/ 494537 h 1823206"/>
                <a:gd name="connsiteX91" fmla="*/ 494787 w 714099"/>
                <a:gd name="connsiteY91" fmla="*/ 511474 h 1823206"/>
                <a:gd name="connsiteX92" fmla="*/ 502103 w 714099"/>
                <a:gd name="connsiteY92" fmla="*/ 522348 h 1823206"/>
                <a:gd name="connsiteX93" fmla="*/ 509369 w 714099"/>
                <a:gd name="connsiteY93" fmla="*/ 533071 h 1823206"/>
                <a:gd name="connsiteX94" fmla="*/ 514982 w 714099"/>
                <a:gd name="connsiteY94" fmla="*/ 536278 h 1823206"/>
                <a:gd name="connsiteX95" fmla="*/ 514982 w 714099"/>
                <a:gd name="connsiteY95" fmla="*/ 531167 h 1823206"/>
                <a:gd name="connsiteX96" fmla="*/ 514982 w 714099"/>
                <a:gd name="connsiteY96" fmla="*/ 515132 h 1823206"/>
                <a:gd name="connsiteX97" fmla="*/ 536228 w 714099"/>
                <a:gd name="connsiteY97" fmla="*/ 427489 h 1823206"/>
                <a:gd name="connsiteX98" fmla="*/ 545549 w 714099"/>
                <a:gd name="connsiteY98" fmla="*/ 408698 h 1823206"/>
                <a:gd name="connsiteX99" fmla="*/ 569351 w 714099"/>
                <a:gd name="connsiteY99" fmla="*/ 384244 h 1823206"/>
                <a:gd name="connsiteX100" fmla="*/ 629884 w 714099"/>
                <a:gd name="connsiteY100" fmla="*/ 357636 h 1823206"/>
                <a:gd name="connsiteX101" fmla="*/ 657044 w 714099"/>
                <a:gd name="connsiteY101" fmla="*/ 358488 h 1823206"/>
                <a:gd name="connsiteX102" fmla="*/ 682449 w 714099"/>
                <a:gd name="connsiteY102" fmla="*/ 370263 h 1823206"/>
                <a:gd name="connsiteX103" fmla="*/ 696581 w 714099"/>
                <a:gd name="connsiteY103" fmla="*/ 368660 h 1823206"/>
                <a:gd name="connsiteX104" fmla="*/ 683452 w 714099"/>
                <a:gd name="connsiteY104" fmla="*/ 339947 h 1823206"/>
                <a:gd name="connsiteX105" fmla="*/ 680595 w 714099"/>
                <a:gd name="connsiteY105" fmla="*/ 306574 h 1823206"/>
                <a:gd name="connsiteX106" fmla="*/ 692071 w 714099"/>
                <a:gd name="connsiteY106" fmla="*/ 253156 h 1823206"/>
                <a:gd name="connsiteX107" fmla="*/ 697482 w 714099"/>
                <a:gd name="connsiteY107" fmla="*/ 219432 h 1823206"/>
                <a:gd name="connsiteX108" fmla="*/ 694325 w 714099"/>
                <a:gd name="connsiteY108" fmla="*/ 210412 h 1823206"/>
                <a:gd name="connsiteX109" fmla="*/ 688012 w 714099"/>
                <a:gd name="connsiteY109" fmla="*/ 206754 h 1823206"/>
                <a:gd name="connsiteX110" fmla="*/ 684254 w 714099"/>
                <a:gd name="connsiteY110" fmla="*/ 204850 h 1823206"/>
                <a:gd name="connsiteX111" fmla="*/ 681798 w 714099"/>
                <a:gd name="connsiteY111" fmla="*/ 203497 h 1823206"/>
                <a:gd name="connsiteX112" fmla="*/ 691570 w 714099"/>
                <a:gd name="connsiteY112" fmla="*/ 187161 h 1823206"/>
                <a:gd name="connsiteX113" fmla="*/ 686358 w 714099"/>
                <a:gd name="connsiteY113" fmla="*/ 178542 h 1823206"/>
                <a:gd name="connsiteX114" fmla="*/ 680495 w 714099"/>
                <a:gd name="connsiteY114" fmla="*/ 168871 h 1823206"/>
                <a:gd name="connsiteX115" fmla="*/ 683953 w 714099"/>
                <a:gd name="connsiteY115" fmla="*/ 167969 h 1823206"/>
                <a:gd name="connsiteX116" fmla="*/ 698685 w 714099"/>
                <a:gd name="connsiteY116" fmla="*/ 146722 h 1823206"/>
                <a:gd name="connsiteX117" fmla="*/ 683852 w 714099"/>
                <a:gd name="connsiteY117" fmla="*/ 137953 h 1823206"/>
                <a:gd name="connsiteX118" fmla="*/ 681047 w 714099"/>
                <a:gd name="connsiteY118" fmla="*/ 136300 h 1823206"/>
                <a:gd name="connsiteX119" fmla="*/ 687561 w 714099"/>
                <a:gd name="connsiteY119" fmla="*/ 128983 h 1823206"/>
                <a:gd name="connsiteX120" fmla="*/ 696581 w 714099"/>
                <a:gd name="connsiteY120" fmla="*/ 118711 h 1823206"/>
                <a:gd name="connsiteX121" fmla="*/ 698885 w 714099"/>
                <a:gd name="connsiteY121" fmla="*/ 97314 h 1823206"/>
                <a:gd name="connsiteX122" fmla="*/ 697232 w 714099"/>
                <a:gd name="connsiteY122" fmla="*/ 95259 h 1823206"/>
                <a:gd name="connsiteX123" fmla="*/ 694576 w 714099"/>
                <a:gd name="connsiteY123" fmla="*/ 91701 h 1823206"/>
                <a:gd name="connsiteX124" fmla="*/ 701892 w 714099"/>
                <a:gd name="connsiteY124" fmla="*/ 62137 h 1823206"/>
                <a:gd name="connsiteX125" fmla="*/ 710110 w 714099"/>
                <a:gd name="connsiteY125" fmla="*/ 47805 h 1823206"/>
                <a:gd name="connsiteX126" fmla="*/ 711012 w 714099"/>
                <a:gd name="connsiteY126" fmla="*/ 42744 h 1823206"/>
                <a:gd name="connsiteX127" fmla="*/ 713818 w 714099"/>
                <a:gd name="connsiteY127" fmla="*/ 27059 h 1823206"/>
                <a:gd name="connsiteX128" fmla="*/ 710812 w 714099"/>
                <a:gd name="connsiteY128" fmla="*/ 15734 h 1823206"/>
                <a:gd name="connsiteX129" fmla="*/ 701191 w 714099"/>
                <a:gd name="connsiteY129" fmla="*/ 13680 h 1823206"/>
                <a:gd name="connsiteX130" fmla="*/ 701191 w 714099"/>
                <a:gd name="connsiteY130" fmla="*/ 13680 h 1823206"/>
                <a:gd name="connsiteX131" fmla="*/ 687912 w 714099"/>
                <a:gd name="connsiteY131" fmla="*/ 18190 h 1823206"/>
                <a:gd name="connsiteX132" fmla="*/ 682800 w 714099"/>
                <a:gd name="connsiteY132" fmla="*/ 20094 h 1823206"/>
                <a:gd name="connsiteX133" fmla="*/ 681948 w 714099"/>
                <a:gd name="connsiteY133" fmla="*/ 20395 h 1823206"/>
                <a:gd name="connsiteX134" fmla="*/ 681097 w 714099"/>
                <a:gd name="connsiteY134" fmla="*/ 20094 h 1823206"/>
                <a:gd name="connsiteX135" fmla="*/ 665863 w 714099"/>
                <a:gd name="connsiteY135" fmla="*/ 9371 h 1823206"/>
                <a:gd name="connsiteX136" fmla="*/ 652283 w 714099"/>
                <a:gd name="connsiteY136" fmla="*/ 0 h 1823206"/>
                <a:gd name="connsiteX137" fmla="*/ 648375 w 714099"/>
                <a:gd name="connsiteY137" fmla="*/ 4309 h 1823206"/>
                <a:gd name="connsiteX138" fmla="*/ 637651 w 714099"/>
                <a:gd name="connsiteY138" fmla="*/ 16336 h 1823206"/>
                <a:gd name="connsiteX139" fmla="*/ 581628 w 714099"/>
                <a:gd name="connsiteY139" fmla="*/ 83533 h 1823206"/>
                <a:gd name="connsiteX140" fmla="*/ 580877 w 714099"/>
                <a:gd name="connsiteY140" fmla="*/ 84436 h 1823206"/>
                <a:gd name="connsiteX141" fmla="*/ 549156 w 714099"/>
                <a:gd name="connsiteY141" fmla="*/ 112196 h 1823206"/>
                <a:gd name="connsiteX142" fmla="*/ 539084 w 714099"/>
                <a:gd name="connsiteY142" fmla="*/ 128683 h 1823206"/>
                <a:gd name="connsiteX143" fmla="*/ 537832 w 714099"/>
                <a:gd name="connsiteY143" fmla="*/ 142012 h 1823206"/>
                <a:gd name="connsiteX144" fmla="*/ 537030 w 714099"/>
                <a:gd name="connsiteY144" fmla="*/ 148376 h 1823206"/>
                <a:gd name="connsiteX145" fmla="*/ 536729 w 714099"/>
                <a:gd name="connsiteY145" fmla="*/ 150982 h 1823206"/>
                <a:gd name="connsiteX146" fmla="*/ 534123 w 714099"/>
                <a:gd name="connsiteY146" fmla="*/ 150731 h 1823206"/>
                <a:gd name="connsiteX147" fmla="*/ 502855 w 714099"/>
                <a:gd name="connsiteY147" fmla="*/ 164311 h 1823206"/>
                <a:gd name="connsiteX148" fmla="*/ 495288 w 714099"/>
                <a:gd name="connsiteY148" fmla="*/ 170274 h 1823206"/>
                <a:gd name="connsiteX149" fmla="*/ 494186 w 714099"/>
                <a:gd name="connsiteY149" fmla="*/ 171076 h 1823206"/>
                <a:gd name="connsiteX150" fmla="*/ 482761 w 714099"/>
                <a:gd name="connsiteY150" fmla="*/ 167518 h 1823206"/>
                <a:gd name="connsiteX151" fmla="*/ 466124 w 714099"/>
                <a:gd name="connsiteY151" fmla="*/ 162357 h 1823206"/>
                <a:gd name="connsiteX152" fmla="*/ 367959 w 714099"/>
                <a:gd name="connsiteY152" fmla="*/ 158398 h 1823206"/>
                <a:gd name="connsiteX153" fmla="*/ 356383 w 714099"/>
                <a:gd name="connsiteY153" fmla="*/ 159450 h 1823206"/>
                <a:gd name="connsiteX154" fmla="*/ 350821 w 714099"/>
                <a:gd name="connsiteY154" fmla="*/ 159450 h 1823206"/>
                <a:gd name="connsiteX155" fmla="*/ 348716 w 714099"/>
                <a:gd name="connsiteY155" fmla="*/ 159551 h 1823206"/>
                <a:gd name="connsiteX156" fmla="*/ 348115 w 714099"/>
                <a:gd name="connsiteY156" fmla="*/ 157496 h 1823206"/>
                <a:gd name="connsiteX157" fmla="*/ 338995 w 714099"/>
                <a:gd name="connsiteY157" fmla="*/ 112247 h 1823206"/>
                <a:gd name="connsiteX158" fmla="*/ 328021 w 714099"/>
                <a:gd name="connsiteY158" fmla="*/ 62237 h 1823206"/>
                <a:gd name="connsiteX159" fmla="*/ 310933 w 714099"/>
                <a:gd name="connsiteY159" fmla="*/ 59531 h 1823206"/>
                <a:gd name="connsiteX160" fmla="*/ 302816 w 714099"/>
                <a:gd name="connsiteY160" fmla="*/ 59280 h 1823206"/>
                <a:gd name="connsiteX161" fmla="*/ 298356 w 714099"/>
                <a:gd name="connsiteY161" fmla="*/ 58980 h 1823206"/>
                <a:gd name="connsiteX162" fmla="*/ 283373 w 714099"/>
                <a:gd name="connsiteY162" fmla="*/ 55622 h 1823206"/>
                <a:gd name="connsiteX163" fmla="*/ 247243 w 714099"/>
                <a:gd name="connsiteY163" fmla="*/ 54420 h 1823206"/>
                <a:gd name="connsiteX164" fmla="*/ 213369 w 714099"/>
                <a:gd name="connsiteY164" fmla="*/ 65394 h 1823206"/>
                <a:gd name="connsiteX165" fmla="*/ 199990 w 714099"/>
                <a:gd name="connsiteY165" fmla="*/ 64943 h 1823206"/>
                <a:gd name="connsiteX166" fmla="*/ 156343 w 714099"/>
                <a:gd name="connsiteY166" fmla="*/ 72459 h 1823206"/>
                <a:gd name="connsiteX167" fmla="*/ 144969 w 714099"/>
                <a:gd name="connsiteY167" fmla="*/ 83684 h 1823206"/>
                <a:gd name="connsiteX168" fmla="*/ 102375 w 714099"/>
                <a:gd name="connsiteY168" fmla="*/ 106334 h 1823206"/>
                <a:gd name="connsiteX169" fmla="*/ 84335 w 714099"/>
                <a:gd name="connsiteY169" fmla="*/ 110292 h 1823206"/>
                <a:gd name="connsiteX170" fmla="*/ 69152 w 714099"/>
                <a:gd name="connsiteY170" fmla="*/ 120314 h 1823206"/>
                <a:gd name="connsiteX171" fmla="*/ 45450 w 714099"/>
                <a:gd name="connsiteY171" fmla="*/ 133844 h 1823206"/>
                <a:gd name="connsiteX172" fmla="*/ 24504 w 714099"/>
                <a:gd name="connsiteY172" fmla="*/ 141010 h 1823206"/>
                <a:gd name="connsiteX173" fmla="*/ 6414 w 714099"/>
                <a:gd name="connsiteY173" fmla="*/ 154339 h 1823206"/>
                <a:gd name="connsiteX174" fmla="*/ 0 w 714099"/>
                <a:gd name="connsiteY174" fmla="*/ 159500 h 1823206"/>
                <a:gd name="connsiteX175" fmla="*/ 9521 w 714099"/>
                <a:gd name="connsiteY175" fmla="*/ 183603 h 1823206"/>
                <a:gd name="connsiteX176" fmla="*/ 33724 w 714099"/>
                <a:gd name="connsiteY176" fmla="*/ 252856 h 1823206"/>
                <a:gd name="connsiteX177" fmla="*/ 40990 w 714099"/>
                <a:gd name="connsiteY177" fmla="*/ 275004 h 1823206"/>
                <a:gd name="connsiteX178" fmla="*/ 69954 w 714099"/>
                <a:gd name="connsiteY178" fmla="*/ 308979 h 1823206"/>
                <a:gd name="connsiteX179" fmla="*/ 80928 w 714099"/>
                <a:gd name="connsiteY179" fmla="*/ 330627 h 1823206"/>
                <a:gd name="connsiteX180" fmla="*/ 93856 w 714099"/>
                <a:gd name="connsiteY180" fmla="*/ 375225 h 1823206"/>
                <a:gd name="connsiteX181" fmla="*/ 101724 w 714099"/>
                <a:gd name="connsiteY181" fmla="*/ 387251 h 1823206"/>
                <a:gd name="connsiteX182" fmla="*/ 103928 w 714099"/>
                <a:gd name="connsiteY182" fmla="*/ 390007 h 1823206"/>
                <a:gd name="connsiteX183" fmla="*/ 135999 w 714099"/>
                <a:gd name="connsiteY183" fmla="*/ 411103 h 1823206"/>
                <a:gd name="connsiteX184" fmla="*/ 160603 w 714099"/>
                <a:gd name="connsiteY184" fmla="*/ 440668 h 1823206"/>
                <a:gd name="connsiteX185" fmla="*/ 162758 w 714099"/>
                <a:gd name="connsiteY185" fmla="*/ 456503 h 1823206"/>
                <a:gd name="connsiteX186" fmla="*/ 163610 w 714099"/>
                <a:gd name="connsiteY186" fmla="*/ 463569 h 1823206"/>
                <a:gd name="connsiteX187" fmla="*/ 172880 w 714099"/>
                <a:gd name="connsiteY187" fmla="*/ 470634 h 1823206"/>
                <a:gd name="connsiteX188" fmla="*/ 174032 w 714099"/>
                <a:gd name="connsiteY188" fmla="*/ 471536 h 1823206"/>
                <a:gd name="connsiteX189" fmla="*/ 173932 w 714099"/>
                <a:gd name="connsiteY189" fmla="*/ 472989 h 1823206"/>
                <a:gd name="connsiteX190" fmla="*/ 192272 w 714099"/>
                <a:gd name="connsiteY190" fmla="*/ 518690 h 1823206"/>
                <a:gd name="connsiteX191" fmla="*/ 198937 w 714099"/>
                <a:gd name="connsiteY191" fmla="*/ 507916 h 1823206"/>
                <a:gd name="connsiteX192" fmla="*/ 202294 w 714099"/>
                <a:gd name="connsiteY192" fmla="*/ 502504 h 1823206"/>
                <a:gd name="connsiteX193" fmla="*/ 204499 w 714099"/>
                <a:gd name="connsiteY193" fmla="*/ 503607 h 1823206"/>
                <a:gd name="connsiteX194" fmla="*/ 208959 w 714099"/>
                <a:gd name="connsiteY194" fmla="*/ 505962 h 1823206"/>
                <a:gd name="connsiteX195" fmla="*/ 218931 w 714099"/>
                <a:gd name="connsiteY195" fmla="*/ 510472 h 1823206"/>
                <a:gd name="connsiteX196" fmla="*/ 223241 w 714099"/>
                <a:gd name="connsiteY196" fmla="*/ 507716 h 1823206"/>
                <a:gd name="connsiteX197" fmla="*/ 221787 w 714099"/>
                <a:gd name="connsiteY197" fmla="*/ 500750 h 1823206"/>
                <a:gd name="connsiteX198" fmla="*/ 217027 w 714099"/>
                <a:gd name="connsiteY198" fmla="*/ 498996 h 1823206"/>
                <a:gd name="connsiteX199" fmla="*/ 189717 w 714099"/>
                <a:gd name="connsiteY199" fmla="*/ 479604 h 1823206"/>
                <a:gd name="connsiteX200" fmla="*/ 185858 w 714099"/>
                <a:gd name="connsiteY200" fmla="*/ 471235 h 1823206"/>
                <a:gd name="connsiteX201" fmla="*/ 177690 w 714099"/>
                <a:gd name="connsiteY201" fmla="*/ 445579 h 1823206"/>
                <a:gd name="connsiteX202" fmla="*/ 173481 w 714099"/>
                <a:gd name="connsiteY202" fmla="*/ 434956 h 1823206"/>
                <a:gd name="connsiteX203" fmla="*/ 171778 w 714099"/>
                <a:gd name="connsiteY203" fmla="*/ 431799 h 1823206"/>
                <a:gd name="connsiteX204" fmla="*/ 171527 w 714099"/>
                <a:gd name="connsiteY204" fmla="*/ 431298 h 1823206"/>
                <a:gd name="connsiteX205" fmla="*/ 161455 w 714099"/>
                <a:gd name="connsiteY205" fmla="*/ 394567 h 1823206"/>
                <a:gd name="connsiteX206" fmla="*/ 161605 w 714099"/>
                <a:gd name="connsiteY206" fmla="*/ 393414 h 1823206"/>
                <a:gd name="connsiteX207" fmla="*/ 162507 w 714099"/>
                <a:gd name="connsiteY207" fmla="*/ 392713 h 1823206"/>
                <a:gd name="connsiteX208" fmla="*/ 170525 w 714099"/>
                <a:gd name="connsiteY208" fmla="*/ 386950 h 1823206"/>
                <a:gd name="connsiteX209" fmla="*/ 186209 w 714099"/>
                <a:gd name="connsiteY209" fmla="*/ 373922 h 1823206"/>
                <a:gd name="connsiteX210" fmla="*/ 195530 w 714099"/>
                <a:gd name="connsiteY210" fmla="*/ 356032 h 1823206"/>
                <a:gd name="connsiteX211" fmla="*/ 199238 w 714099"/>
                <a:gd name="connsiteY211" fmla="*/ 347363 h 1823206"/>
                <a:gd name="connsiteX212" fmla="*/ 199789 w 714099"/>
                <a:gd name="connsiteY212" fmla="*/ 346161 h 1823206"/>
                <a:gd name="connsiteX213" fmla="*/ 201092 w 714099"/>
                <a:gd name="connsiteY213" fmla="*/ 345910 h 1823206"/>
                <a:gd name="connsiteX214" fmla="*/ 239676 w 714099"/>
                <a:gd name="connsiteY214" fmla="*/ 344156 h 1823206"/>
                <a:gd name="connsiteX215" fmla="*/ 247143 w 714099"/>
                <a:gd name="connsiteY215" fmla="*/ 344407 h 1823206"/>
                <a:gd name="connsiteX216" fmla="*/ 253507 w 714099"/>
                <a:gd name="connsiteY216" fmla="*/ 346912 h 1823206"/>
                <a:gd name="connsiteX217" fmla="*/ 256363 w 714099"/>
                <a:gd name="connsiteY217" fmla="*/ 348516 h 1823206"/>
                <a:gd name="connsiteX218" fmla="*/ 259320 w 714099"/>
                <a:gd name="connsiteY218" fmla="*/ 349969 h 1823206"/>
                <a:gd name="connsiteX219" fmla="*/ 257315 w 714099"/>
                <a:gd name="connsiteY219" fmla="*/ 352575 h 1823206"/>
                <a:gd name="connsiteX220" fmla="*/ 254760 w 714099"/>
                <a:gd name="connsiteY220" fmla="*/ 356183 h 1823206"/>
                <a:gd name="connsiteX221" fmla="*/ 250150 w 714099"/>
                <a:gd name="connsiteY221" fmla="*/ 361745 h 1823206"/>
                <a:gd name="connsiteX222" fmla="*/ 233613 w 714099"/>
                <a:gd name="connsiteY222" fmla="*/ 393014 h 1823206"/>
                <a:gd name="connsiteX223" fmla="*/ 238323 w 714099"/>
                <a:gd name="connsiteY223" fmla="*/ 417367 h 1823206"/>
                <a:gd name="connsiteX224" fmla="*/ 247844 w 714099"/>
                <a:gd name="connsiteY224" fmla="*/ 431498 h 1823206"/>
                <a:gd name="connsiteX225" fmla="*/ 255461 w 714099"/>
                <a:gd name="connsiteY225" fmla="*/ 442923 h 1823206"/>
                <a:gd name="connsiteX226" fmla="*/ 268490 w 714099"/>
                <a:gd name="connsiteY226" fmla="*/ 476848 h 1823206"/>
                <a:gd name="connsiteX227" fmla="*/ 282821 w 714099"/>
                <a:gd name="connsiteY227" fmla="*/ 493083 h 1823206"/>
                <a:gd name="connsiteX228" fmla="*/ 297153 w 714099"/>
                <a:gd name="connsiteY228" fmla="*/ 504809 h 1823206"/>
                <a:gd name="connsiteX229" fmla="*/ 299107 w 714099"/>
                <a:gd name="connsiteY229" fmla="*/ 509970 h 1823206"/>
                <a:gd name="connsiteX230" fmla="*/ 302816 w 714099"/>
                <a:gd name="connsiteY230" fmla="*/ 523550 h 1823206"/>
                <a:gd name="connsiteX231" fmla="*/ 319953 w 714099"/>
                <a:gd name="connsiteY231" fmla="*/ 561434 h 1823206"/>
                <a:gd name="connsiteX232" fmla="*/ 321607 w 714099"/>
                <a:gd name="connsiteY232" fmla="*/ 565893 h 1823206"/>
                <a:gd name="connsiteX233" fmla="*/ 321857 w 714099"/>
                <a:gd name="connsiteY233" fmla="*/ 567296 h 1823206"/>
                <a:gd name="connsiteX234" fmla="*/ 322008 w 714099"/>
                <a:gd name="connsiteY234" fmla="*/ 567948 h 1823206"/>
                <a:gd name="connsiteX235" fmla="*/ 321857 w 714099"/>
                <a:gd name="connsiteY235" fmla="*/ 568599 h 1823206"/>
                <a:gd name="connsiteX236" fmla="*/ 302965 w 714099"/>
                <a:gd name="connsiteY236" fmla="*/ 599618 h 1823206"/>
                <a:gd name="connsiteX237" fmla="*/ 295599 w 714099"/>
                <a:gd name="connsiteY237" fmla="*/ 616454 h 1823206"/>
                <a:gd name="connsiteX238" fmla="*/ 285527 w 714099"/>
                <a:gd name="connsiteY238" fmla="*/ 646420 h 1823206"/>
                <a:gd name="connsiteX239" fmla="*/ 280917 w 714099"/>
                <a:gd name="connsiteY239" fmla="*/ 688262 h 1823206"/>
                <a:gd name="connsiteX240" fmla="*/ 283573 w 714099"/>
                <a:gd name="connsiteY240" fmla="*/ 712866 h 1823206"/>
                <a:gd name="connsiteX241" fmla="*/ 277259 w 714099"/>
                <a:gd name="connsiteY241" fmla="*/ 787530 h 1823206"/>
                <a:gd name="connsiteX242" fmla="*/ 272198 w 714099"/>
                <a:gd name="connsiteY242" fmla="*/ 807875 h 1823206"/>
                <a:gd name="connsiteX243" fmla="*/ 271797 w 714099"/>
                <a:gd name="connsiteY243" fmla="*/ 808827 h 1823206"/>
                <a:gd name="connsiteX244" fmla="*/ 259119 w 714099"/>
                <a:gd name="connsiteY244" fmla="*/ 883591 h 1823206"/>
                <a:gd name="connsiteX245" fmla="*/ 264681 w 714099"/>
                <a:gd name="connsiteY245" fmla="*/ 896520 h 1823206"/>
                <a:gd name="connsiteX246" fmla="*/ 270244 w 714099"/>
                <a:gd name="connsiteY246" fmla="*/ 933100 h 1823206"/>
                <a:gd name="connsiteX247" fmla="*/ 268290 w 714099"/>
                <a:gd name="connsiteY247" fmla="*/ 943072 h 1823206"/>
                <a:gd name="connsiteX248" fmla="*/ 268189 w 714099"/>
                <a:gd name="connsiteY248" fmla="*/ 945327 h 1823206"/>
                <a:gd name="connsiteX249" fmla="*/ 267989 w 714099"/>
                <a:gd name="connsiteY249" fmla="*/ 958807 h 1823206"/>
                <a:gd name="connsiteX250" fmla="*/ 267989 w 714099"/>
                <a:gd name="connsiteY250" fmla="*/ 966524 h 1823206"/>
                <a:gd name="connsiteX251" fmla="*/ 249298 w 714099"/>
                <a:gd name="connsiteY251" fmla="*/ 1057424 h 1823206"/>
                <a:gd name="connsiteX252" fmla="*/ 245239 w 714099"/>
                <a:gd name="connsiteY252" fmla="*/ 1070703 h 1823206"/>
                <a:gd name="connsiteX253" fmla="*/ 241530 w 714099"/>
                <a:gd name="connsiteY253" fmla="*/ 1077918 h 1823206"/>
                <a:gd name="connsiteX254" fmla="*/ 229654 w 714099"/>
                <a:gd name="connsiteY254" fmla="*/ 1115702 h 1823206"/>
                <a:gd name="connsiteX255" fmla="*/ 228351 w 714099"/>
                <a:gd name="connsiteY255" fmla="*/ 1120011 h 1823206"/>
                <a:gd name="connsiteX256" fmla="*/ 227400 w 714099"/>
                <a:gd name="connsiteY256" fmla="*/ 1122116 h 1823206"/>
                <a:gd name="connsiteX257" fmla="*/ 227099 w 714099"/>
                <a:gd name="connsiteY257" fmla="*/ 1122918 h 1823206"/>
                <a:gd name="connsiteX258" fmla="*/ 226348 w 714099"/>
                <a:gd name="connsiteY258" fmla="*/ 1123368 h 1823206"/>
                <a:gd name="connsiteX259" fmla="*/ 205652 w 714099"/>
                <a:gd name="connsiteY259" fmla="*/ 1136497 h 1823206"/>
                <a:gd name="connsiteX260" fmla="*/ 210012 w 714099"/>
                <a:gd name="connsiteY260" fmla="*/ 1142761 h 1823206"/>
                <a:gd name="connsiteX261" fmla="*/ 221136 w 714099"/>
                <a:gd name="connsiteY261" fmla="*/ 1158596 h 1823206"/>
                <a:gd name="connsiteX262" fmla="*/ 230707 w 714099"/>
                <a:gd name="connsiteY262" fmla="*/ 1188812 h 1823206"/>
                <a:gd name="connsiteX263" fmla="*/ 224393 w 714099"/>
                <a:gd name="connsiteY263" fmla="*/ 1259918 h 1823206"/>
                <a:gd name="connsiteX264" fmla="*/ 223491 w 714099"/>
                <a:gd name="connsiteY264" fmla="*/ 1284122 h 1823206"/>
                <a:gd name="connsiteX265" fmla="*/ 278913 w 714099"/>
                <a:gd name="connsiteY265" fmla="*/ 1402632 h 1823206"/>
                <a:gd name="connsiteX266" fmla="*/ 384245 w 714099"/>
                <a:gd name="connsiteY266" fmla="*/ 1545295 h 1823206"/>
                <a:gd name="connsiteX267" fmla="*/ 413308 w 714099"/>
                <a:gd name="connsiteY267" fmla="*/ 1578969 h 1823206"/>
                <a:gd name="connsiteX268" fmla="*/ 550409 w 714099"/>
                <a:gd name="connsiteY268" fmla="*/ 1716121 h 1823206"/>
                <a:gd name="connsiteX269" fmla="*/ 576767 w 714099"/>
                <a:gd name="connsiteY269" fmla="*/ 1750346 h 1823206"/>
                <a:gd name="connsiteX270" fmla="*/ 625224 w 714099"/>
                <a:gd name="connsiteY270" fmla="*/ 1809676 h 182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</a:cxnLst>
              <a:rect l="l" t="t" r="r" b="b"/>
              <a:pathLst>
                <a:path w="714099" h="1823206">
                  <a:moveTo>
                    <a:pt x="625574" y="1809326"/>
                  </a:moveTo>
                  <a:cubicBezTo>
                    <a:pt x="632540" y="1815890"/>
                    <a:pt x="638703" y="1820550"/>
                    <a:pt x="647072" y="1823206"/>
                  </a:cubicBezTo>
                  <a:cubicBezTo>
                    <a:pt x="652734" y="1809977"/>
                    <a:pt x="654037" y="1796898"/>
                    <a:pt x="654588" y="1784721"/>
                  </a:cubicBezTo>
                  <a:cubicBezTo>
                    <a:pt x="654939" y="1777155"/>
                    <a:pt x="654889" y="1769438"/>
                    <a:pt x="654839" y="1761921"/>
                  </a:cubicBezTo>
                  <a:lnTo>
                    <a:pt x="654839" y="1756509"/>
                  </a:lnTo>
                  <a:cubicBezTo>
                    <a:pt x="654789" y="1748141"/>
                    <a:pt x="656893" y="1741326"/>
                    <a:pt x="661504" y="1735062"/>
                  </a:cubicBezTo>
                  <a:cubicBezTo>
                    <a:pt x="670473" y="1722886"/>
                    <a:pt x="674031" y="1708504"/>
                    <a:pt x="672127" y="1692269"/>
                  </a:cubicBezTo>
                  <a:lnTo>
                    <a:pt x="671526" y="1687257"/>
                  </a:lnTo>
                  <a:cubicBezTo>
                    <a:pt x="669671" y="1671924"/>
                    <a:pt x="667817" y="1656089"/>
                    <a:pt x="666765" y="1640404"/>
                  </a:cubicBezTo>
                  <a:cubicBezTo>
                    <a:pt x="666014" y="1628829"/>
                    <a:pt x="660752" y="1620310"/>
                    <a:pt x="650279" y="1613545"/>
                  </a:cubicBezTo>
                  <a:cubicBezTo>
                    <a:pt x="648224" y="1612243"/>
                    <a:pt x="645969" y="1611240"/>
                    <a:pt x="643514" y="1610138"/>
                  </a:cubicBezTo>
                  <a:cubicBezTo>
                    <a:pt x="642361" y="1609637"/>
                    <a:pt x="641209" y="1609136"/>
                    <a:pt x="640056" y="1608585"/>
                  </a:cubicBezTo>
                  <a:lnTo>
                    <a:pt x="638803" y="1607983"/>
                  </a:lnTo>
                  <a:lnTo>
                    <a:pt x="637902" y="1602922"/>
                  </a:lnTo>
                  <a:cubicBezTo>
                    <a:pt x="637350" y="1599915"/>
                    <a:pt x="636849" y="1597109"/>
                    <a:pt x="636549" y="1594303"/>
                  </a:cubicBezTo>
                  <a:cubicBezTo>
                    <a:pt x="635296" y="1582477"/>
                    <a:pt x="631136" y="1576163"/>
                    <a:pt x="622217" y="1572405"/>
                  </a:cubicBezTo>
                  <a:cubicBezTo>
                    <a:pt x="618409" y="1570752"/>
                    <a:pt x="615803" y="1567294"/>
                    <a:pt x="613448" y="1564187"/>
                  </a:cubicBezTo>
                  <a:cubicBezTo>
                    <a:pt x="612596" y="1563085"/>
                    <a:pt x="611794" y="1561982"/>
                    <a:pt x="610993" y="1561130"/>
                  </a:cubicBezTo>
                  <a:lnTo>
                    <a:pt x="610040" y="1560128"/>
                  </a:lnTo>
                  <a:lnTo>
                    <a:pt x="610341" y="1558775"/>
                  </a:lnTo>
                  <a:cubicBezTo>
                    <a:pt x="613999" y="1541437"/>
                    <a:pt x="625424" y="1542890"/>
                    <a:pt x="634645" y="1544043"/>
                  </a:cubicBezTo>
                  <a:cubicBezTo>
                    <a:pt x="636849" y="1544343"/>
                    <a:pt x="638954" y="1544594"/>
                    <a:pt x="641009" y="1544644"/>
                  </a:cubicBezTo>
                  <a:cubicBezTo>
                    <a:pt x="642411" y="1541487"/>
                    <a:pt x="643814" y="1538380"/>
                    <a:pt x="645268" y="1535324"/>
                  </a:cubicBezTo>
                  <a:cubicBezTo>
                    <a:pt x="649026" y="1527206"/>
                    <a:pt x="652534" y="1519539"/>
                    <a:pt x="655340" y="1511521"/>
                  </a:cubicBezTo>
                  <a:cubicBezTo>
                    <a:pt x="661754" y="1493181"/>
                    <a:pt x="671576" y="1481856"/>
                    <a:pt x="686308" y="1475843"/>
                  </a:cubicBezTo>
                  <a:cubicBezTo>
                    <a:pt x="686458" y="1475542"/>
                    <a:pt x="686659" y="1475041"/>
                    <a:pt x="686809" y="1474690"/>
                  </a:cubicBezTo>
                  <a:cubicBezTo>
                    <a:pt x="686909" y="1474490"/>
                    <a:pt x="686959" y="1474290"/>
                    <a:pt x="687060" y="1474089"/>
                  </a:cubicBezTo>
                  <a:cubicBezTo>
                    <a:pt x="686358" y="1473387"/>
                    <a:pt x="685656" y="1472636"/>
                    <a:pt x="684955" y="1471934"/>
                  </a:cubicBezTo>
                  <a:cubicBezTo>
                    <a:pt x="682550" y="1469429"/>
                    <a:pt x="680044" y="1466773"/>
                    <a:pt x="677238" y="1465069"/>
                  </a:cubicBezTo>
                  <a:cubicBezTo>
                    <a:pt x="655290" y="1451740"/>
                    <a:pt x="641359" y="1431395"/>
                    <a:pt x="633442" y="1401129"/>
                  </a:cubicBezTo>
                  <a:cubicBezTo>
                    <a:pt x="625224" y="1369960"/>
                    <a:pt x="620313" y="1333530"/>
                    <a:pt x="645769" y="1299856"/>
                  </a:cubicBezTo>
                  <a:cubicBezTo>
                    <a:pt x="648024" y="1296900"/>
                    <a:pt x="649878" y="1293442"/>
                    <a:pt x="651682" y="1290085"/>
                  </a:cubicBezTo>
                  <a:cubicBezTo>
                    <a:pt x="656693" y="1280814"/>
                    <a:pt x="664259" y="1277307"/>
                    <a:pt x="674281" y="1279662"/>
                  </a:cubicBezTo>
                  <a:cubicBezTo>
                    <a:pt x="675384" y="1279912"/>
                    <a:pt x="676737" y="1279862"/>
                    <a:pt x="678290" y="1279762"/>
                  </a:cubicBezTo>
                  <a:cubicBezTo>
                    <a:pt x="678691" y="1279762"/>
                    <a:pt x="679142" y="1279762"/>
                    <a:pt x="679593" y="1279712"/>
                  </a:cubicBezTo>
                  <a:cubicBezTo>
                    <a:pt x="686408" y="1270041"/>
                    <a:pt x="692471" y="1259167"/>
                    <a:pt x="692071" y="1245637"/>
                  </a:cubicBezTo>
                  <a:cubicBezTo>
                    <a:pt x="691820" y="1236968"/>
                    <a:pt x="689265" y="1231857"/>
                    <a:pt x="683151" y="1227998"/>
                  </a:cubicBezTo>
                  <a:cubicBezTo>
                    <a:pt x="670523" y="1220031"/>
                    <a:pt x="659599" y="1212665"/>
                    <a:pt x="649627" y="1205449"/>
                  </a:cubicBezTo>
                  <a:cubicBezTo>
                    <a:pt x="644616" y="1201791"/>
                    <a:pt x="638453" y="1197231"/>
                    <a:pt x="635647" y="1191368"/>
                  </a:cubicBezTo>
                  <a:cubicBezTo>
                    <a:pt x="634243" y="1188411"/>
                    <a:pt x="632841" y="1185455"/>
                    <a:pt x="631437" y="1182498"/>
                  </a:cubicBezTo>
                  <a:cubicBezTo>
                    <a:pt x="616855" y="1152031"/>
                    <a:pt x="601722" y="1120562"/>
                    <a:pt x="614651" y="1083681"/>
                  </a:cubicBezTo>
                  <a:cubicBezTo>
                    <a:pt x="614801" y="1083230"/>
                    <a:pt x="614851" y="1082528"/>
                    <a:pt x="614851" y="1081827"/>
                  </a:cubicBezTo>
                  <a:cubicBezTo>
                    <a:pt x="614851" y="1080975"/>
                    <a:pt x="614951" y="1080173"/>
                    <a:pt x="615102" y="1079372"/>
                  </a:cubicBezTo>
                  <a:cubicBezTo>
                    <a:pt x="617356" y="1068097"/>
                    <a:pt x="618459" y="1054918"/>
                    <a:pt x="609238" y="1043192"/>
                  </a:cubicBezTo>
                  <a:lnTo>
                    <a:pt x="608136" y="1041789"/>
                  </a:lnTo>
                  <a:lnTo>
                    <a:pt x="621064" y="1017987"/>
                  </a:lnTo>
                  <a:lnTo>
                    <a:pt x="623019" y="1018337"/>
                  </a:lnTo>
                  <a:cubicBezTo>
                    <a:pt x="638703" y="1021344"/>
                    <a:pt x="640607" y="1032318"/>
                    <a:pt x="642312" y="1041990"/>
                  </a:cubicBezTo>
                  <a:cubicBezTo>
                    <a:pt x="642962" y="1045698"/>
                    <a:pt x="643564" y="1049205"/>
                    <a:pt x="644867" y="1052262"/>
                  </a:cubicBezTo>
                  <a:cubicBezTo>
                    <a:pt x="650579" y="1049155"/>
                    <a:pt x="651582" y="1044144"/>
                    <a:pt x="652083" y="1036778"/>
                  </a:cubicBezTo>
                  <a:cubicBezTo>
                    <a:pt x="639806" y="1024150"/>
                    <a:pt x="626176" y="1013226"/>
                    <a:pt x="611594" y="1004256"/>
                  </a:cubicBezTo>
                  <a:lnTo>
                    <a:pt x="595759" y="1012625"/>
                  </a:lnTo>
                  <a:lnTo>
                    <a:pt x="594356" y="1011523"/>
                  </a:lnTo>
                  <a:cubicBezTo>
                    <a:pt x="577218" y="997692"/>
                    <a:pt x="563789" y="983361"/>
                    <a:pt x="553316" y="967827"/>
                  </a:cubicBezTo>
                  <a:cubicBezTo>
                    <a:pt x="545699" y="956552"/>
                    <a:pt x="542492" y="946530"/>
                    <a:pt x="542993" y="935455"/>
                  </a:cubicBezTo>
                  <a:cubicBezTo>
                    <a:pt x="543594" y="922677"/>
                    <a:pt x="540638" y="911753"/>
                    <a:pt x="534324" y="902884"/>
                  </a:cubicBezTo>
                  <a:cubicBezTo>
                    <a:pt x="513428" y="899476"/>
                    <a:pt x="504057" y="899577"/>
                    <a:pt x="499096" y="903385"/>
                  </a:cubicBezTo>
                  <a:cubicBezTo>
                    <a:pt x="499397" y="906592"/>
                    <a:pt x="499698" y="909849"/>
                    <a:pt x="499999" y="913006"/>
                  </a:cubicBezTo>
                  <a:lnTo>
                    <a:pt x="500099" y="914209"/>
                  </a:lnTo>
                  <a:lnTo>
                    <a:pt x="499297" y="915111"/>
                  </a:lnTo>
                  <a:cubicBezTo>
                    <a:pt x="498946" y="915512"/>
                    <a:pt x="498596" y="915912"/>
                    <a:pt x="498295" y="916313"/>
                  </a:cubicBezTo>
                  <a:cubicBezTo>
                    <a:pt x="497493" y="917316"/>
                    <a:pt x="496591" y="918468"/>
                    <a:pt x="495288" y="919270"/>
                  </a:cubicBezTo>
                  <a:cubicBezTo>
                    <a:pt x="483061" y="926386"/>
                    <a:pt x="472989" y="928340"/>
                    <a:pt x="464520" y="925233"/>
                  </a:cubicBezTo>
                  <a:cubicBezTo>
                    <a:pt x="456253" y="922226"/>
                    <a:pt x="450039" y="914610"/>
                    <a:pt x="445529" y="901932"/>
                  </a:cubicBezTo>
                  <a:cubicBezTo>
                    <a:pt x="443625" y="896620"/>
                    <a:pt x="441921" y="891258"/>
                    <a:pt x="440167" y="885846"/>
                  </a:cubicBezTo>
                  <a:cubicBezTo>
                    <a:pt x="437862" y="878580"/>
                    <a:pt x="435457" y="871114"/>
                    <a:pt x="432600" y="863948"/>
                  </a:cubicBezTo>
                  <a:cubicBezTo>
                    <a:pt x="423030" y="839845"/>
                    <a:pt x="419271" y="816795"/>
                    <a:pt x="421125" y="793443"/>
                  </a:cubicBezTo>
                  <a:cubicBezTo>
                    <a:pt x="422127" y="780114"/>
                    <a:pt x="419322" y="770794"/>
                    <a:pt x="412456" y="764981"/>
                  </a:cubicBezTo>
                  <a:lnTo>
                    <a:pt x="411504" y="764179"/>
                  </a:lnTo>
                  <a:lnTo>
                    <a:pt x="411504" y="735115"/>
                  </a:lnTo>
                  <a:cubicBezTo>
                    <a:pt x="411504" y="731708"/>
                    <a:pt x="410702" y="725745"/>
                    <a:pt x="405641" y="724392"/>
                  </a:cubicBezTo>
                  <a:cubicBezTo>
                    <a:pt x="395870" y="721736"/>
                    <a:pt x="393314" y="714670"/>
                    <a:pt x="391360" y="707054"/>
                  </a:cubicBezTo>
                  <a:lnTo>
                    <a:pt x="391209" y="706502"/>
                  </a:lnTo>
                  <a:cubicBezTo>
                    <a:pt x="381989" y="670173"/>
                    <a:pt x="382090" y="669521"/>
                    <a:pt x="399427" y="635747"/>
                  </a:cubicBezTo>
                  <a:cubicBezTo>
                    <a:pt x="400179" y="634294"/>
                    <a:pt x="401081" y="632841"/>
                    <a:pt x="401983" y="631387"/>
                  </a:cubicBezTo>
                  <a:cubicBezTo>
                    <a:pt x="403637" y="628832"/>
                    <a:pt x="405140" y="626426"/>
                    <a:pt x="405491" y="624071"/>
                  </a:cubicBezTo>
                  <a:cubicBezTo>
                    <a:pt x="405892" y="621215"/>
                    <a:pt x="405140" y="618058"/>
                    <a:pt x="404238" y="614450"/>
                  </a:cubicBezTo>
                  <a:cubicBezTo>
                    <a:pt x="403837" y="612696"/>
                    <a:pt x="403386" y="610892"/>
                    <a:pt x="403036" y="608988"/>
                  </a:cubicBezTo>
                  <a:lnTo>
                    <a:pt x="402484" y="605981"/>
                  </a:lnTo>
                  <a:lnTo>
                    <a:pt x="409901" y="605631"/>
                  </a:lnTo>
                  <a:cubicBezTo>
                    <a:pt x="422879" y="604929"/>
                    <a:pt x="435106" y="604328"/>
                    <a:pt x="447433" y="608136"/>
                  </a:cubicBezTo>
                  <a:cubicBezTo>
                    <a:pt x="448586" y="608487"/>
                    <a:pt x="451693" y="607485"/>
                    <a:pt x="452294" y="606733"/>
                  </a:cubicBezTo>
                  <a:cubicBezTo>
                    <a:pt x="453346" y="604679"/>
                    <a:pt x="453597" y="601321"/>
                    <a:pt x="453096" y="597363"/>
                  </a:cubicBezTo>
                  <a:cubicBezTo>
                    <a:pt x="453096" y="597363"/>
                    <a:pt x="452745" y="596360"/>
                    <a:pt x="449538" y="594456"/>
                  </a:cubicBezTo>
                  <a:cubicBezTo>
                    <a:pt x="440267" y="588744"/>
                    <a:pt x="438013" y="580275"/>
                    <a:pt x="442672" y="568499"/>
                  </a:cubicBezTo>
                  <a:cubicBezTo>
                    <a:pt x="443775" y="565793"/>
                    <a:pt x="444777" y="563639"/>
                    <a:pt x="445829" y="561734"/>
                  </a:cubicBezTo>
                  <a:cubicBezTo>
                    <a:pt x="455100" y="545198"/>
                    <a:pt x="461965" y="526908"/>
                    <a:pt x="466225" y="507365"/>
                  </a:cubicBezTo>
                  <a:cubicBezTo>
                    <a:pt x="466324" y="506814"/>
                    <a:pt x="466425" y="506212"/>
                    <a:pt x="466525" y="505661"/>
                  </a:cubicBezTo>
                  <a:cubicBezTo>
                    <a:pt x="467227" y="501702"/>
                    <a:pt x="468279" y="495689"/>
                    <a:pt x="476096" y="494286"/>
                  </a:cubicBezTo>
                  <a:lnTo>
                    <a:pt x="476948" y="494136"/>
                  </a:lnTo>
                  <a:lnTo>
                    <a:pt x="477750" y="494537"/>
                  </a:lnTo>
                  <a:cubicBezTo>
                    <a:pt x="485116" y="498094"/>
                    <a:pt x="490027" y="504609"/>
                    <a:pt x="494787" y="511474"/>
                  </a:cubicBezTo>
                  <a:cubicBezTo>
                    <a:pt x="497242" y="515082"/>
                    <a:pt x="499698" y="518690"/>
                    <a:pt x="502103" y="522348"/>
                  </a:cubicBezTo>
                  <a:cubicBezTo>
                    <a:pt x="504509" y="525906"/>
                    <a:pt x="506914" y="529513"/>
                    <a:pt x="509369" y="533071"/>
                  </a:cubicBezTo>
                  <a:cubicBezTo>
                    <a:pt x="511423" y="536078"/>
                    <a:pt x="512275" y="537331"/>
                    <a:pt x="514982" y="536278"/>
                  </a:cubicBezTo>
                  <a:lnTo>
                    <a:pt x="514982" y="531167"/>
                  </a:lnTo>
                  <a:cubicBezTo>
                    <a:pt x="514931" y="525956"/>
                    <a:pt x="514881" y="520544"/>
                    <a:pt x="514982" y="515132"/>
                  </a:cubicBezTo>
                  <a:cubicBezTo>
                    <a:pt x="515733" y="480606"/>
                    <a:pt x="522698" y="451943"/>
                    <a:pt x="536228" y="427489"/>
                  </a:cubicBezTo>
                  <a:cubicBezTo>
                    <a:pt x="539435" y="421626"/>
                    <a:pt x="542792" y="415262"/>
                    <a:pt x="545549" y="408698"/>
                  </a:cubicBezTo>
                  <a:cubicBezTo>
                    <a:pt x="550459" y="396972"/>
                    <a:pt x="558227" y="389005"/>
                    <a:pt x="569351" y="384244"/>
                  </a:cubicBezTo>
                  <a:cubicBezTo>
                    <a:pt x="588944" y="375976"/>
                    <a:pt x="609289" y="367006"/>
                    <a:pt x="629884" y="357636"/>
                  </a:cubicBezTo>
                  <a:cubicBezTo>
                    <a:pt x="639355" y="353326"/>
                    <a:pt x="647973" y="353627"/>
                    <a:pt x="657044" y="358488"/>
                  </a:cubicBezTo>
                  <a:cubicBezTo>
                    <a:pt x="666163" y="363398"/>
                    <a:pt x="674482" y="367257"/>
                    <a:pt x="682449" y="370263"/>
                  </a:cubicBezTo>
                  <a:cubicBezTo>
                    <a:pt x="688162" y="372418"/>
                    <a:pt x="692622" y="372919"/>
                    <a:pt x="696581" y="368660"/>
                  </a:cubicBezTo>
                  <a:cubicBezTo>
                    <a:pt x="696480" y="358087"/>
                    <a:pt x="690567" y="349418"/>
                    <a:pt x="683452" y="339947"/>
                  </a:cubicBezTo>
                  <a:cubicBezTo>
                    <a:pt x="675183" y="328923"/>
                    <a:pt x="674281" y="318650"/>
                    <a:pt x="680595" y="306574"/>
                  </a:cubicBezTo>
                  <a:cubicBezTo>
                    <a:pt x="689265" y="289987"/>
                    <a:pt x="693173" y="272048"/>
                    <a:pt x="692071" y="253156"/>
                  </a:cubicBezTo>
                  <a:cubicBezTo>
                    <a:pt x="691469" y="242483"/>
                    <a:pt x="690768" y="230406"/>
                    <a:pt x="697482" y="219432"/>
                  </a:cubicBezTo>
                  <a:cubicBezTo>
                    <a:pt x="699838" y="215574"/>
                    <a:pt x="696080" y="211866"/>
                    <a:pt x="694325" y="210412"/>
                  </a:cubicBezTo>
                  <a:cubicBezTo>
                    <a:pt x="692622" y="209009"/>
                    <a:pt x="690467" y="207957"/>
                    <a:pt x="688012" y="206754"/>
                  </a:cubicBezTo>
                  <a:cubicBezTo>
                    <a:pt x="686809" y="206153"/>
                    <a:pt x="685556" y="205502"/>
                    <a:pt x="684254" y="204850"/>
                  </a:cubicBezTo>
                  <a:lnTo>
                    <a:pt x="681798" y="203497"/>
                  </a:lnTo>
                  <a:lnTo>
                    <a:pt x="691570" y="187161"/>
                  </a:lnTo>
                  <a:cubicBezTo>
                    <a:pt x="689716" y="184155"/>
                    <a:pt x="688061" y="181449"/>
                    <a:pt x="686358" y="178542"/>
                  </a:cubicBezTo>
                  <a:lnTo>
                    <a:pt x="680495" y="168871"/>
                  </a:lnTo>
                  <a:lnTo>
                    <a:pt x="683953" y="167969"/>
                  </a:lnTo>
                  <a:cubicBezTo>
                    <a:pt x="694226" y="165263"/>
                    <a:pt x="698685" y="158849"/>
                    <a:pt x="698685" y="146722"/>
                  </a:cubicBezTo>
                  <a:cubicBezTo>
                    <a:pt x="693874" y="143916"/>
                    <a:pt x="689265" y="141160"/>
                    <a:pt x="683852" y="137953"/>
                  </a:cubicBezTo>
                  <a:lnTo>
                    <a:pt x="681047" y="136300"/>
                  </a:lnTo>
                  <a:lnTo>
                    <a:pt x="687561" y="128983"/>
                  </a:lnTo>
                  <a:cubicBezTo>
                    <a:pt x="690868" y="125275"/>
                    <a:pt x="693774" y="122018"/>
                    <a:pt x="696581" y="118711"/>
                  </a:cubicBezTo>
                  <a:cubicBezTo>
                    <a:pt x="701842" y="112497"/>
                    <a:pt x="702594" y="105482"/>
                    <a:pt x="698885" y="97314"/>
                  </a:cubicBezTo>
                  <a:cubicBezTo>
                    <a:pt x="698585" y="96712"/>
                    <a:pt x="697934" y="96011"/>
                    <a:pt x="697232" y="95259"/>
                  </a:cubicBezTo>
                  <a:cubicBezTo>
                    <a:pt x="696330" y="94257"/>
                    <a:pt x="695278" y="93155"/>
                    <a:pt x="694576" y="91701"/>
                  </a:cubicBezTo>
                  <a:cubicBezTo>
                    <a:pt x="689265" y="79976"/>
                    <a:pt x="691469" y="71156"/>
                    <a:pt x="701892" y="62137"/>
                  </a:cubicBezTo>
                  <a:cubicBezTo>
                    <a:pt x="706452" y="58228"/>
                    <a:pt x="709058" y="53668"/>
                    <a:pt x="710110" y="47805"/>
                  </a:cubicBezTo>
                  <a:lnTo>
                    <a:pt x="711012" y="42744"/>
                  </a:lnTo>
                  <a:cubicBezTo>
                    <a:pt x="711914" y="37482"/>
                    <a:pt x="712816" y="32271"/>
                    <a:pt x="713818" y="27059"/>
                  </a:cubicBezTo>
                  <a:cubicBezTo>
                    <a:pt x="714670" y="22550"/>
                    <a:pt x="713568" y="18340"/>
                    <a:pt x="710812" y="15734"/>
                  </a:cubicBezTo>
                  <a:cubicBezTo>
                    <a:pt x="708356" y="13429"/>
                    <a:pt x="704899" y="12678"/>
                    <a:pt x="701191" y="13680"/>
                  </a:cubicBezTo>
                  <a:lnTo>
                    <a:pt x="701191" y="13680"/>
                  </a:lnTo>
                  <a:cubicBezTo>
                    <a:pt x="696581" y="14883"/>
                    <a:pt x="691970" y="16637"/>
                    <a:pt x="687912" y="18190"/>
                  </a:cubicBezTo>
                  <a:cubicBezTo>
                    <a:pt x="686158" y="18841"/>
                    <a:pt x="684454" y="19493"/>
                    <a:pt x="682800" y="20094"/>
                  </a:cubicBezTo>
                  <a:lnTo>
                    <a:pt x="681948" y="20395"/>
                  </a:lnTo>
                  <a:lnTo>
                    <a:pt x="681097" y="20094"/>
                  </a:lnTo>
                  <a:cubicBezTo>
                    <a:pt x="674532" y="17990"/>
                    <a:pt x="670122" y="13580"/>
                    <a:pt x="665863" y="9371"/>
                  </a:cubicBezTo>
                  <a:cubicBezTo>
                    <a:pt x="661754" y="5262"/>
                    <a:pt x="657896" y="1403"/>
                    <a:pt x="652283" y="0"/>
                  </a:cubicBezTo>
                  <a:cubicBezTo>
                    <a:pt x="650981" y="1453"/>
                    <a:pt x="649678" y="2856"/>
                    <a:pt x="648375" y="4309"/>
                  </a:cubicBezTo>
                  <a:cubicBezTo>
                    <a:pt x="644817" y="8218"/>
                    <a:pt x="641108" y="12277"/>
                    <a:pt x="637651" y="16336"/>
                  </a:cubicBezTo>
                  <a:cubicBezTo>
                    <a:pt x="616705" y="41291"/>
                    <a:pt x="599166" y="62237"/>
                    <a:pt x="581628" y="83533"/>
                  </a:cubicBezTo>
                  <a:lnTo>
                    <a:pt x="580877" y="84436"/>
                  </a:lnTo>
                  <a:cubicBezTo>
                    <a:pt x="572107" y="95159"/>
                    <a:pt x="563037" y="106233"/>
                    <a:pt x="549156" y="112196"/>
                  </a:cubicBezTo>
                  <a:cubicBezTo>
                    <a:pt x="542542" y="115053"/>
                    <a:pt x="539235" y="120465"/>
                    <a:pt x="539084" y="128683"/>
                  </a:cubicBezTo>
                  <a:cubicBezTo>
                    <a:pt x="538984" y="133042"/>
                    <a:pt x="538433" y="137402"/>
                    <a:pt x="537832" y="142012"/>
                  </a:cubicBezTo>
                  <a:cubicBezTo>
                    <a:pt x="537581" y="144067"/>
                    <a:pt x="537280" y="146171"/>
                    <a:pt x="537030" y="148376"/>
                  </a:cubicBezTo>
                  <a:lnTo>
                    <a:pt x="536729" y="150982"/>
                  </a:lnTo>
                  <a:lnTo>
                    <a:pt x="534123" y="150731"/>
                  </a:lnTo>
                  <a:cubicBezTo>
                    <a:pt x="521045" y="149529"/>
                    <a:pt x="512175" y="156694"/>
                    <a:pt x="502855" y="164311"/>
                  </a:cubicBezTo>
                  <a:cubicBezTo>
                    <a:pt x="500399" y="166315"/>
                    <a:pt x="497894" y="168370"/>
                    <a:pt x="495288" y="170274"/>
                  </a:cubicBezTo>
                  <a:lnTo>
                    <a:pt x="494186" y="171076"/>
                  </a:lnTo>
                  <a:lnTo>
                    <a:pt x="482761" y="167518"/>
                  </a:lnTo>
                  <a:cubicBezTo>
                    <a:pt x="477249" y="165814"/>
                    <a:pt x="471686" y="164111"/>
                    <a:pt x="466124" y="162357"/>
                  </a:cubicBezTo>
                  <a:cubicBezTo>
                    <a:pt x="427088" y="150030"/>
                    <a:pt x="396822" y="148827"/>
                    <a:pt x="367959" y="158398"/>
                  </a:cubicBezTo>
                  <a:cubicBezTo>
                    <a:pt x="364300" y="159601"/>
                    <a:pt x="360442" y="159551"/>
                    <a:pt x="356383" y="159450"/>
                  </a:cubicBezTo>
                  <a:cubicBezTo>
                    <a:pt x="354579" y="159450"/>
                    <a:pt x="352725" y="159400"/>
                    <a:pt x="350821" y="159450"/>
                  </a:cubicBezTo>
                  <a:lnTo>
                    <a:pt x="348716" y="159551"/>
                  </a:lnTo>
                  <a:lnTo>
                    <a:pt x="348115" y="157496"/>
                  </a:lnTo>
                  <a:cubicBezTo>
                    <a:pt x="343805" y="142363"/>
                    <a:pt x="341350" y="127029"/>
                    <a:pt x="338995" y="112247"/>
                  </a:cubicBezTo>
                  <a:cubicBezTo>
                    <a:pt x="336189" y="94658"/>
                    <a:pt x="333533" y="78071"/>
                    <a:pt x="328021" y="62237"/>
                  </a:cubicBezTo>
                  <a:cubicBezTo>
                    <a:pt x="322158" y="59481"/>
                    <a:pt x="316696" y="59531"/>
                    <a:pt x="310933" y="59531"/>
                  </a:cubicBezTo>
                  <a:cubicBezTo>
                    <a:pt x="308277" y="59531"/>
                    <a:pt x="305521" y="59531"/>
                    <a:pt x="302816" y="59280"/>
                  </a:cubicBezTo>
                  <a:cubicBezTo>
                    <a:pt x="301412" y="59130"/>
                    <a:pt x="299909" y="59030"/>
                    <a:pt x="298356" y="58980"/>
                  </a:cubicBezTo>
                  <a:cubicBezTo>
                    <a:pt x="293094" y="58679"/>
                    <a:pt x="287632" y="58378"/>
                    <a:pt x="283373" y="55622"/>
                  </a:cubicBezTo>
                  <a:cubicBezTo>
                    <a:pt x="271847" y="48206"/>
                    <a:pt x="261023" y="49659"/>
                    <a:pt x="247243" y="54420"/>
                  </a:cubicBezTo>
                  <a:cubicBezTo>
                    <a:pt x="236269" y="58178"/>
                    <a:pt x="224894" y="62086"/>
                    <a:pt x="213369" y="65394"/>
                  </a:cubicBezTo>
                  <a:cubicBezTo>
                    <a:pt x="211315" y="65995"/>
                    <a:pt x="204199" y="67749"/>
                    <a:pt x="199990" y="64943"/>
                  </a:cubicBezTo>
                  <a:cubicBezTo>
                    <a:pt x="184255" y="54319"/>
                    <a:pt x="171627" y="59932"/>
                    <a:pt x="156343" y="72459"/>
                  </a:cubicBezTo>
                  <a:cubicBezTo>
                    <a:pt x="152285" y="75766"/>
                    <a:pt x="148577" y="79825"/>
                    <a:pt x="144969" y="83684"/>
                  </a:cubicBezTo>
                  <a:cubicBezTo>
                    <a:pt x="132691" y="96963"/>
                    <a:pt x="118811" y="104329"/>
                    <a:pt x="102375" y="106334"/>
                  </a:cubicBezTo>
                  <a:cubicBezTo>
                    <a:pt x="96161" y="107085"/>
                    <a:pt x="90048" y="108689"/>
                    <a:pt x="84335" y="110292"/>
                  </a:cubicBezTo>
                  <a:cubicBezTo>
                    <a:pt x="77120" y="112297"/>
                    <a:pt x="72209" y="114051"/>
                    <a:pt x="69152" y="120314"/>
                  </a:cubicBezTo>
                  <a:cubicBezTo>
                    <a:pt x="64191" y="130336"/>
                    <a:pt x="54369" y="132792"/>
                    <a:pt x="45450" y="133844"/>
                  </a:cubicBezTo>
                  <a:cubicBezTo>
                    <a:pt x="38184" y="134746"/>
                    <a:pt x="30768" y="137302"/>
                    <a:pt x="24504" y="141010"/>
                  </a:cubicBezTo>
                  <a:cubicBezTo>
                    <a:pt x="18190" y="144818"/>
                    <a:pt x="12177" y="149679"/>
                    <a:pt x="6414" y="154339"/>
                  </a:cubicBezTo>
                  <a:cubicBezTo>
                    <a:pt x="4259" y="156093"/>
                    <a:pt x="2155" y="157797"/>
                    <a:pt x="0" y="159500"/>
                  </a:cubicBezTo>
                  <a:cubicBezTo>
                    <a:pt x="702" y="167969"/>
                    <a:pt x="3558" y="175235"/>
                    <a:pt x="9521" y="183603"/>
                  </a:cubicBezTo>
                  <a:cubicBezTo>
                    <a:pt x="22800" y="202194"/>
                    <a:pt x="36730" y="224443"/>
                    <a:pt x="33724" y="252856"/>
                  </a:cubicBezTo>
                  <a:cubicBezTo>
                    <a:pt x="32922" y="260623"/>
                    <a:pt x="35328" y="268089"/>
                    <a:pt x="40990" y="275004"/>
                  </a:cubicBezTo>
                  <a:cubicBezTo>
                    <a:pt x="49459" y="285327"/>
                    <a:pt x="59531" y="297454"/>
                    <a:pt x="69954" y="308979"/>
                  </a:cubicBezTo>
                  <a:cubicBezTo>
                    <a:pt x="76067" y="315744"/>
                    <a:pt x="79324" y="322208"/>
                    <a:pt x="80928" y="330627"/>
                  </a:cubicBezTo>
                  <a:cubicBezTo>
                    <a:pt x="83834" y="345910"/>
                    <a:pt x="88895" y="361043"/>
                    <a:pt x="93856" y="375225"/>
                  </a:cubicBezTo>
                  <a:cubicBezTo>
                    <a:pt x="95360" y="379434"/>
                    <a:pt x="98567" y="383392"/>
                    <a:pt x="101724" y="387251"/>
                  </a:cubicBezTo>
                  <a:cubicBezTo>
                    <a:pt x="102475" y="388153"/>
                    <a:pt x="103227" y="389105"/>
                    <a:pt x="103928" y="390007"/>
                  </a:cubicBezTo>
                  <a:cubicBezTo>
                    <a:pt x="112297" y="400580"/>
                    <a:pt x="124273" y="406393"/>
                    <a:pt x="135999" y="411103"/>
                  </a:cubicBezTo>
                  <a:cubicBezTo>
                    <a:pt x="149930" y="416766"/>
                    <a:pt x="157997" y="426437"/>
                    <a:pt x="160603" y="440668"/>
                  </a:cubicBezTo>
                  <a:cubicBezTo>
                    <a:pt x="161555" y="445830"/>
                    <a:pt x="162156" y="450991"/>
                    <a:pt x="162758" y="456503"/>
                  </a:cubicBezTo>
                  <a:cubicBezTo>
                    <a:pt x="163008" y="458808"/>
                    <a:pt x="163309" y="461113"/>
                    <a:pt x="163610" y="463569"/>
                  </a:cubicBezTo>
                  <a:cubicBezTo>
                    <a:pt x="165965" y="465373"/>
                    <a:pt x="169272" y="467878"/>
                    <a:pt x="172880" y="470634"/>
                  </a:cubicBezTo>
                  <a:lnTo>
                    <a:pt x="174032" y="471536"/>
                  </a:lnTo>
                  <a:lnTo>
                    <a:pt x="173932" y="472989"/>
                  </a:lnTo>
                  <a:cubicBezTo>
                    <a:pt x="172479" y="492332"/>
                    <a:pt x="178292" y="506914"/>
                    <a:pt x="192272" y="518690"/>
                  </a:cubicBezTo>
                  <a:cubicBezTo>
                    <a:pt x="194678" y="514831"/>
                    <a:pt x="196782" y="511374"/>
                    <a:pt x="198937" y="507916"/>
                  </a:cubicBezTo>
                  <a:lnTo>
                    <a:pt x="202294" y="502504"/>
                  </a:lnTo>
                  <a:lnTo>
                    <a:pt x="204499" y="503607"/>
                  </a:lnTo>
                  <a:cubicBezTo>
                    <a:pt x="206053" y="504358"/>
                    <a:pt x="207506" y="505160"/>
                    <a:pt x="208959" y="505962"/>
                  </a:cubicBezTo>
                  <a:cubicBezTo>
                    <a:pt x="212367" y="507766"/>
                    <a:pt x="215574" y="509520"/>
                    <a:pt x="218931" y="510472"/>
                  </a:cubicBezTo>
                  <a:cubicBezTo>
                    <a:pt x="219783" y="510572"/>
                    <a:pt x="222539" y="509018"/>
                    <a:pt x="223241" y="507716"/>
                  </a:cubicBezTo>
                  <a:cubicBezTo>
                    <a:pt x="224443" y="505611"/>
                    <a:pt x="224443" y="502654"/>
                    <a:pt x="221787" y="500750"/>
                  </a:cubicBezTo>
                  <a:cubicBezTo>
                    <a:pt x="220284" y="499648"/>
                    <a:pt x="218380" y="498946"/>
                    <a:pt x="217027" y="498996"/>
                  </a:cubicBezTo>
                  <a:cubicBezTo>
                    <a:pt x="200240" y="499848"/>
                    <a:pt x="193375" y="488423"/>
                    <a:pt x="189717" y="479604"/>
                  </a:cubicBezTo>
                  <a:cubicBezTo>
                    <a:pt x="188514" y="476747"/>
                    <a:pt x="187211" y="473991"/>
                    <a:pt x="185858" y="471235"/>
                  </a:cubicBezTo>
                  <a:cubicBezTo>
                    <a:pt x="182100" y="463368"/>
                    <a:pt x="178191" y="455250"/>
                    <a:pt x="177690" y="445579"/>
                  </a:cubicBezTo>
                  <a:cubicBezTo>
                    <a:pt x="177490" y="442222"/>
                    <a:pt x="175486" y="438514"/>
                    <a:pt x="173481" y="434956"/>
                  </a:cubicBezTo>
                  <a:cubicBezTo>
                    <a:pt x="172880" y="433903"/>
                    <a:pt x="172329" y="432851"/>
                    <a:pt x="171778" y="431799"/>
                  </a:cubicBezTo>
                  <a:lnTo>
                    <a:pt x="171527" y="431298"/>
                  </a:lnTo>
                  <a:cubicBezTo>
                    <a:pt x="165764" y="420173"/>
                    <a:pt x="159851" y="408648"/>
                    <a:pt x="161455" y="394567"/>
                  </a:cubicBezTo>
                  <a:lnTo>
                    <a:pt x="161605" y="393414"/>
                  </a:lnTo>
                  <a:lnTo>
                    <a:pt x="162507" y="392713"/>
                  </a:lnTo>
                  <a:cubicBezTo>
                    <a:pt x="165113" y="390709"/>
                    <a:pt x="167819" y="388854"/>
                    <a:pt x="170525" y="386950"/>
                  </a:cubicBezTo>
                  <a:cubicBezTo>
                    <a:pt x="176488" y="382841"/>
                    <a:pt x="182150" y="378983"/>
                    <a:pt x="186209" y="373922"/>
                  </a:cubicBezTo>
                  <a:cubicBezTo>
                    <a:pt x="190268" y="368911"/>
                    <a:pt x="192824" y="362647"/>
                    <a:pt x="195530" y="356032"/>
                  </a:cubicBezTo>
                  <a:cubicBezTo>
                    <a:pt x="196732" y="353126"/>
                    <a:pt x="197935" y="350169"/>
                    <a:pt x="199238" y="347363"/>
                  </a:cubicBezTo>
                  <a:lnTo>
                    <a:pt x="199789" y="346161"/>
                  </a:lnTo>
                  <a:lnTo>
                    <a:pt x="201092" y="345910"/>
                  </a:lnTo>
                  <a:cubicBezTo>
                    <a:pt x="214371" y="343204"/>
                    <a:pt x="227199" y="343705"/>
                    <a:pt x="239676" y="344156"/>
                  </a:cubicBezTo>
                  <a:cubicBezTo>
                    <a:pt x="242182" y="344256"/>
                    <a:pt x="244637" y="344357"/>
                    <a:pt x="247143" y="344407"/>
                  </a:cubicBezTo>
                  <a:cubicBezTo>
                    <a:pt x="249448" y="344457"/>
                    <a:pt x="251453" y="345660"/>
                    <a:pt x="253507" y="346912"/>
                  </a:cubicBezTo>
                  <a:cubicBezTo>
                    <a:pt x="254409" y="347463"/>
                    <a:pt x="255311" y="348015"/>
                    <a:pt x="256363" y="348516"/>
                  </a:cubicBezTo>
                  <a:lnTo>
                    <a:pt x="259320" y="349969"/>
                  </a:lnTo>
                  <a:lnTo>
                    <a:pt x="257315" y="352575"/>
                  </a:lnTo>
                  <a:cubicBezTo>
                    <a:pt x="256313" y="353878"/>
                    <a:pt x="255511" y="355080"/>
                    <a:pt x="254760" y="356183"/>
                  </a:cubicBezTo>
                  <a:cubicBezTo>
                    <a:pt x="253257" y="358387"/>
                    <a:pt x="251954" y="360292"/>
                    <a:pt x="250150" y="361745"/>
                  </a:cubicBezTo>
                  <a:cubicBezTo>
                    <a:pt x="240428" y="369763"/>
                    <a:pt x="236921" y="380636"/>
                    <a:pt x="233613" y="393014"/>
                  </a:cubicBezTo>
                  <a:cubicBezTo>
                    <a:pt x="231208" y="401933"/>
                    <a:pt x="232661" y="409450"/>
                    <a:pt x="238323" y="417367"/>
                  </a:cubicBezTo>
                  <a:cubicBezTo>
                    <a:pt x="241631" y="421977"/>
                    <a:pt x="244788" y="426838"/>
                    <a:pt x="247844" y="431498"/>
                  </a:cubicBezTo>
                  <a:cubicBezTo>
                    <a:pt x="250350" y="435357"/>
                    <a:pt x="252855" y="439165"/>
                    <a:pt x="255461" y="442923"/>
                  </a:cubicBezTo>
                  <a:cubicBezTo>
                    <a:pt x="261675" y="451893"/>
                    <a:pt x="268340" y="462667"/>
                    <a:pt x="268490" y="476848"/>
                  </a:cubicBezTo>
                  <a:cubicBezTo>
                    <a:pt x="268590" y="487070"/>
                    <a:pt x="273451" y="492532"/>
                    <a:pt x="282821" y="493083"/>
                  </a:cubicBezTo>
                  <a:cubicBezTo>
                    <a:pt x="289787" y="493484"/>
                    <a:pt x="294747" y="497493"/>
                    <a:pt x="297153" y="504809"/>
                  </a:cubicBezTo>
                  <a:cubicBezTo>
                    <a:pt x="297704" y="506513"/>
                    <a:pt x="298406" y="508267"/>
                    <a:pt x="299107" y="509970"/>
                  </a:cubicBezTo>
                  <a:cubicBezTo>
                    <a:pt x="300811" y="514330"/>
                    <a:pt x="302615" y="518790"/>
                    <a:pt x="302816" y="523550"/>
                  </a:cubicBezTo>
                  <a:cubicBezTo>
                    <a:pt x="303367" y="537681"/>
                    <a:pt x="308979" y="550059"/>
                    <a:pt x="319953" y="561434"/>
                  </a:cubicBezTo>
                  <a:cubicBezTo>
                    <a:pt x="321206" y="562736"/>
                    <a:pt x="321406" y="564390"/>
                    <a:pt x="321607" y="565893"/>
                  </a:cubicBezTo>
                  <a:cubicBezTo>
                    <a:pt x="321656" y="566344"/>
                    <a:pt x="321707" y="566846"/>
                    <a:pt x="321857" y="567296"/>
                  </a:cubicBezTo>
                  <a:lnTo>
                    <a:pt x="322008" y="567948"/>
                  </a:lnTo>
                  <a:lnTo>
                    <a:pt x="321857" y="568599"/>
                  </a:lnTo>
                  <a:cubicBezTo>
                    <a:pt x="319101" y="580024"/>
                    <a:pt x="312937" y="590197"/>
                    <a:pt x="302965" y="599618"/>
                  </a:cubicBezTo>
                  <a:cubicBezTo>
                    <a:pt x="297805" y="604478"/>
                    <a:pt x="295399" y="609990"/>
                    <a:pt x="295599" y="616454"/>
                  </a:cubicBezTo>
                  <a:cubicBezTo>
                    <a:pt x="295950" y="627379"/>
                    <a:pt x="292743" y="636899"/>
                    <a:pt x="285527" y="646420"/>
                  </a:cubicBezTo>
                  <a:cubicBezTo>
                    <a:pt x="275806" y="659249"/>
                    <a:pt x="274152" y="674081"/>
                    <a:pt x="280917" y="688262"/>
                  </a:cubicBezTo>
                  <a:cubicBezTo>
                    <a:pt x="284525" y="695829"/>
                    <a:pt x="285377" y="703646"/>
                    <a:pt x="283573" y="712866"/>
                  </a:cubicBezTo>
                  <a:cubicBezTo>
                    <a:pt x="278462" y="739425"/>
                    <a:pt x="276407" y="763828"/>
                    <a:pt x="277259" y="787530"/>
                  </a:cubicBezTo>
                  <a:cubicBezTo>
                    <a:pt x="277510" y="794997"/>
                    <a:pt x="274954" y="801261"/>
                    <a:pt x="272198" y="807875"/>
                  </a:cubicBezTo>
                  <a:lnTo>
                    <a:pt x="271797" y="808827"/>
                  </a:lnTo>
                  <a:cubicBezTo>
                    <a:pt x="261023" y="835135"/>
                    <a:pt x="256915" y="859589"/>
                    <a:pt x="259119" y="883591"/>
                  </a:cubicBezTo>
                  <a:cubicBezTo>
                    <a:pt x="259571" y="888452"/>
                    <a:pt x="261875" y="893764"/>
                    <a:pt x="264681" y="896520"/>
                  </a:cubicBezTo>
                  <a:cubicBezTo>
                    <a:pt x="274052" y="905740"/>
                    <a:pt x="282020" y="917265"/>
                    <a:pt x="270244" y="933100"/>
                  </a:cubicBezTo>
                  <a:cubicBezTo>
                    <a:pt x="268640" y="935305"/>
                    <a:pt x="268440" y="939414"/>
                    <a:pt x="268290" y="943072"/>
                  </a:cubicBezTo>
                  <a:lnTo>
                    <a:pt x="268189" y="945327"/>
                  </a:lnTo>
                  <a:cubicBezTo>
                    <a:pt x="267939" y="949787"/>
                    <a:pt x="267939" y="954347"/>
                    <a:pt x="267989" y="958807"/>
                  </a:cubicBezTo>
                  <a:cubicBezTo>
                    <a:pt x="267989" y="961362"/>
                    <a:pt x="267989" y="963918"/>
                    <a:pt x="267989" y="966524"/>
                  </a:cubicBezTo>
                  <a:cubicBezTo>
                    <a:pt x="267488" y="998193"/>
                    <a:pt x="258268" y="1028310"/>
                    <a:pt x="249298" y="1057424"/>
                  </a:cubicBezTo>
                  <a:cubicBezTo>
                    <a:pt x="247945" y="1061833"/>
                    <a:pt x="246592" y="1066293"/>
                    <a:pt x="245239" y="1070703"/>
                  </a:cubicBezTo>
                  <a:cubicBezTo>
                    <a:pt x="244637" y="1072657"/>
                    <a:pt x="243535" y="1075513"/>
                    <a:pt x="241530" y="1077918"/>
                  </a:cubicBezTo>
                  <a:cubicBezTo>
                    <a:pt x="233213" y="1087991"/>
                    <a:pt x="229454" y="1100017"/>
                    <a:pt x="229654" y="1115702"/>
                  </a:cubicBezTo>
                  <a:cubicBezTo>
                    <a:pt x="229654" y="1117255"/>
                    <a:pt x="229053" y="1118608"/>
                    <a:pt x="228351" y="1120011"/>
                  </a:cubicBezTo>
                  <a:cubicBezTo>
                    <a:pt x="228051" y="1120612"/>
                    <a:pt x="227700" y="1121314"/>
                    <a:pt x="227400" y="1122116"/>
                  </a:cubicBezTo>
                  <a:lnTo>
                    <a:pt x="227099" y="1122918"/>
                  </a:lnTo>
                  <a:lnTo>
                    <a:pt x="226348" y="1123368"/>
                  </a:lnTo>
                  <a:cubicBezTo>
                    <a:pt x="220384" y="1127127"/>
                    <a:pt x="213820" y="1131286"/>
                    <a:pt x="205652" y="1136497"/>
                  </a:cubicBezTo>
                  <a:cubicBezTo>
                    <a:pt x="207155" y="1138652"/>
                    <a:pt x="208608" y="1140757"/>
                    <a:pt x="210012" y="1142761"/>
                  </a:cubicBezTo>
                  <a:cubicBezTo>
                    <a:pt x="213820" y="1148323"/>
                    <a:pt x="217428" y="1153535"/>
                    <a:pt x="221136" y="1158596"/>
                  </a:cubicBezTo>
                  <a:cubicBezTo>
                    <a:pt x="227650" y="1167315"/>
                    <a:pt x="230657" y="1176936"/>
                    <a:pt x="230707" y="1188812"/>
                  </a:cubicBezTo>
                  <a:cubicBezTo>
                    <a:pt x="230807" y="1214268"/>
                    <a:pt x="230406" y="1237219"/>
                    <a:pt x="224393" y="1259918"/>
                  </a:cubicBezTo>
                  <a:cubicBezTo>
                    <a:pt x="222489" y="1267084"/>
                    <a:pt x="220935" y="1275603"/>
                    <a:pt x="223491" y="1284122"/>
                  </a:cubicBezTo>
                  <a:cubicBezTo>
                    <a:pt x="238624" y="1333981"/>
                    <a:pt x="256263" y="1371614"/>
                    <a:pt x="278913" y="1402632"/>
                  </a:cubicBezTo>
                  <a:cubicBezTo>
                    <a:pt x="312036" y="1447831"/>
                    <a:pt x="347714" y="1496438"/>
                    <a:pt x="384245" y="1545295"/>
                  </a:cubicBezTo>
                  <a:cubicBezTo>
                    <a:pt x="392913" y="1556921"/>
                    <a:pt x="402685" y="1568246"/>
                    <a:pt x="413308" y="1578969"/>
                  </a:cubicBezTo>
                  <a:cubicBezTo>
                    <a:pt x="453146" y="1619258"/>
                    <a:pt x="496691" y="1662854"/>
                    <a:pt x="550409" y="1716121"/>
                  </a:cubicBezTo>
                  <a:cubicBezTo>
                    <a:pt x="559580" y="1725241"/>
                    <a:pt x="569952" y="1736465"/>
                    <a:pt x="576767" y="1750346"/>
                  </a:cubicBezTo>
                  <a:cubicBezTo>
                    <a:pt x="588593" y="1774198"/>
                    <a:pt x="607184" y="1792739"/>
                    <a:pt x="625224" y="180967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18" name="Полилиния: фигура 117">
              <a:extLst>
                <a:ext uri="{FF2B5EF4-FFF2-40B4-BE49-F238E27FC236}">
                  <a16:creationId xmlns:a16="http://schemas.microsoft.com/office/drawing/2014/main" id="{A87F4353-0488-4966-A6F9-69DF4E679962}"/>
                </a:ext>
              </a:extLst>
            </p:cNvPr>
            <p:cNvSpPr/>
            <p:nvPr/>
          </p:nvSpPr>
          <p:spPr>
            <a:xfrm>
              <a:off x="2830232" y="2365408"/>
              <a:ext cx="1748129" cy="988021"/>
            </a:xfrm>
            <a:custGeom>
              <a:avLst/>
              <a:gdLst>
                <a:gd name="connsiteX0" fmla="*/ 203547 w 1401730"/>
                <a:gd name="connsiteY0" fmla="*/ 439516 h 792241"/>
                <a:gd name="connsiteX1" fmla="*/ 186961 w 1401730"/>
                <a:gd name="connsiteY1" fmla="*/ 462617 h 792241"/>
                <a:gd name="connsiteX2" fmla="*/ 179945 w 1401730"/>
                <a:gd name="connsiteY2" fmla="*/ 480055 h 792241"/>
                <a:gd name="connsiteX3" fmla="*/ 176989 w 1401730"/>
                <a:gd name="connsiteY3" fmla="*/ 486820 h 792241"/>
                <a:gd name="connsiteX4" fmla="*/ 161605 w 1401730"/>
                <a:gd name="connsiteY4" fmla="*/ 500500 h 792241"/>
                <a:gd name="connsiteX5" fmla="*/ 142914 w 1401730"/>
                <a:gd name="connsiteY5" fmla="*/ 506864 h 792241"/>
                <a:gd name="connsiteX6" fmla="*/ 99619 w 1401730"/>
                <a:gd name="connsiteY6" fmla="*/ 517387 h 792241"/>
                <a:gd name="connsiteX7" fmla="*/ 78823 w 1401730"/>
                <a:gd name="connsiteY7" fmla="*/ 526657 h 792241"/>
                <a:gd name="connsiteX8" fmla="*/ 71758 w 1401730"/>
                <a:gd name="connsiteY8" fmla="*/ 536729 h 792241"/>
                <a:gd name="connsiteX9" fmla="*/ 52465 w 1401730"/>
                <a:gd name="connsiteY9" fmla="*/ 583933 h 792241"/>
                <a:gd name="connsiteX10" fmla="*/ 50561 w 1401730"/>
                <a:gd name="connsiteY10" fmla="*/ 593955 h 792241"/>
                <a:gd name="connsiteX11" fmla="*/ 49358 w 1401730"/>
                <a:gd name="connsiteY11" fmla="*/ 598114 h 792241"/>
                <a:gd name="connsiteX12" fmla="*/ 49008 w 1401730"/>
                <a:gd name="connsiteY12" fmla="*/ 599618 h 792241"/>
                <a:gd name="connsiteX13" fmla="*/ 47555 w 1401730"/>
                <a:gd name="connsiteY13" fmla="*/ 600069 h 792241"/>
                <a:gd name="connsiteX14" fmla="*/ 41341 w 1401730"/>
                <a:gd name="connsiteY14" fmla="*/ 602173 h 792241"/>
                <a:gd name="connsiteX15" fmla="*/ 28312 w 1401730"/>
                <a:gd name="connsiteY15" fmla="*/ 605831 h 792241"/>
                <a:gd name="connsiteX16" fmla="*/ 0 w 1401730"/>
                <a:gd name="connsiteY16" fmla="*/ 631237 h 792241"/>
                <a:gd name="connsiteX17" fmla="*/ 1253 w 1401730"/>
                <a:gd name="connsiteY17" fmla="*/ 633041 h 792241"/>
                <a:gd name="connsiteX18" fmla="*/ 4861 w 1401730"/>
                <a:gd name="connsiteY18" fmla="*/ 637751 h 792241"/>
                <a:gd name="connsiteX19" fmla="*/ 25105 w 1401730"/>
                <a:gd name="connsiteY19" fmla="*/ 683752 h 792241"/>
                <a:gd name="connsiteX20" fmla="*/ 29264 w 1401730"/>
                <a:gd name="connsiteY20" fmla="*/ 702343 h 792241"/>
                <a:gd name="connsiteX21" fmla="*/ 30417 w 1401730"/>
                <a:gd name="connsiteY21" fmla="*/ 705851 h 792241"/>
                <a:gd name="connsiteX22" fmla="*/ 27761 w 1401730"/>
                <a:gd name="connsiteY22" fmla="*/ 726096 h 792241"/>
                <a:gd name="connsiteX23" fmla="*/ 27861 w 1401730"/>
                <a:gd name="connsiteY23" fmla="*/ 728200 h 792241"/>
                <a:gd name="connsiteX24" fmla="*/ 28914 w 1401730"/>
                <a:gd name="connsiteY24" fmla="*/ 727749 h 792241"/>
                <a:gd name="connsiteX25" fmla="*/ 35328 w 1401730"/>
                <a:gd name="connsiteY25" fmla="*/ 724342 h 792241"/>
                <a:gd name="connsiteX26" fmla="*/ 43195 w 1401730"/>
                <a:gd name="connsiteY26" fmla="*/ 717477 h 792241"/>
                <a:gd name="connsiteX27" fmla="*/ 55272 w 1401730"/>
                <a:gd name="connsiteY27" fmla="*/ 707455 h 792241"/>
                <a:gd name="connsiteX28" fmla="*/ 73311 w 1401730"/>
                <a:gd name="connsiteY28" fmla="*/ 697733 h 792241"/>
                <a:gd name="connsiteX29" fmla="*/ 80026 w 1401730"/>
                <a:gd name="connsiteY29" fmla="*/ 694476 h 792241"/>
                <a:gd name="connsiteX30" fmla="*/ 83784 w 1401730"/>
                <a:gd name="connsiteY30" fmla="*/ 693424 h 792241"/>
                <a:gd name="connsiteX31" fmla="*/ 85738 w 1401730"/>
                <a:gd name="connsiteY31" fmla="*/ 693023 h 792241"/>
                <a:gd name="connsiteX32" fmla="*/ 86640 w 1401730"/>
                <a:gd name="connsiteY32" fmla="*/ 692822 h 792241"/>
                <a:gd name="connsiteX33" fmla="*/ 100170 w 1401730"/>
                <a:gd name="connsiteY33" fmla="*/ 699086 h 792241"/>
                <a:gd name="connsiteX34" fmla="*/ 127681 w 1401730"/>
                <a:gd name="connsiteY34" fmla="*/ 711714 h 792241"/>
                <a:gd name="connsiteX35" fmla="*/ 167067 w 1401730"/>
                <a:gd name="connsiteY35" fmla="*/ 714470 h 792241"/>
                <a:gd name="connsiteX36" fmla="*/ 214972 w 1401730"/>
                <a:gd name="connsiteY36" fmla="*/ 711012 h 792241"/>
                <a:gd name="connsiteX37" fmla="*/ 221587 w 1401730"/>
                <a:gd name="connsiteY37" fmla="*/ 711514 h 792241"/>
                <a:gd name="connsiteX38" fmla="*/ 222088 w 1401730"/>
                <a:gd name="connsiteY38" fmla="*/ 711514 h 792241"/>
                <a:gd name="connsiteX39" fmla="*/ 220484 w 1401730"/>
                <a:gd name="connsiteY39" fmla="*/ 699437 h 792241"/>
                <a:gd name="connsiteX40" fmla="*/ 222188 w 1401730"/>
                <a:gd name="connsiteY40" fmla="*/ 673179 h 792241"/>
                <a:gd name="connsiteX41" fmla="*/ 228151 w 1401730"/>
                <a:gd name="connsiteY41" fmla="*/ 659349 h 792241"/>
                <a:gd name="connsiteX42" fmla="*/ 239877 w 1401730"/>
                <a:gd name="connsiteY42" fmla="*/ 636549 h 792241"/>
                <a:gd name="connsiteX43" fmla="*/ 240980 w 1401730"/>
                <a:gd name="connsiteY43" fmla="*/ 635196 h 792241"/>
                <a:gd name="connsiteX44" fmla="*/ 248346 w 1401730"/>
                <a:gd name="connsiteY44" fmla="*/ 637350 h 792241"/>
                <a:gd name="connsiteX45" fmla="*/ 266035 w 1401730"/>
                <a:gd name="connsiteY45" fmla="*/ 642562 h 792241"/>
                <a:gd name="connsiteX46" fmla="*/ 278111 w 1401730"/>
                <a:gd name="connsiteY46" fmla="*/ 646571 h 792241"/>
                <a:gd name="connsiteX47" fmla="*/ 313188 w 1401730"/>
                <a:gd name="connsiteY47" fmla="*/ 654588 h 792241"/>
                <a:gd name="connsiteX48" fmla="*/ 325315 w 1401730"/>
                <a:gd name="connsiteY48" fmla="*/ 660000 h 792241"/>
                <a:gd name="connsiteX49" fmla="*/ 327921 w 1401730"/>
                <a:gd name="connsiteY49" fmla="*/ 662255 h 792241"/>
                <a:gd name="connsiteX50" fmla="*/ 340699 w 1401730"/>
                <a:gd name="connsiteY50" fmla="*/ 679142 h 792241"/>
                <a:gd name="connsiteX51" fmla="*/ 340849 w 1401730"/>
                <a:gd name="connsiteY51" fmla="*/ 679744 h 792241"/>
                <a:gd name="connsiteX52" fmla="*/ 337542 w 1401730"/>
                <a:gd name="connsiteY52" fmla="*/ 694426 h 792241"/>
                <a:gd name="connsiteX53" fmla="*/ 373922 w 1401730"/>
                <a:gd name="connsiteY53" fmla="*/ 701892 h 792241"/>
                <a:gd name="connsiteX54" fmla="*/ 375826 w 1401730"/>
                <a:gd name="connsiteY54" fmla="*/ 701191 h 792241"/>
                <a:gd name="connsiteX55" fmla="*/ 381138 w 1401730"/>
                <a:gd name="connsiteY55" fmla="*/ 708457 h 792241"/>
                <a:gd name="connsiteX56" fmla="*/ 391460 w 1401730"/>
                <a:gd name="connsiteY56" fmla="*/ 722538 h 792241"/>
                <a:gd name="connsiteX57" fmla="*/ 430245 w 1401730"/>
                <a:gd name="connsiteY57" fmla="*/ 736719 h 792241"/>
                <a:gd name="connsiteX58" fmla="*/ 437762 w 1401730"/>
                <a:gd name="connsiteY58" fmla="*/ 734464 h 792241"/>
                <a:gd name="connsiteX59" fmla="*/ 448636 w 1401730"/>
                <a:gd name="connsiteY59" fmla="*/ 731507 h 792241"/>
                <a:gd name="connsiteX60" fmla="*/ 463970 w 1401730"/>
                <a:gd name="connsiteY60" fmla="*/ 733712 h 792241"/>
                <a:gd name="connsiteX61" fmla="*/ 481057 w 1401730"/>
                <a:gd name="connsiteY61" fmla="*/ 738322 h 792241"/>
                <a:gd name="connsiteX62" fmla="*/ 484966 w 1401730"/>
                <a:gd name="connsiteY62" fmla="*/ 738523 h 792241"/>
                <a:gd name="connsiteX63" fmla="*/ 508016 w 1401730"/>
                <a:gd name="connsiteY63" fmla="*/ 741028 h 792241"/>
                <a:gd name="connsiteX64" fmla="*/ 519792 w 1401730"/>
                <a:gd name="connsiteY64" fmla="*/ 742482 h 792241"/>
                <a:gd name="connsiteX65" fmla="*/ 525204 w 1401730"/>
                <a:gd name="connsiteY65" fmla="*/ 740627 h 792241"/>
                <a:gd name="connsiteX66" fmla="*/ 544747 w 1401730"/>
                <a:gd name="connsiteY66" fmla="*/ 733311 h 792241"/>
                <a:gd name="connsiteX67" fmla="*/ 556122 w 1401730"/>
                <a:gd name="connsiteY67" fmla="*/ 730706 h 792241"/>
                <a:gd name="connsiteX68" fmla="*/ 575114 w 1401730"/>
                <a:gd name="connsiteY68" fmla="*/ 740327 h 792241"/>
                <a:gd name="connsiteX69" fmla="*/ 599718 w 1401730"/>
                <a:gd name="connsiteY69" fmla="*/ 765282 h 792241"/>
                <a:gd name="connsiteX70" fmla="*/ 611744 w 1401730"/>
                <a:gd name="connsiteY70" fmla="*/ 777158 h 792241"/>
                <a:gd name="connsiteX71" fmla="*/ 628431 w 1401730"/>
                <a:gd name="connsiteY71" fmla="*/ 786127 h 792241"/>
                <a:gd name="connsiteX72" fmla="*/ 655440 w 1401730"/>
                <a:gd name="connsiteY72" fmla="*/ 788633 h 792241"/>
                <a:gd name="connsiteX73" fmla="*/ 689665 w 1401730"/>
                <a:gd name="connsiteY73" fmla="*/ 791790 h 792241"/>
                <a:gd name="connsiteX74" fmla="*/ 691169 w 1401730"/>
                <a:gd name="connsiteY74" fmla="*/ 791940 h 792241"/>
                <a:gd name="connsiteX75" fmla="*/ 699387 w 1401730"/>
                <a:gd name="connsiteY75" fmla="*/ 791489 h 792241"/>
                <a:gd name="connsiteX76" fmla="*/ 708707 w 1401730"/>
                <a:gd name="connsiteY76" fmla="*/ 785576 h 792241"/>
                <a:gd name="connsiteX77" fmla="*/ 730605 w 1401730"/>
                <a:gd name="connsiteY77" fmla="*/ 763377 h 792241"/>
                <a:gd name="connsiteX78" fmla="*/ 738673 w 1401730"/>
                <a:gd name="connsiteY78" fmla="*/ 742031 h 792241"/>
                <a:gd name="connsiteX79" fmla="*/ 742030 w 1401730"/>
                <a:gd name="connsiteY79" fmla="*/ 733712 h 792241"/>
                <a:gd name="connsiteX80" fmla="*/ 742431 w 1401730"/>
                <a:gd name="connsiteY80" fmla="*/ 732660 h 792241"/>
                <a:gd name="connsiteX81" fmla="*/ 743433 w 1401730"/>
                <a:gd name="connsiteY81" fmla="*/ 732209 h 792241"/>
                <a:gd name="connsiteX82" fmla="*/ 745538 w 1401730"/>
                <a:gd name="connsiteY82" fmla="*/ 731257 h 792241"/>
                <a:gd name="connsiteX83" fmla="*/ 747493 w 1401730"/>
                <a:gd name="connsiteY83" fmla="*/ 730455 h 792241"/>
                <a:gd name="connsiteX84" fmla="*/ 750048 w 1401730"/>
                <a:gd name="connsiteY84" fmla="*/ 729804 h 792241"/>
                <a:gd name="connsiteX85" fmla="*/ 752052 w 1401730"/>
                <a:gd name="connsiteY85" fmla="*/ 729303 h 792241"/>
                <a:gd name="connsiteX86" fmla="*/ 764279 w 1401730"/>
                <a:gd name="connsiteY86" fmla="*/ 723590 h 792241"/>
                <a:gd name="connsiteX87" fmla="*/ 762075 w 1401730"/>
                <a:gd name="connsiteY87" fmla="*/ 712065 h 792241"/>
                <a:gd name="connsiteX88" fmla="*/ 763979 w 1401730"/>
                <a:gd name="connsiteY88" fmla="*/ 687360 h 792241"/>
                <a:gd name="connsiteX89" fmla="*/ 771746 w 1401730"/>
                <a:gd name="connsiteY89" fmla="*/ 671876 h 792241"/>
                <a:gd name="connsiteX90" fmla="*/ 790287 w 1401730"/>
                <a:gd name="connsiteY90" fmla="*/ 634494 h 792241"/>
                <a:gd name="connsiteX91" fmla="*/ 809930 w 1401730"/>
                <a:gd name="connsiteY91" fmla="*/ 606984 h 792241"/>
                <a:gd name="connsiteX92" fmla="*/ 836739 w 1401730"/>
                <a:gd name="connsiteY92" fmla="*/ 580325 h 792241"/>
                <a:gd name="connsiteX93" fmla="*/ 861944 w 1401730"/>
                <a:gd name="connsiteY93" fmla="*/ 555270 h 792241"/>
                <a:gd name="connsiteX94" fmla="*/ 874121 w 1401730"/>
                <a:gd name="connsiteY94" fmla="*/ 532470 h 792241"/>
                <a:gd name="connsiteX95" fmla="*/ 877879 w 1401730"/>
                <a:gd name="connsiteY95" fmla="*/ 510021 h 792241"/>
                <a:gd name="connsiteX96" fmla="*/ 879783 w 1401730"/>
                <a:gd name="connsiteY96" fmla="*/ 499748 h 792241"/>
                <a:gd name="connsiteX97" fmla="*/ 890958 w 1401730"/>
                <a:gd name="connsiteY97" fmla="*/ 479905 h 792241"/>
                <a:gd name="connsiteX98" fmla="*/ 952342 w 1401730"/>
                <a:gd name="connsiteY98" fmla="*/ 448937 h 792241"/>
                <a:gd name="connsiteX99" fmla="*/ 965722 w 1401730"/>
                <a:gd name="connsiteY99" fmla="*/ 448385 h 792241"/>
                <a:gd name="connsiteX100" fmla="*/ 971134 w 1401730"/>
                <a:gd name="connsiteY100" fmla="*/ 448636 h 792241"/>
                <a:gd name="connsiteX101" fmla="*/ 972737 w 1401730"/>
                <a:gd name="connsiteY101" fmla="*/ 448636 h 792241"/>
                <a:gd name="connsiteX102" fmla="*/ 974241 w 1401730"/>
                <a:gd name="connsiteY102" fmla="*/ 451492 h 792241"/>
                <a:gd name="connsiteX103" fmla="*/ 984964 w 1401730"/>
                <a:gd name="connsiteY103" fmla="*/ 471987 h 792241"/>
                <a:gd name="connsiteX104" fmla="*/ 1025904 w 1401730"/>
                <a:gd name="connsiteY104" fmla="*/ 452144 h 792241"/>
                <a:gd name="connsiteX105" fmla="*/ 1029462 w 1401730"/>
                <a:gd name="connsiteY105" fmla="*/ 448385 h 792241"/>
                <a:gd name="connsiteX106" fmla="*/ 1046499 w 1401730"/>
                <a:gd name="connsiteY106" fmla="*/ 435156 h 792241"/>
                <a:gd name="connsiteX107" fmla="*/ 1050859 w 1401730"/>
                <a:gd name="connsiteY107" fmla="*/ 433553 h 792241"/>
                <a:gd name="connsiteX108" fmla="*/ 1071354 w 1401730"/>
                <a:gd name="connsiteY108" fmla="*/ 425234 h 792241"/>
                <a:gd name="connsiteX109" fmla="*/ 1119309 w 1401730"/>
                <a:gd name="connsiteY109" fmla="*/ 422829 h 792241"/>
                <a:gd name="connsiteX110" fmla="*/ 1126375 w 1401730"/>
                <a:gd name="connsiteY110" fmla="*/ 425234 h 792241"/>
                <a:gd name="connsiteX111" fmla="*/ 1129382 w 1401730"/>
                <a:gd name="connsiteY111" fmla="*/ 426287 h 792241"/>
                <a:gd name="connsiteX112" fmla="*/ 1132639 w 1401730"/>
                <a:gd name="connsiteY112" fmla="*/ 423430 h 792241"/>
                <a:gd name="connsiteX113" fmla="*/ 1142761 w 1401730"/>
                <a:gd name="connsiteY113" fmla="*/ 414711 h 792241"/>
                <a:gd name="connsiteX114" fmla="*/ 1147672 w 1401730"/>
                <a:gd name="connsiteY114" fmla="*/ 410402 h 792241"/>
                <a:gd name="connsiteX115" fmla="*/ 1162154 w 1401730"/>
                <a:gd name="connsiteY115" fmla="*/ 400230 h 792241"/>
                <a:gd name="connsiteX116" fmla="*/ 1185856 w 1401730"/>
                <a:gd name="connsiteY116" fmla="*/ 381639 h 792241"/>
                <a:gd name="connsiteX117" fmla="*/ 1222586 w 1401730"/>
                <a:gd name="connsiteY117" fmla="*/ 363749 h 792241"/>
                <a:gd name="connsiteX118" fmla="*/ 1240376 w 1401730"/>
                <a:gd name="connsiteY118" fmla="*/ 361545 h 792241"/>
                <a:gd name="connsiteX119" fmla="*/ 1294895 w 1401730"/>
                <a:gd name="connsiteY119" fmla="*/ 354579 h 792241"/>
                <a:gd name="connsiteX120" fmla="*/ 1313586 w 1401730"/>
                <a:gd name="connsiteY120" fmla="*/ 344307 h 792241"/>
                <a:gd name="connsiteX121" fmla="*/ 1345306 w 1401730"/>
                <a:gd name="connsiteY121" fmla="*/ 318500 h 792241"/>
                <a:gd name="connsiteX122" fmla="*/ 1362594 w 1401730"/>
                <a:gd name="connsiteY122" fmla="*/ 311535 h 792241"/>
                <a:gd name="connsiteX123" fmla="*/ 1401730 w 1401730"/>
                <a:gd name="connsiteY123" fmla="*/ 282821 h 792241"/>
                <a:gd name="connsiteX124" fmla="*/ 1385795 w 1401730"/>
                <a:gd name="connsiteY124" fmla="*/ 245840 h 792241"/>
                <a:gd name="connsiteX125" fmla="*/ 1380333 w 1401730"/>
                <a:gd name="connsiteY125" fmla="*/ 214522 h 792241"/>
                <a:gd name="connsiteX126" fmla="*/ 1382187 w 1401730"/>
                <a:gd name="connsiteY126" fmla="*/ 207406 h 792241"/>
                <a:gd name="connsiteX127" fmla="*/ 1385544 w 1401730"/>
                <a:gd name="connsiteY127" fmla="*/ 196031 h 792241"/>
                <a:gd name="connsiteX128" fmla="*/ 1392209 w 1401730"/>
                <a:gd name="connsiteY128" fmla="*/ 185458 h 792241"/>
                <a:gd name="connsiteX129" fmla="*/ 1393813 w 1401730"/>
                <a:gd name="connsiteY129" fmla="*/ 183303 h 792241"/>
                <a:gd name="connsiteX130" fmla="*/ 1373217 w 1401730"/>
                <a:gd name="connsiteY130" fmla="*/ 184305 h 792241"/>
                <a:gd name="connsiteX131" fmla="*/ 1310630 w 1401730"/>
                <a:gd name="connsiteY131" fmla="*/ 217678 h 792241"/>
                <a:gd name="connsiteX132" fmla="*/ 1272245 w 1401730"/>
                <a:gd name="connsiteY132" fmla="*/ 226698 h 792241"/>
                <a:gd name="connsiteX133" fmla="*/ 1264428 w 1401730"/>
                <a:gd name="connsiteY133" fmla="*/ 244688 h 792241"/>
                <a:gd name="connsiteX134" fmla="*/ 1263276 w 1401730"/>
                <a:gd name="connsiteY134" fmla="*/ 245089 h 792241"/>
                <a:gd name="connsiteX135" fmla="*/ 1154537 w 1401730"/>
                <a:gd name="connsiteY135" fmla="*/ 271797 h 792241"/>
                <a:gd name="connsiteX136" fmla="*/ 1126525 w 1401730"/>
                <a:gd name="connsiteY136" fmla="*/ 263429 h 792241"/>
                <a:gd name="connsiteX137" fmla="*/ 1100568 w 1401730"/>
                <a:gd name="connsiteY137" fmla="*/ 244136 h 792241"/>
                <a:gd name="connsiteX138" fmla="*/ 984513 w 1401730"/>
                <a:gd name="connsiteY138" fmla="*/ 174333 h 792241"/>
                <a:gd name="connsiteX139" fmla="*/ 855329 w 1401730"/>
                <a:gd name="connsiteY139" fmla="*/ 96612 h 792241"/>
                <a:gd name="connsiteX140" fmla="*/ 820403 w 1401730"/>
                <a:gd name="connsiteY140" fmla="*/ 71858 h 792241"/>
                <a:gd name="connsiteX141" fmla="*/ 748946 w 1401730"/>
                <a:gd name="connsiteY141" fmla="*/ 13379 h 792241"/>
                <a:gd name="connsiteX142" fmla="*/ 718579 w 1401730"/>
                <a:gd name="connsiteY142" fmla="*/ 2255 h 792241"/>
                <a:gd name="connsiteX143" fmla="*/ 698785 w 1401730"/>
                <a:gd name="connsiteY143" fmla="*/ 1002 h 792241"/>
                <a:gd name="connsiteX144" fmla="*/ 689315 w 1401730"/>
                <a:gd name="connsiteY144" fmla="*/ 0 h 792241"/>
                <a:gd name="connsiteX145" fmla="*/ 629283 w 1401730"/>
                <a:gd name="connsiteY145" fmla="*/ 7767 h 792241"/>
                <a:gd name="connsiteX146" fmla="*/ 537782 w 1401730"/>
                <a:gd name="connsiteY146" fmla="*/ 2455 h 792241"/>
                <a:gd name="connsiteX147" fmla="*/ 519742 w 1401730"/>
                <a:gd name="connsiteY147" fmla="*/ 11275 h 792241"/>
                <a:gd name="connsiteX148" fmla="*/ 489576 w 1401730"/>
                <a:gd name="connsiteY148" fmla="*/ 51664 h 792241"/>
                <a:gd name="connsiteX149" fmla="*/ 477199 w 1401730"/>
                <a:gd name="connsiteY149" fmla="*/ 68150 h 792241"/>
                <a:gd name="connsiteX150" fmla="*/ 468930 w 1401730"/>
                <a:gd name="connsiteY150" fmla="*/ 89597 h 792241"/>
                <a:gd name="connsiteX151" fmla="*/ 469331 w 1401730"/>
                <a:gd name="connsiteY151" fmla="*/ 89898 h 792241"/>
                <a:gd name="connsiteX152" fmla="*/ 472839 w 1401730"/>
                <a:gd name="connsiteY152" fmla="*/ 92253 h 792241"/>
                <a:gd name="connsiteX153" fmla="*/ 475345 w 1401730"/>
                <a:gd name="connsiteY153" fmla="*/ 93255 h 792241"/>
                <a:gd name="connsiteX154" fmla="*/ 479554 w 1401730"/>
                <a:gd name="connsiteY154" fmla="*/ 95159 h 792241"/>
                <a:gd name="connsiteX155" fmla="*/ 488624 w 1401730"/>
                <a:gd name="connsiteY155" fmla="*/ 118110 h 792241"/>
                <a:gd name="connsiteX156" fmla="*/ 479804 w 1401730"/>
                <a:gd name="connsiteY156" fmla="*/ 145319 h 792241"/>
                <a:gd name="connsiteX157" fmla="*/ 479604 w 1401730"/>
                <a:gd name="connsiteY157" fmla="*/ 176989 h 792241"/>
                <a:gd name="connsiteX158" fmla="*/ 478852 w 1401730"/>
                <a:gd name="connsiteY158" fmla="*/ 197935 h 792241"/>
                <a:gd name="connsiteX159" fmla="*/ 476497 w 1401730"/>
                <a:gd name="connsiteY159" fmla="*/ 200791 h 792241"/>
                <a:gd name="connsiteX160" fmla="*/ 456453 w 1401730"/>
                <a:gd name="connsiteY160" fmla="*/ 216476 h 792241"/>
                <a:gd name="connsiteX161" fmla="*/ 455351 w 1401730"/>
                <a:gd name="connsiteY161" fmla="*/ 216776 h 792241"/>
                <a:gd name="connsiteX162" fmla="*/ 454348 w 1401730"/>
                <a:gd name="connsiteY162" fmla="*/ 216175 h 792241"/>
                <a:gd name="connsiteX163" fmla="*/ 440017 w 1401730"/>
                <a:gd name="connsiteY163" fmla="*/ 203648 h 792241"/>
                <a:gd name="connsiteX164" fmla="*/ 424733 w 1401730"/>
                <a:gd name="connsiteY164" fmla="*/ 191120 h 792241"/>
                <a:gd name="connsiteX165" fmla="*/ 405241 w 1401730"/>
                <a:gd name="connsiteY165" fmla="*/ 199939 h 792241"/>
                <a:gd name="connsiteX166" fmla="*/ 392462 w 1401730"/>
                <a:gd name="connsiteY166" fmla="*/ 181799 h 792241"/>
                <a:gd name="connsiteX167" fmla="*/ 386750 w 1401730"/>
                <a:gd name="connsiteY167" fmla="*/ 181649 h 792241"/>
                <a:gd name="connsiteX168" fmla="*/ 374323 w 1401730"/>
                <a:gd name="connsiteY168" fmla="*/ 179795 h 792241"/>
                <a:gd name="connsiteX169" fmla="*/ 346912 w 1401730"/>
                <a:gd name="connsiteY169" fmla="*/ 179244 h 792241"/>
                <a:gd name="connsiteX170" fmla="*/ 345710 w 1401730"/>
                <a:gd name="connsiteY170" fmla="*/ 179945 h 792241"/>
                <a:gd name="connsiteX171" fmla="*/ 344457 w 1401730"/>
                <a:gd name="connsiteY171" fmla="*/ 179394 h 792241"/>
                <a:gd name="connsiteX172" fmla="*/ 328672 w 1401730"/>
                <a:gd name="connsiteY172" fmla="*/ 158248 h 792241"/>
                <a:gd name="connsiteX173" fmla="*/ 321607 w 1401730"/>
                <a:gd name="connsiteY173" fmla="*/ 144217 h 792241"/>
                <a:gd name="connsiteX174" fmla="*/ 220735 w 1401730"/>
                <a:gd name="connsiteY174" fmla="*/ 85538 h 792241"/>
                <a:gd name="connsiteX175" fmla="*/ 214121 w 1401730"/>
                <a:gd name="connsiteY175" fmla="*/ 84636 h 792241"/>
                <a:gd name="connsiteX176" fmla="*/ 213118 w 1401730"/>
                <a:gd name="connsiteY176" fmla="*/ 84586 h 792241"/>
                <a:gd name="connsiteX177" fmla="*/ 219132 w 1401730"/>
                <a:gd name="connsiteY177" fmla="*/ 131940 h 792241"/>
                <a:gd name="connsiteX178" fmla="*/ 221838 w 1401730"/>
                <a:gd name="connsiteY178" fmla="*/ 137252 h 792241"/>
                <a:gd name="connsiteX179" fmla="*/ 229555 w 1401730"/>
                <a:gd name="connsiteY179" fmla="*/ 161755 h 792241"/>
                <a:gd name="connsiteX180" fmla="*/ 229605 w 1401730"/>
                <a:gd name="connsiteY180" fmla="*/ 173281 h 792241"/>
                <a:gd name="connsiteX181" fmla="*/ 229254 w 1401730"/>
                <a:gd name="connsiteY181" fmla="*/ 195079 h 792241"/>
                <a:gd name="connsiteX182" fmla="*/ 222840 w 1401730"/>
                <a:gd name="connsiteY182" fmla="*/ 214020 h 792241"/>
                <a:gd name="connsiteX183" fmla="*/ 218129 w 1401730"/>
                <a:gd name="connsiteY183" fmla="*/ 263479 h 792241"/>
                <a:gd name="connsiteX184" fmla="*/ 218480 w 1401730"/>
                <a:gd name="connsiteY184" fmla="*/ 266786 h 792241"/>
                <a:gd name="connsiteX185" fmla="*/ 218230 w 1401730"/>
                <a:gd name="connsiteY185" fmla="*/ 269843 h 792241"/>
                <a:gd name="connsiteX186" fmla="*/ 218230 w 1401730"/>
                <a:gd name="connsiteY186" fmla="*/ 271346 h 792241"/>
                <a:gd name="connsiteX187" fmla="*/ 216827 w 1401730"/>
                <a:gd name="connsiteY187" fmla="*/ 272048 h 792241"/>
                <a:gd name="connsiteX188" fmla="*/ 179895 w 1401730"/>
                <a:gd name="connsiteY188" fmla="*/ 283874 h 792241"/>
                <a:gd name="connsiteX189" fmla="*/ 168520 w 1401730"/>
                <a:gd name="connsiteY189" fmla="*/ 287582 h 792241"/>
                <a:gd name="connsiteX190" fmla="*/ 139006 w 1401730"/>
                <a:gd name="connsiteY190" fmla="*/ 343455 h 792241"/>
                <a:gd name="connsiteX191" fmla="*/ 140609 w 1401730"/>
                <a:gd name="connsiteY191" fmla="*/ 351122 h 792241"/>
                <a:gd name="connsiteX192" fmla="*/ 149729 w 1401730"/>
                <a:gd name="connsiteY192" fmla="*/ 350320 h 792241"/>
                <a:gd name="connsiteX193" fmla="*/ 155291 w 1401730"/>
                <a:gd name="connsiteY193" fmla="*/ 348015 h 792241"/>
                <a:gd name="connsiteX194" fmla="*/ 157997 w 1401730"/>
                <a:gd name="connsiteY194" fmla="*/ 346862 h 792241"/>
                <a:gd name="connsiteX195" fmla="*/ 158949 w 1401730"/>
                <a:gd name="connsiteY195" fmla="*/ 347163 h 792241"/>
                <a:gd name="connsiteX196" fmla="*/ 168119 w 1401730"/>
                <a:gd name="connsiteY196" fmla="*/ 352424 h 792241"/>
                <a:gd name="connsiteX197" fmla="*/ 179094 w 1401730"/>
                <a:gd name="connsiteY197" fmla="*/ 356183 h 792241"/>
                <a:gd name="connsiteX198" fmla="*/ 179344 w 1401730"/>
                <a:gd name="connsiteY198" fmla="*/ 355982 h 792241"/>
                <a:gd name="connsiteX199" fmla="*/ 179996 w 1401730"/>
                <a:gd name="connsiteY199" fmla="*/ 355431 h 792241"/>
                <a:gd name="connsiteX200" fmla="*/ 180847 w 1401730"/>
                <a:gd name="connsiteY200" fmla="*/ 354329 h 792241"/>
                <a:gd name="connsiteX201" fmla="*/ 183854 w 1401730"/>
                <a:gd name="connsiteY201" fmla="*/ 349969 h 792241"/>
                <a:gd name="connsiteX202" fmla="*/ 228201 w 1401730"/>
                <a:gd name="connsiteY202" fmla="*/ 329223 h 792241"/>
                <a:gd name="connsiteX203" fmla="*/ 236720 w 1401730"/>
                <a:gd name="connsiteY203" fmla="*/ 329374 h 792241"/>
                <a:gd name="connsiteX204" fmla="*/ 237221 w 1401730"/>
                <a:gd name="connsiteY204" fmla="*/ 329374 h 792241"/>
                <a:gd name="connsiteX205" fmla="*/ 263279 w 1401730"/>
                <a:gd name="connsiteY205" fmla="*/ 342102 h 792241"/>
                <a:gd name="connsiteX206" fmla="*/ 266185 w 1401730"/>
                <a:gd name="connsiteY206" fmla="*/ 347564 h 792241"/>
                <a:gd name="connsiteX207" fmla="*/ 275656 w 1401730"/>
                <a:gd name="connsiteY207" fmla="*/ 371266 h 792241"/>
                <a:gd name="connsiteX208" fmla="*/ 275856 w 1401730"/>
                <a:gd name="connsiteY208" fmla="*/ 372519 h 792241"/>
                <a:gd name="connsiteX209" fmla="*/ 271246 w 1401730"/>
                <a:gd name="connsiteY209" fmla="*/ 377730 h 792241"/>
                <a:gd name="connsiteX210" fmla="*/ 263780 w 1401730"/>
                <a:gd name="connsiteY210" fmla="*/ 385998 h 792241"/>
                <a:gd name="connsiteX211" fmla="*/ 203447 w 1401730"/>
                <a:gd name="connsiteY211" fmla="*/ 439716 h 792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</a:cxnLst>
              <a:rect l="l" t="t" r="r" b="b"/>
              <a:pathLst>
                <a:path w="1401730" h="792241">
                  <a:moveTo>
                    <a:pt x="203547" y="439516"/>
                  </a:moveTo>
                  <a:cubicBezTo>
                    <a:pt x="195329" y="445729"/>
                    <a:pt x="190068" y="453096"/>
                    <a:pt x="186961" y="462617"/>
                  </a:cubicBezTo>
                  <a:cubicBezTo>
                    <a:pt x="185007" y="468630"/>
                    <a:pt x="182451" y="474443"/>
                    <a:pt x="179945" y="480055"/>
                  </a:cubicBezTo>
                  <a:cubicBezTo>
                    <a:pt x="178943" y="482310"/>
                    <a:pt x="177941" y="484565"/>
                    <a:pt x="176989" y="486820"/>
                  </a:cubicBezTo>
                  <a:cubicBezTo>
                    <a:pt x="174032" y="493785"/>
                    <a:pt x="168871" y="498395"/>
                    <a:pt x="161605" y="500500"/>
                  </a:cubicBezTo>
                  <a:cubicBezTo>
                    <a:pt x="155341" y="502304"/>
                    <a:pt x="149028" y="504609"/>
                    <a:pt x="142914" y="506864"/>
                  </a:cubicBezTo>
                  <a:cubicBezTo>
                    <a:pt x="129234" y="511875"/>
                    <a:pt x="115103" y="517036"/>
                    <a:pt x="99619" y="517387"/>
                  </a:cubicBezTo>
                  <a:cubicBezTo>
                    <a:pt x="90148" y="517587"/>
                    <a:pt x="82582" y="520945"/>
                    <a:pt x="78823" y="526657"/>
                  </a:cubicBezTo>
                  <a:cubicBezTo>
                    <a:pt x="76568" y="530065"/>
                    <a:pt x="74163" y="533372"/>
                    <a:pt x="71758" y="536729"/>
                  </a:cubicBezTo>
                  <a:cubicBezTo>
                    <a:pt x="61285" y="551311"/>
                    <a:pt x="51413" y="565042"/>
                    <a:pt x="52465" y="583933"/>
                  </a:cubicBezTo>
                  <a:cubicBezTo>
                    <a:pt x="52666" y="587391"/>
                    <a:pt x="51563" y="590748"/>
                    <a:pt x="50561" y="593955"/>
                  </a:cubicBezTo>
                  <a:cubicBezTo>
                    <a:pt x="50110" y="595308"/>
                    <a:pt x="49709" y="596711"/>
                    <a:pt x="49358" y="598114"/>
                  </a:cubicBezTo>
                  <a:lnTo>
                    <a:pt x="49008" y="599618"/>
                  </a:lnTo>
                  <a:lnTo>
                    <a:pt x="47555" y="600069"/>
                  </a:lnTo>
                  <a:cubicBezTo>
                    <a:pt x="45400" y="600720"/>
                    <a:pt x="43345" y="601472"/>
                    <a:pt x="41341" y="602173"/>
                  </a:cubicBezTo>
                  <a:cubicBezTo>
                    <a:pt x="36931" y="603727"/>
                    <a:pt x="32772" y="605180"/>
                    <a:pt x="28312" y="605831"/>
                  </a:cubicBezTo>
                  <a:cubicBezTo>
                    <a:pt x="14231" y="607836"/>
                    <a:pt x="5462" y="615703"/>
                    <a:pt x="0" y="631237"/>
                  </a:cubicBezTo>
                  <a:cubicBezTo>
                    <a:pt x="451" y="631838"/>
                    <a:pt x="852" y="632440"/>
                    <a:pt x="1253" y="633041"/>
                  </a:cubicBezTo>
                  <a:cubicBezTo>
                    <a:pt x="2506" y="634845"/>
                    <a:pt x="3558" y="636398"/>
                    <a:pt x="4861" y="637751"/>
                  </a:cubicBezTo>
                  <a:cubicBezTo>
                    <a:pt x="18190" y="651431"/>
                    <a:pt x="24805" y="666464"/>
                    <a:pt x="25105" y="683752"/>
                  </a:cubicBezTo>
                  <a:cubicBezTo>
                    <a:pt x="25206" y="689816"/>
                    <a:pt x="27260" y="696180"/>
                    <a:pt x="29264" y="702343"/>
                  </a:cubicBezTo>
                  <a:lnTo>
                    <a:pt x="30417" y="705851"/>
                  </a:lnTo>
                  <a:cubicBezTo>
                    <a:pt x="32822" y="713468"/>
                    <a:pt x="31970" y="719882"/>
                    <a:pt x="27761" y="726096"/>
                  </a:cubicBezTo>
                  <a:cubicBezTo>
                    <a:pt x="27761" y="726296"/>
                    <a:pt x="27761" y="727298"/>
                    <a:pt x="27861" y="728200"/>
                  </a:cubicBezTo>
                  <a:cubicBezTo>
                    <a:pt x="28212" y="728050"/>
                    <a:pt x="28563" y="727899"/>
                    <a:pt x="28914" y="727749"/>
                  </a:cubicBezTo>
                  <a:cubicBezTo>
                    <a:pt x="31569" y="726547"/>
                    <a:pt x="33674" y="725645"/>
                    <a:pt x="35328" y="724342"/>
                  </a:cubicBezTo>
                  <a:cubicBezTo>
                    <a:pt x="38034" y="722187"/>
                    <a:pt x="40639" y="719782"/>
                    <a:pt x="43195" y="717477"/>
                  </a:cubicBezTo>
                  <a:cubicBezTo>
                    <a:pt x="47003" y="714019"/>
                    <a:pt x="50912" y="710411"/>
                    <a:pt x="55272" y="707455"/>
                  </a:cubicBezTo>
                  <a:cubicBezTo>
                    <a:pt x="60984" y="703646"/>
                    <a:pt x="67248" y="700640"/>
                    <a:pt x="73311" y="697733"/>
                  </a:cubicBezTo>
                  <a:cubicBezTo>
                    <a:pt x="75566" y="696681"/>
                    <a:pt x="77821" y="695579"/>
                    <a:pt x="80026" y="694476"/>
                  </a:cubicBezTo>
                  <a:cubicBezTo>
                    <a:pt x="81229" y="693875"/>
                    <a:pt x="82481" y="693624"/>
                    <a:pt x="83784" y="693424"/>
                  </a:cubicBezTo>
                  <a:cubicBezTo>
                    <a:pt x="84386" y="693324"/>
                    <a:pt x="85037" y="693223"/>
                    <a:pt x="85738" y="693023"/>
                  </a:cubicBezTo>
                  <a:lnTo>
                    <a:pt x="86640" y="692822"/>
                  </a:lnTo>
                  <a:lnTo>
                    <a:pt x="100170" y="699086"/>
                  </a:lnTo>
                  <a:cubicBezTo>
                    <a:pt x="109190" y="703245"/>
                    <a:pt x="118410" y="707505"/>
                    <a:pt x="127681" y="711714"/>
                  </a:cubicBezTo>
                  <a:cubicBezTo>
                    <a:pt x="141511" y="717928"/>
                    <a:pt x="154389" y="718830"/>
                    <a:pt x="167067" y="714470"/>
                  </a:cubicBezTo>
                  <a:cubicBezTo>
                    <a:pt x="183102" y="708958"/>
                    <a:pt x="199538" y="709760"/>
                    <a:pt x="214972" y="711012"/>
                  </a:cubicBezTo>
                  <a:cubicBezTo>
                    <a:pt x="217077" y="711213"/>
                    <a:pt x="219132" y="711363"/>
                    <a:pt x="221587" y="711514"/>
                  </a:cubicBezTo>
                  <a:lnTo>
                    <a:pt x="222088" y="711514"/>
                  </a:lnTo>
                  <a:cubicBezTo>
                    <a:pt x="221988" y="707455"/>
                    <a:pt x="221236" y="703396"/>
                    <a:pt x="220484" y="699437"/>
                  </a:cubicBezTo>
                  <a:cubicBezTo>
                    <a:pt x="218881" y="690968"/>
                    <a:pt x="217177" y="682149"/>
                    <a:pt x="222188" y="673179"/>
                  </a:cubicBezTo>
                  <a:cubicBezTo>
                    <a:pt x="224594" y="668870"/>
                    <a:pt x="226297" y="664260"/>
                    <a:pt x="228151" y="659349"/>
                  </a:cubicBezTo>
                  <a:cubicBezTo>
                    <a:pt x="231058" y="651632"/>
                    <a:pt x="234064" y="643614"/>
                    <a:pt x="239877" y="636549"/>
                  </a:cubicBezTo>
                  <a:lnTo>
                    <a:pt x="240980" y="635196"/>
                  </a:lnTo>
                  <a:lnTo>
                    <a:pt x="248346" y="637350"/>
                  </a:lnTo>
                  <a:cubicBezTo>
                    <a:pt x="254509" y="639155"/>
                    <a:pt x="260272" y="640808"/>
                    <a:pt x="266035" y="642562"/>
                  </a:cubicBezTo>
                  <a:cubicBezTo>
                    <a:pt x="270094" y="643815"/>
                    <a:pt x="274102" y="645168"/>
                    <a:pt x="278111" y="646571"/>
                  </a:cubicBezTo>
                  <a:cubicBezTo>
                    <a:pt x="289837" y="650630"/>
                    <a:pt x="300911" y="654438"/>
                    <a:pt x="313188" y="654588"/>
                  </a:cubicBezTo>
                  <a:cubicBezTo>
                    <a:pt x="317698" y="654588"/>
                    <a:pt x="322409" y="657395"/>
                    <a:pt x="325315" y="660000"/>
                  </a:cubicBezTo>
                  <a:cubicBezTo>
                    <a:pt x="326167" y="660752"/>
                    <a:pt x="327069" y="661504"/>
                    <a:pt x="327921" y="662255"/>
                  </a:cubicBezTo>
                  <a:cubicBezTo>
                    <a:pt x="333232" y="666765"/>
                    <a:pt x="338744" y="671425"/>
                    <a:pt x="340699" y="679142"/>
                  </a:cubicBezTo>
                  <a:lnTo>
                    <a:pt x="340849" y="679744"/>
                  </a:lnTo>
                  <a:lnTo>
                    <a:pt x="337542" y="694426"/>
                  </a:lnTo>
                  <a:cubicBezTo>
                    <a:pt x="346662" y="708507"/>
                    <a:pt x="358688" y="707655"/>
                    <a:pt x="373922" y="701892"/>
                  </a:cubicBezTo>
                  <a:lnTo>
                    <a:pt x="375826" y="701191"/>
                  </a:lnTo>
                  <a:lnTo>
                    <a:pt x="381138" y="708457"/>
                  </a:lnTo>
                  <a:cubicBezTo>
                    <a:pt x="384695" y="713368"/>
                    <a:pt x="388053" y="717978"/>
                    <a:pt x="391460" y="722538"/>
                  </a:cubicBezTo>
                  <a:cubicBezTo>
                    <a:pt x="401382" y="735917"/>
                    <a:pt x="414110" y="740527"/>
                    <a:pt x="430245" y="736719"/>
                  </a:cubicBezTo>
                  <a:cubicBezTo>
                    <a:pt x="432751" y="736118"/>
                    <a:pt x="435156" y="735316"/>
                    <a:pt x="437762" y="734464"/>
                  </a:cubicBezTo>
                  <a:cubicBezTo>
                    <a:pt x="441270" y="733261"/>
                    <a:pt x="444878" y="732059"/>
                    <a:pt x="448636" y="731507"/>
                  </a:cubicBezTo>
                  <a:cubicBezTo>
                    <a:pt x="452544" y="730906"/>
                    <a:pt x="459760" y="730405"/>
                    <a:pt x="463970" y="733712"/>
                  </a:cubicBezTo>
                  <a:cubicBezTo>
                    <a:pt x="469181" y="737721"/>
                    <a:pt x="474693" y="738022"/>
                    <a:pt x="481057" y="738322"/>
                  </a:cubicBezTo>
                  <a:cubicBezTo>
                    <a:pt x="482360" y="738372"/>
                    <a:pt x="483663" y="738423"/>
                    <a:pt x="484966" y="738523"/>
                  </a:cubicBezTo>
                  <a:cubicBezTo>
                    <a:pt x="492382" y="739024"/>
                    <a:pt x="499648" y="739976"/>
                    <a:pt x="508016" y="741028"/>
                  </a:cubicBezTo>
                  <a:cubicBezTo>
                    <a:pt x="511724" y="741479"/>
                    <a:pt x="515633" y="741980"/>
                    <a:pt x="519792" y="742482"/>
                  </a:cubicBezTo>
                  <a:cubicBezTo>
                    <a:pt x="521446" y="741880"/>
                    <a:pt x="523250" y="741279"/>
                    <a:pt x="525204" y="740627"/>
                  </a:cubicBezTo>
                  <a:cubicBezTo>
                    <a:pt x="530917" y="738673"/>
                    <a:pt x="538032" y="736268"/>
                    <a:pt x="544747" y="733311"/>
                  </a:cubicBezTo>
                  <a:cubicBezTo>
                    <a:pt x="548756" y="731558"/>
                    <a:pt x="552514" y="730706"/>
                    <a:pt x="556122" y="730706"/>
                  </a:cubicBezTo>
                  <a:cubicBezTo>
                    <a:pt x="562937" y="730706"/>
                    <a:pt x="569151" y="733863"/>
                    <a:pt x="575114" y="740327"/>
                  </a:cubicBezTo>
                  <a:cubicBezTo>
                    <a:pt x="583031" y="748896"/>
                    <a:pt x="591550" y="757214"/>
                    <a:pt x="599718" y="765282"/>
                  </a:cubicBezTo>
                  <a:cubicBezTo>
                    <a:pt x="603727" y="769240"/>
                    <a:pt x="607735" y="773149"/>
                    <a:pt x="611744" y="777158"/>
                  </a:cubicBezTo>
                  <a:cubicBezTo>
                    <a:pt x="617357" y="782820"/>
                    <a:pt x="622518" y="785576"/>
                    <a:pt x="628431" y="786127"/>
                  </a:cubicBezTo>
                  <a:cubicBezTo>
                    <a:pt x="637401" y="786929"/>
                    <a:pt x="646420" y="787781"/>
                    <a:pt x="655440" y="788633"/>
                  </a:cubicBezTo>
                  <a:cubicBezTo>
                    <a:pt x="666865" y="789735"/>
                    <a:pt x="678240" y="790788"/>
                    <a:pt x="689665" y="791790"/>
                  </a:cubicBezTo>
                  <a:lnTo>
                    <a:pt x="691169" y="791940"/>
                  </a:lnTo>
                  <a:cubicBezTo>
                    <a:pt x="693975" y="792241"/>
                    <a:pt x="697833" y="792592"/>
                    <a:pt x="699387" y="791489"/>
                  </a:cubicBezTo>
                  <a:cubicBezTo>
                    <a:pt x="702394" y="789334"/>
                    <a:pt x="705600" y="787430"/>
                    <a:pt x="708707" y="785576"/>
                  </a:cubicBezTo>
                  <a:cubicBezTo>
                    <a:pt x="718128" y="779914"/>
                    <a:pt x="727048" y="774602"/>
                    <a:pt x="730605" y="763377"/>
                  </a:cubicBezTo>
                  <a:cubicBezTo>
                    <a:pt x="732961" y="755961"/>
                    <a:pt x="735867" y="748896"/>
                    <a:pt x="738673" y="742031"/>
                  </a:cubicBezTo>
                  <a:cubicBezTo>
                    <a:pt x="739826" y="739174"/>
                    <a:pt x="740978" y="736418"/>
                    <a:pt x="742030" y="733712"/>
                  </a:cubicBezTo>
                  <a:lnTo>
                    <a:pt x="742431" y="732660"/>
                  </a:lnTo>
                  <a:lnTo>
                    <a:pt x="743433" y="732209"/>
                  </a:lnTo>
                  <a:cubicBezTo>
                    <a:pt x="744386" y="731808"/>
                    <a:pt x="745037" y="731507"/>
                    <a:pt x="745538" y="731257"/>
                  </a:cubicBezTo>
                  <a:cubicBezTo>
                    <a:pt x="746440" y="730856"/>
                    <a:pt x="746941" y="730605"/>
                    <a:pt x="747493" y="730455"/>
                  </a:cubicBezTo>
                  <a:cubicBezTo>
                    <a:pt x="748344" y="730204"/>
                    <a:pt x="749196" y="730004"/>
                    <a:pt x="750048" y="729804"/>
                  </a:cubicBezTo>
                  <a:cubicBezTo>
                    <a:pt x="750699" y="729653"/>
                    <a:pt x="751401" y="729453"/>
                    <a:pt x="752052" y="729303"/>
                  </a:cubicBezTo>
                  <a:cubicBezTo>
                    <a:pt x="758767" y="727448"/>
                    <a:pt x="763177" y="725795"/>
                    <a:pt x="764279" y="723590"/>
                  </a:cubicBezTo>
                  <a:cubicBezTo>
                    <a:pt x="765181" y="721786"/>
                    <a:pt x="764530" y="718429"/>
                    <a:pt x="762075" y="712065"/>
                  </a:cubicBezTo>
                  <a:cubicBezTo>
                    <a:pt x="758016" y="701642"/>
                    <a:pt x="760972" y="693374"/>
                    <a:pt x="763979" y="687360"/>
                  </a:cubicBezTo>
                  <a:cubicBezTo>
                    <a:pt x="766585" y="682199"/>
                    <a:pt x="769140" y="677038"/>
                    <a:pt x="771746" y="671876"/>
                  </a:cubicBezTo>
                  <a:cubicBezTo>
                    <a:pt x="777909" y="659650"/>
                    <a:pt x="784273" y="647022"/>
                    <a:pt x="790287" y="634494"/>
                  </a:cubicBezTo>
                  <a:cubicBezTo>
                    <a:pt x="795348" y="623921"/>
                    <a:pt x="801762" y="614951"/>
                    <a:pt x="809930" y="606984"/>
                  </a:cubicBezTo>
                  <a:cubicBezTo>
                    <a:pt x="818949" y="598214"/>
                    <a:pt x="827869" y="589295"/>
                    <a:pt x="836739" y="580325"/>
                  </a:cubicBezTo>
                  <a:cubicBezTo>
                    <a:pt x="845107" y="571907"/>
                    <a:pt x="853475" y="563538"/>
                    <a:pt x="861944" y="555270"/>
                  </a:cubicBezTo>
                  <a:cubicBezTo>
                    <a:pt x="869360" y="548054"/>
                    <a:pt x="873118" y="540989"/>
                    <a:pt x="874121" y="532470"/>
                  </a:cubicBezTo>
                  <a:cubicBezTo>
                    <a:pt x="875023" y="524903"/>
                    <a:pt x="876476" y="517337"/>
                    <a:pt x="877879" y="510021"/>
                  </a:cubicBezTo>
                  <a:cubicBezTo>
                    <a:pt x="878530" y="506613"/>
                    <a:pt x="879182" y="503156"/>
                    <a:pt x="879783" y="499748"/>
                  </a:cubicBezTo>
                  <a:cubicBezTo>
                    <a:pt x="881437" y="490528"/>
                    <a:pt x="884994" y="484214"/>
                    <a:pt x="890958" y="479905"/>
                  </a:cubicBezTo>
                  <a:cubicBezTo>
                    <a:pt x="913006" y="464120"/>
                    <a:pt x="932499" y="454248"/>
                    <a:pt x="952342" y="448937"/>
                  </a:cubicBezTo>
                  <a:cubicBezTo>
                    <a:pt x="956752" y="447784"/>
                    <a:pt x="961312" y="448085"/>
                    <a:pt x="965722" y="448385"/>
                  </a:cubicBezTo>
                  <a:cubicBezTo>
                    <a:pt x="967576" y="448485"/>
                    <a:pt x="969380" y="448636"/>
                    <a:pt x="971134" y="448636"/>
                  </a:cubicBezTo>
                  <a:lnTo>
                    <a:pt x="972737" y="448636"/>
                  </a:lnTo>
                  <a:lnTo>
                    <a:pt x="974241" y="451492"/>
                  </a:lnTo>
                  <a:cubicBezTo>
                    <a:pt x="977899" y="458507"/>
                    <a:pt x="981306" y="464972"/>
                    <a:pt x="984964" y="471987"/>
                  </a:cubicBezTo>
                  <a:cubicBezTo>
                    <a:pt x="1000248" y="466625"/>
                    <a:pt x="1013276" y="459259"/>
                    <a:pt x="1025904" y="452144"/>
                  </a:cubicBezTo>
                  <a:cubicBezTo>
                    <a:pt x="1027458" y="451292"/>
                    <a:pt x="1028911" y="449738"/>
                    <a:pt x="1029462" y="448385"/>
                  </a:cubicBezTo>
                  <a:cubicBezTo>
                    <a:pt x="1032819" y="440167"/>
                    <a:pt x="1039785" y="437612"/>
                    <a:pt x="1046499" y="435156"/>
                  </a:cubicBezTo>
                  <a:lnTo>
                    <a:pt x="1050859" y="433553"/>
                  </a:lnTo>
                  <a:cubicBezTo>
                    <a:pt x="1057724" y="431047"/>
                    <a:pt x="1064790" y="428441"/>
                    <a:pt x="1071354" y="425234"/>
                  </a:cubicBezTo>
                  <a:cubicBezTo>
                    <a:pt x="1086086" y="418019"/>
                    <a:pt x="1101771" y="417217"/>
                    <a:pt x="1119309" y="422829"/>
                  </a:cubicBezTo>
                  <a:cubicBezTo>
                    <a:pt x="1121615" y="423581"/>
                    <a:pt x="1123970" y="424383"/>
                    <a:pt x="1126375" y="425234"/>
                  </a:cubicBezTo>
                  <a:lnTo>
                    <a:pt x="1129382" y="426287"/>
                  </a:lnTo>
                  <a:lnTo>
                    <a:pt x="1132639" y="423430"/>
                  </a:lnTo>
                  <a:cubicBezTo>
                    <a:pt x="1136096" y="420374"/>
                    <a:pt x="1139353" y="417467"/>
                    <a:pt x="1142761" y="414711"/>
                  </a:cubicBezTo>
                  <a:cubicBezTo>
                    <a:pt x="1144415" y="413358"/>
                    <a:pt x="1146018" y="411905"/>
                    <a:pt x="1147672" y="410402"/>
                  </a:cubicBezTo>
                  <a:cubicBezTo>
                    <a:pt x="1152082" y="406393"/>
                    <a:pt x="1156641" y="402234"/>
                    <a:pt x="1162154" y="400230"/>
                  </a:cubicBezTo>
                  <a:cubicBezTo>
                    <a:pt x="1172476" y="396521"/>
                    <a:pt x="1179742" y="390809"/>
                    <a:pt x="1185856" y="381639"/>
                  </a:cubicBezTo>
                  <a:cubicBezTo>
                    <a:pt x="1194474" y="368660"/>
                    <a:pt x="1207203" y="362446"/>
                    <a:pt x="1222586" y="363749"/>
                  </a:cubicBezTo>
                  <a:cubicBezTo>
                    <a:pt x="1227497" y="364150"/>
                    <a:pt x="1233160" y="363449"/>
                    <a:pt x="1240376" y="361545"/>
                  </a:cubicBezTo>
                  <a:cubicBezTo>
                    <a:pt x="1260269" y="356233"/>
                    <a:pt x="1278108" y="353928"/>
                    <a:pt x="1294895" y="354579"/>
                  </a:cubicBezTo>
                  <a:cubicBezTo>
                    <a:pt x="1301359" y="354780"/>
                    <a:pt x="1309878" y="353226"/>
                    <a:pt x="1313586" y="344307"/>
                  </a:cubicBezTo>
                  <a:cubicBezTo>
                    <a:pt x="1319950" y="328873"/>
                    <a:pt x="1332628" y="322809"/>
                    <a:pt x="1345306" y="318500"/>
                  </a:cubicBezTo>
                  <a:cubicBezTo>
                    <a:pt x="1350417" y="316796"/>
                    <a:pt x="1355729" y="314641"/>
                    <a:pt x="1362594" y="311535"/>
                  </a:cubicBezTo>
                  <a:cubicBezTo>
                    <a:pt x="1377326" y="304870"/>
                    <a:pt x="1390455" y="295199"/>
                    <a:pt x="1401730" y="282821"/>
                  </a:cubicBezTo>
                  <a:cubicBezTo>
                    <a:pt x="1400327" y="267237"/>
                    <a:pt x="1392911" y="255361"/>
                    <a:pt x="1385795" y="245840"/>
                  </a:cubicBezTo>
                  <a:cubicBezTo>
                    <a:pt x="1378529" y="236069"/>
                    <a:pt x="1376725" y="225796"/>
                    <a:pt x="1380333" y="214522"/>
                  </a:cubicBezTo>
                  <a:cubicBezTo>
                    <a:pt x="1381084" y="212216"/>
                    <a:pt x="1381636" y="209811"/>
                    <a:pt x="1382187" y="207406"/>
                  </a:cubicBezTo>
                  <a:cubicBezTo>
                    <a:pt x="1383039" y="203648"/>
                    <a:pt x="1383941" y="199739"/>
                    <a:pt x="1385544" y="196031"/>
                  </a:cubicBezTo>
                  <a:cubicBezTo>
                    <a:pt x="1387198" y="192222"/>
                    <a:pt x="1389653" y="188915"/>
                    <a:pt x="1392209" y="185458"/>
                  </a:cubicBezTo>
                  <a:cubicBezTo>
                    <a:pt x="1392710" y="184756"/>
                    <a:pt x="1393261" y="184004"/>
                    <a:pt x="1393813" y="183303"/>
                  </a:cubicBezTo>
                  <a:cubicBezTo>
                    <a:pt x="1386146" y="180196"/>
                    <a:pt x="1379982" y="180547"/>
                    <a:pt x="1373217" y="184305"/>
                  </a:cubicBezTo>
                  <a:cubicBezTo>
                    <a:pt x="1352772" y="195630"/>
                    <a:pt x="1331676" y="206855"/>
                    <a:pt x="1310630" y="217678"/>
                  </a:cubicBezTo>
                  <a:cubicBezTo>
                    <a:pt x="1292540" y="226999"/>
                    <a:pt x="1291337" y="227300"/>
                    <a:pt x="1272245" y="226698"/>
                  </a:cubicBezTo>
                  <a:lnTo>
                    <a:pt x="1264428" y="244688"/>
                  </a:lnTo>
                  <a:lnTo>
                    <a:pt x="1263276" y="245089"/>
                  </a:lnTo>
                  <a:cubicBezTo>
                    <a:pt x="1221684" y="259119"/>
                    <a:pt x="1187108" y="267638"/>
                    <a:pt x="1154537" y="271797"/>
                  </a:cubicBezTo>
                  <a:cubicBezTo>
                    <a:pt x="1142611" y="273301"/>
                    <a:pt x="1134242" y="270845"/>
                    <a:pt x="1126525" y="263429"/>
                  </a:cubicBezTo>
                  <a:cubicBezTo>
                    <a:pt x="1119710" y="256915"/>
                    <a:pt x="1111242" y="250601"/>
                    <a:pt x="1100568" y="244136"/>
                  </a:cubicBezTo>
                  <a:cubicBezTo>
                    <a:pt x="1061934" y="220835"/>
                    <a:pt x="1023198" y="197584"/>
                    <a:pt x="984513" y="174333"/>
                  </a:cubicBezTo>
                  <a:cubicBezTo>
                    <a:pt x="941418" y="148476"/>
                    <a:pt x="898374" y="122619"/>
                    <a:pt x="855329" y="96612"/>
                  </a:cubicBezTo>
                  <a:cubicBezTo>
                    <a:pt x="844556" y="90098"/>
                    <a:pt x="833481" y="82231"/>
                    <a:pt x="820403" y="71858"/>
                  </a:cubicBezTo>
                  <a:cubicBezTo>
                    <a:pt x="796300" y="52716"/>
                    <a:pt x="772297" y="33023"/>
                    <a:pt x="748946" y="13379"/>
                  </a:cubicBezTo>
                  <a:cubicBezTo>
                    <a:pt x="739174" y="5161"/>
                    <a:pt x="729804" y="1754"/>
                    <a:pt x="718579" y="2255"/>
                  </a:cubicBezTo>
                  <a:cubicBezTo>
                    <a:pt x="712115" y="2556"/>
                    <a:pt x="705650" y="1804"/>
                    <a:pt x="698785" y="1002"/>
                  </a:cubicBezTo>
                  <a:cubicBezTo>
                    <a:pt x="695729" y="651"/>
                    <a:pt x="692622" y="301"/>
                    <a:pt x="689315" y="0"/>
                  </a:cubicBezTo>
                  <a:cubicBezTo>
                    <a:pt x="663809" y="12277"/>
                    <a:pt x="662957" y="12327"/>
                    <a:pt x="629283" y="7767"/>
                  </a:cubicBezTo>
                  <a:cubicBezTo>
                    <a:pt x="596160" y="3257"/>
                    <a:pt x="566244" y="1554"/>
                    <a:pt x="537782" y="2455"/>
                  </a:cubicBezTo>
                  <a:cubicBezTo>
                    <a:pt x="529514" y="2706"/>
                    <a:pt x="524102" y="5312"/>
                    <a:pt x="519742" y="11275"/>
                  </a:cubicBezTo>
                  <a:cubicBezTo>
                    <a:pt x="509820" y="24805"/>
                    <a:pt x="499698" y="38234"/>
                    <a:pt x="489576" y="51664"/>
                  </a:cubicBezTo>
                  <a:lnTo>
                    <a:pt x="477199" y="68150"/>
                  </a:lnTo>
                  <a:cubicBezTo>
                    <a:pt x="471837" y="75265"/>
                    <a:pt x="469181" y="82131"/>
                    <a:pt x="468930" y="89597"/>
                  </a:cubicBezTo>
                  <a:cubicBezTo>
                    <a:pt x="469081" y="89697"/>
                    <a:pt x="469181" y="89797"/>
                    <a:pt x="469331" y="89898"/>
                  </a:cubicBezTo>
                  <a:cubicBezTo>
                    <a:pt x="470484" y="90749"/>
                    <a:pt x="471636" y="91601"/>
                    <a:pt x="472839" y="92253"/>
                  </a:cubicBezTo>
                  <a:cubicBezTo>
                    <a:pt x="473641" y="92704"/>
                    <a:pt x="474493" y="92954"/>
                    <a:pt x="475345" y="93255"/>
                  </a:cubicBezTo>
                  <a:cubicBezTo>
                    <a:pt x="476697" y="93706"/>
                    <a:pt x="478201" y="94207"/>
                    <a:pt x="479554" y="95159"/>
                  </a:cubicBezTo>
                  <a:cubicBezTo>
                    <a:pt x="489025" y="101423"/>
                    <a:pt x="491480" y="107687"/>
                    <a:pt x="488624" y="118110"/>
                  </a:cubicBezTo>
                  <a:cubicBezTo>
                    <a:pt x="486369" y="126428"/>
                    <a:pt x="483512" y="135347"/>
                    <a:pt x="479804" y="145319"/>
                  </a:cubicBezTo>
                  <a:cubicBezTo>
                    <a:pt x="475294" y="157446"/>
                    <a:pt x="473691" y="166967"/>
                    <a:pt x="479604" y="176989"/>
                  </a:cubicBezTo>
                  <a:cubicBezTo>
                    <a:pt x="483913" y="184355"/>
                    <a:pt x="483663" y="192172"/>
                    <a:pt x="478852" y="197935"/>
                  </a:cubicBezTo>
                  <a:cubicBezTo>
                    <a:pt x="478050" y="198887"/>
                    <a:pt x="477299" y="199839"/>
                    <a:pt x="476497" y="200791"/>
                  </a:cubicBezTo>
                  <a:cubicBezTo>
                    <a:pt x="471185" y="207306"/>
                    <a:pt x="465723" y="214020"/>
                    <a:pt x="456453" y="216476"/>
                  </a:cubicBezTo>
                  <a:lnTo>
                    <a:pt x="455351" y="216776"/>
                  </a:lnTo>
                  <a:lnTo>
                    <a:pt x="454348" y="216175"/>
                  </a:lnTo>
                  <a:cubicBezTo>
                    <a:pt x="448686" y="212717"/>
                    <a:pt x="444276" y="208107"/>
                    <a:pt x="440017" y="203648"/>
                  </a:cubicBezTo>
                  <a:cubicBezTo>
                    <a:pt x="435206" y="198637"/>
                    <a:pt x="430696" y="193876"/>
                    <a:pt x="424733" y="191120"/>
                  </a:cubicBezTo>
                  <a:lnTo>
                    <a:pt x="405241" y="199939"/>
                  </a:lnTo>
                  <a:lnTo>
                    <a:pt x="392462" y="181799"/>
                  </a:lnTo>
                  <a:cubicBezTo>
                    <a:pt x="390458" y="181649"/>
                    <a:pt x="388554" y="181649"/>
                    <a:pt x="386750" y="181649"/>
                  </a:cubicBezTo>
                  <a:cubicBezTo>
                    <a:pt x="382040" y="181649"/>
                    <a:pt x="377930" y="181549"/>
                    <a:pt x="374323" y="179795"/>
                  </a:cubicBezTo>
                  <a:cubicBezTo>
                    <a:pt x="363850" y="174734"/>
                    <a:pt x="354880" y="174534"/>
                    <a:pt x="346912" y="179244"/>
                  </a:cubicBezTo>
                  <a:lnTo>
                    <a:pt x="345710" y="179945"/>
                  </a:lnTo>
                  <a:lnTo>
                    <a:pt x="344457" y="179394"/>
                  </a:lnTo>
                  <a:cubicBezTo>
                    <a:pt x="333884" y="174584"/>
                    <a:pt x="328823" y="167869"/>
                    <a:pt x="328672" y="158248"/>
                  </a:cubicBezTo>
                  <a:cubicBezTo>
                    <a:pt x="328572" y="152235"/>
                    <a:pt x="326317" y="147775"/>
                    <a:pt x="321607" y="144217"/>
                  </a:cubicBezTo>
                  <a:cubicBezTo>
                    <a:pt x="288033" y="119012"/>
                    <a:pt x="257265" y="97214"/>
                    <a:pt x="220735" y="85538"/>
                  </a:cubicBezTo>
                  <a:cubicBezTo>
                    <a:pt x="218731" y="84887"/>
                    <a:pt x="216476" y="84786"/>
                    <a:pt x="214121" y="84636"/>
                  </a:cubicBezTo>
                  <a:cubicBezTo>
                    <a:pt x="213770" y="84636"/>
                    <a:pt x="213419" y="84636"/>
                    <a:pt x="213118" y="84586"/>
                  </a:cubicBezTo>
                  <a:cubicBezTo>
                    <a:pt x="209160" y="108489"/>
                    <a:pt x="209861" y="112597"/>
                    <a:pt x="219132" y="131940"/>
                  </a:cubicBezTo>
                  <a:cubicBezTo>
                    <a:pt x="219983" y="133744"/>
                    <a:pt x="220885" y="135498"/>
                    <a:pt x="221838" y="137252"/>
                  </a:cubicBezTo>
                  <a:cubicBezTo>
                    <a:pt x="225696" y="144718"/>
                    <a:pt x="229655" y="152385"/>
                    <a:pt x="229555" y="161755"/>
                  </a:cubicBezTo>
                  <a:cubicBezTo>
                    <a:pt x="229555" y="165564"/>
                    <a:pt x="229555" y="169422"/>
                    <a:pt x="229605" y="173281"/>
                  </a:cubicBezTo>
                  <a:cubicBezTo>
                    <a:pt x="229705" y="180396"/>
                    <a:pt x="229805" y="187813"/>
                    <a:pt x="229254" y="195079"/>
                  </a:cubicBezTo>
                  <a:cubicBezTo>
                    <a:pt x="228753" y="200892"/>
                    <a:pt x="227249" y="208859"/>
                    <a:pt x="222840" y="214020"/>
                  </a:cubicBezTo>
                  <a:cubicBezTo>
                    <a:pt x="209811" y="229254"/>
                    <a:pt x="208308" y="244988"/>
                    <a:pt x="218129" y="263479"/>
                  </a:cubicBezTo>
                  <a:cubicBezTo>
                    <a:pt x="218681" y="264531"/>
                    <a:pt x="218580" y="265534"/>
                    <a:pt x="218480" y="266786"/>
                  </a:cubicBezTo>
                  <a:cubicBezTo>
                    <a:pt x="218430" y="267488"/>
                    <a:pt x="218330" y="268440"/>
                    <a:pt x="218230" y="269843"/>
                  </a:cubicBezTo>
                  <a:lnTo>
                    <a:pt x="218230" y="271346"/>
                  </a:lnTo>
                  <a:cubicBezTo>
                    <a:pt x="218230" y="271346"/>
                    <a:pt x="216827" y="272048"/>
                    <a:pt x="216827" y="272048"/>
                  </a:cubicBezTo>
                  <a:cubicBezTo>
                    <a:pt x="205903" y="277911"/>
                    <a:pt x="193826" y="281769"/>
                    <a:pt x="179895" y="283874"/>
                  </a:cubicBezTo>
                  <a:cubicBezTo>
                    <a:pt x="176037" y="284475"/>
                    <a:pt x="170725" y="285277"/>
                    <a:pt x="168520" y="287582"/>
                  </a:cubicBezTo>
                  <a:cubicBezTo>
                    <a:pt x="155241" y="301763"/>
                    <a:pt x="141361" y="319502"/>
                    <a:pt x="139006" y="343455"/>
                  </a:cubicBezTo>
                  <a:cubicBezTo>
                    <a:pt x="138605" y="347363"/>
                    <a:pt x="139206" y="350069"/>
                    <a:pt x="140609" y="351122"/>
                  </a:cubicBezTo>
                  <a:cubicBezTo>
                    <a:pt x="142162" y="352324"/>
                    <a:pt x="145420" y="352023"/>
                    <a:pt x="149729" y="350320"/>
                  </a:cubicBezTo>
                  <a:cubicBezTo>
                    <a:pt x="151734" y="349518"/>
                    <a:pt x="153688" y="348716"/>
                    <a:pt x="155291" y="348015"/>
                  </a:cubicBezTo>
                  <a:lnTo>
                    <a:pt x="157997" y="346862"/>
                  </a:lnTo>
                  <a:lnTo>
                    <a:pt x="158949" y="347163"/>
                  </a:lnTo>
                  <a:cubicBezTo>
                    <a:pt x="162607" y="348265"/>
                    <a:pt x="165514" y="350470"/>
                    <a:pt x="168119" y="352424"/>
                  </a:cubicBezTo>
                  <a:cubicBezTo>
                    <a:pt x="172379" y="355631"/>
                    <a:pt x="175035" y="357385"/>
                    <a:pt x="179094" y="356183"/>
                  </a:cubicBezTo>
                  <a:cubicBezTo>
                    <a:pt x="179194" y="356133"/>
                    <a:pt x="179294" y="356032"/>
                    <a:pt x="179344" y="355982"/>
                  </a:cubicBezTo>
                  <a:cubicBezTo>
                    <a:pt x="179545" y="355832"/>
                    <a:pt x="179895" y="355581"/>
                    <a:pt x="179996" y="355431"/>
                  </a:cubicBezTo>
                  <a:lnTo>
                    <a:pt x="180847" y="354329"/>
                  </a:lnTo>
                  <a:cubicBezTo>
                    <a:pt x="182000" y="352875"/>
                    <a:pt x="183052" y="351472"/>
                    <a:pt x="183854" y="349969"/>
                  </a:cubicBezTo>
                  <a:cubicBezTo>
                    <a:pt x="192423" y="333733"/>
                    <a:pt x="206504" y="327119"/>
                    <a:pt x="228201" y="329223"/>
                  </a:cubicBezTo>
                  <a:cubicBezTo>
                    <a:pt x="230958" y="329474"/>
                    <a:pt x="233914" y="329674"/>
                    <a:pt x="236720" y="329374"/>
                  </a:cubicBezTo>
                  <a:lnTo>
                    <a:pt x="237221" y="329374"/>
                  </a:lnTo>
                  <a:cubicBezTo>
                    <a:pt x="254359" y="327369"/>
                    <a:pt x="255862" y="327570"/>
                    <a:pt x="263279" y="342102"/>
                  </a:cubicBezTo>
                  <a:cubicBezTo>
                    <a:pt x="264231" y="343906"/>
                    <a:pt x="265183" y="345710"/>
                    <a:pt x="266185" y="347564"/>
                  </a:cubicBezTo>
                  <a:cubicBezTo>
                    <a:pt x="270094" y="354780"/>
                    <a:pt x="274152" y="362246"/>
                    <a:pt x="275656" y="371266"/>
                  </a:cubicBezTo>
                  <a:lnTo>
                    <a:pt x="275856" y="372519"/>
                  </a:lnTo>
                  <a:lnTo>
                    <a:pt x="271246" y="377730"/>
                  </a:lnTo>
                  <a:cubicBezTo>
                    <a:pt x="268741" y="380586"/>
                    <a:pt x="266285" y="383342"/>
                    <a:pt x="263780" y="385998"/>
                  </a:cubicBezTo>
                  <a:cubicBezTo>
                    <a:pt x="246692" y="404389"/>
                    <a:pt x="226949" y="421977"/>
                    <a:pt x="203447" y="43971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19" name="Полилиния: фигура 118">
              <a:extLst>
                <a:ext uri="{FF2B5EF4-FFF2-40B4-BE49-F238E27FC236}">
                  <a16:creationId xmlns:a16="http://schemas.microsoft.com/office/drawing/2014/main" id="{2135A43E-8FD5-4A3A-97BA-4FFEE19FA9C2}"/>
                </a:ext>
              </a:extLst>
            </p:cNvPr>
            <p:cNvSpPr/>
            <p:nvPr/>
          </p:nvSpPr>
          <p:spPr>
            <a:xfrm>
              <a:off x="7295308" y="4695158"/>
              <a:ext cx="1245262" cy="1470857"/>
            </a:xfrm>
            <a:custGeom>
              <a:avLst/>
              <a:gdLst>
                <a:gd name="connsiteX0" fmla="*/ 958771 w 998508"/>
                <a:gd name="connsiteY0" fmla="*/ 495242 h 1179401"/>
                <a:gd name="connsiteX1" fmla="*/ 959122 w 998508"/>
                <a:gd name="connsiteY1" fmla="*/ 494140 h 1179401"/>
                <a:gd name="connsiteX2" fmla="*/ 962228 w 998508"/>
                <a:gd name="connsiteY2" fmla="*/ 485571 h 1179401"/>
                <a:gd name="connsiteX3" fmla="*/ 966688 w 998508"/>
                <a:gd name="connsiteY3" fmla="*/ 469385 h 1179401"/>
                <a:gd name="connsiteX4" fmla="*/ 979467 w 998508"/>
                <a:gd name="connsiteY4" fmla="*/ 428896 h 1179401"/>
                <a:gd name="connsiteX5" fmla="*/ 978564 w 998508"/>
                <a:gd name="connsiteY5" fmla="*/ 428345 h 1179401"/>
                <a:gd name="connsiteX6" fmla="*/ 973052 w 998508"/>
                <a:gd name="connsiteY6" fmla="*/ 425188 h 1179401"/>
                <a:gd name="connsiteX7" fmla="*/ 965285 w 998508"/>
                <a:gd name="connsiteY7" fmla="*/ 421781 h 1179401"/>
                <a:gd name="connsiteX8" fmla="*/ 953760 w 998508"/>
                <a:gd name="connsiteY8" fmla="*/ 416519 h 1179401"/>
                <a:gd name="connsiteX9" fmla="*/ 942986 w 998508"/>
                <a:gd name="connsiteY9" fmla="*/ 389961 h 1179401"/>
                <a:gd name="connsiteX10" fmla="*/ 948098 w 998508"/>
                <a:gd name="connsiteY10" fmla="*/ 377233 h 1179401"/>
                <a:gd name="connsiteX11" fmla="*/ 952607 w 998508"/>
                <a:gd name="connsiteY11" fmla="*/ 365858 h 1179401"/>
                <a:gd name="connsiteX12" fmla="*/ 952507 w 998508"/>
                <a:gd name="connsiteY12" fmla="*/ 342857 h 1179401"/>
                <a:gd name="connsiteX13" fmla="*/ 945091 w 998508"/>
                <a:gd name="connsiteY13" fmla="*/ 325669 h 1179401"/>
                <a:gd name="connsiteX14" fmla="*/ 943287 w 998508"/>
                <a:gd name="connsiteY14" fmla="*/ 321460 h 1179401"/>
                <a:gd name="connsiteX15" fmla="*/ 932814 w 998508"/>
                <a:gd name="connsiteY15" fmla="*/ 322563 h 1179401"/>
                <a:gd name="connsiteX16" fmla="*/ 913622 w 998508"/>
                <a:gd name="connsiteY16" fmla="*/ 320308 h 1179401"/>
                <a:gd name="connsiteX17" fmla="*/ 912870 w 998508"/>
                <a:gd name="connsiteY17" fmla="*/ 319456 h 1179401"/>
                <a:gd name="connsiteX18" fmla="*/ 906005 w 998508"/>
                <a:gd name="connsiteY18" fmla="*/ 303571 h 1179401"/>
                <a:gd name="connsiteX19" fmla="*/ 885560 w 998508"/>
                <a:gd name="connsiteY19" fmla="*/ 271751 h 1179401"/>
                <a:gd name="connsiteX20" fmla="*/ 882553 w 998508"/>
                <a:gd name="connsiteY20" fmla="*/ 272402 h 1179401"/>
                <a:gd name="connsiteX21" fmla="*/ 849782 w 998508"/>
                <a:gd name="connsiteY21" fmla="*/ 289841 h 1179401"/>
                <a:gd name="connsiteX22" fmla="*/ 831892 w 998508"/>
                <a:gd name="connsiteY22" fmla="*/ 294601 h 1179401"/>
                <a:gd name="connsiteX23" fmla="*/ 807889 w 998508"/>
                <a:gd name="connsiteY23" fmla="*/ 256467 h 1179401"/>
                <a:gd name="connsiteX24" fmla="*/ 812851 w 998508"/>
                <a:gd name="connsiteY24" fmla="*/ 246596 h 1179401"/>
                <a:gd name="connsiteX25" fmla="*/ 815957 w 998508"/>
                <a:gd name="connsiteY25" fmla="*/ 242186 h 1179401"/>
                <a:gd name="connsiteX26" fmla="*/ 810144 w 998508"/>
                <a:gd name="connsiteY26" fmla="*/ 238929 h 1179401"/>
                <a:gd name="connsiteX27" fmla="*/ 792856 w 998508"/>
                <a:gd name="connsiteY27" fmla="*/ 229107 h 1179401"/>
                <a:gd name="connsiteX28" fmla="*/ 779628 w 998508"/>
                <a:gd name="connsiteY28" fmla="*/ 209414 h 1179401"/>
                <a:gd name="connsiteX29" fmla="*/ 777823 w 998508"/>
                <a:gd name="connsiteY29" fmla="*/ 204353 h 1179401"/>
                <a:gd name="connsiteX30" fmla="*/ 760986 w 998508"/>
                <a:gd name="connsiteY30" fmla="*/ 197788 h 1179401"/>
                <a:gd name="connsiteX31" fmla="*/ 761537 w 998508"/>
                <a:gd name="connsiteY31" fmla="*/ 195534 h 1179401"/>
                <a:gd name="connsiteX32" fmla="*/ 763742 w 998508"/>
                <a:gd name="connsiteY32" fmla="*/ 186013 h 1179401"/>
                <a:gd name="connsiteX33" fmla="*/ 768152 w 998508"/>
                <a:gd name="connsiteY33" fmla="*/ 167422 h 1179401"/>
                <a:gd name="connsiteX34" fmla="*/ 765647 w 998508"/>
                <a:gd name="connsiteY34" fmla="*/ 154042 h 1179401"/>
                <a:gd name="connsiteX35" fmla="*/ 762039 w 998508"/>
                <a:gd name="connsiteY35" fmla="*/ 149081 h 1179401"/>
                <a:gd name="connsiteX36" fmla="*/ 754472 w 998508"/>
                <a:gd name="connsiteY36" fmla="*/ 138959 h 1179401"/>
                <a:gd name="connsiteX37" fmla="*/ 739339 w 998508"/>
                <a:gd name="connsiteY37" fmla="*/ 108492 h 1179401"/>
                <a:gd name="connsiteX38" fmla="*/ 735229 w 998508"/>
                <a:gd name="connsiteY38" fmla="*/ 95464 h 1179401"/>
                <a:gd name="connsiteX39" fmla="*/ 734027 w 998508"/>
                <a:gd name="connsiteY39" fmla="*/ 94762 h 1179401"/>
                <a:gd name="connsiteX40" fmla="*/ 733576 w 998508"/>
                <a:gd name="connsiteY40" fmla="*/ 94511 h 1179401"/>
                <a:gd name="connsiteX41" fmla="*/ 720648 w 998508"/>
                <a:gd name="connsiteY41" fmla="*/ 99422 h 1179401"/>
                <a:gd name="connsiteX42" fmla="*/ 719445 w 998508"/>
                <a:gd name="connsiteY42" fmla="*/ 97819 h 1179401"/>
                <a:gd name="connsiteX43" fmla="*/ 695292 w 998508"/>
                <a:gd name="connsiteY43" fmla="*/ 33528 h 1179401"/>
                <a:gd name="connsiteX44" fmla="*/ 695492 w 998508"/>
                <a:gd name="connsiteY44" fmla="*/ 27113 h 1179401"/>
                <a:gd name="connsiteX45" fmla="*/ 693037 w 998508"/>
                <a:gd name="connsiteY45" fmla="*/ 11228 h 1179401"/>
                <a:gd name="connsiteX46" fmla="*/ 691534 w 998508"/>
                <a:gd name="connsiteY46" fmla="*/ 11128 h 1179401"/>
                <a:gd name="connsiteX47" fmla="*/ 687725 w 998508"/>
                <a:gd name="connsiteY47" fmla="*/ 11228 h 1179401"/>
                <a:gd name="connsiteX48" fmla="*/ 644831 w 998508"/>
                <a:gd name="connsiteY48" fmla="*/ 6669 h 1179401"/>
                <a:gd name="connsiteX49" fmla="*/ 633005 w 998508"/>
                <a:gd name="connsiteY49" fmla="*/ 2259 h 1179401"/>
                <a:gd name="connsiteX50" fmla="*/ 629949 w 998508"/>
                <a:gd name="connsiteY50" fmla="*/ 1407 h 1179401"/>
                <a:gd name="connsiteX51" fmla="*/ 613712 w 998508"/>
                <a:gd name="connsiteY51" fmla="*/ 9124 h 1179401"/>
                <a:gd name="connsiteX52" fmla="*/ 625839 w 998508"/>
                <a:gd name="connsiteY52" fmla="*/ 26412 h 1179401"/>
                <a:gd name="connsiteX53" fmla="*/ 627092 w 998508"/>
                <a:gd name="connsiteY53" fmla="*/ 28216 h 1179401"/>
                <a:gd name="connsiteX54" fmla="*/ 625589 w 998508"/>
                <a:gd name="connsiteY54" fmla="*/ 29819 h 1179401"/>
                <a:gd name="connsiteX55" fmla="*/ 609253 w 998508"/>
                <a:gd name="connsiteY55" fmla="*/ 47207 h 1179401"/>
                <a:gd name="connsiteX56" fmla="*/ 608401 w 998508"/>
                <a:gd name="connsiteY56" fmla="*/ 54223 h 1179401"/>
                <a:gd name="connsiteX57" fmla="*/ 600935 w 998508"/>
                <a:gd name="connsiteY57" fmla="*/ 74367 h 1179401"/>
                <a:gd name="connsiteX58" fmla="*/ 600233 w 998508"/>
                <a:gd name="connsiteY58" fmla="*/ 83387 h 1179401"/>
                <a:gd name="connsiteX59" fmla="*/ 605044 w 998508"/>
                <a:gd name="connsiteY59" fmla="*/ 116760 h 1179401"/>
                <a:gd name="connsiteX60" fmla="*/ 606797 w 998508"/>
                <a:gd name="connsiteY60" fmla="*/ 128235 h 1179401"/>
                <a:gd name="connsiteX61" fmla="*/ 625188 w 998508"/>
                <a:gd name="connsiteY61" fmla="*/ 136153 h 1179401"/>
                <a:gd name="connsiteX62" fmla="*/ 625389 w 998508"/>
                <a:gd name="connsiteY62" fmla="*/ 137706 h 1179401"/>
                <a:gd name="connsiteX63" fmla="*/ 625037 w 998508"/>
                <a:gd name="connsiteY63" fmla="*/ 196586 h 1179401"/>
                <a:gd name="connsiteX64" fmla="*/ 624787 w 998508"/>
                <a:gd name="connsiteY64" fmla="*/ 197889 h 1179401"/>
                <a:gd name="connsiteX65" fmla="*/ 623585 w 998508"/>
                <a:gd name="connsiteY65" fmla="*/ 198490 h 1179401"/>
                <a:gd name="connsiteX66" fmla="*/ 621480 w 998508"/>
                <a:gd name="connsiteY66" fmla="*/ 199692 h 1179401"/>
                <a:gd name="connsiteX67" fmla="*/ 616970 w 998508"/>
                <a:gd name="connsiteY67" fmla="*/ 201346 h 1179401"/>
                <a:gd name="connsiteX68" fmla="*/ 603139 w 998508"/>
                <a:gd name="connsiteY68" fmla="*/ 200244 h 1179401"/>
                <a:gd name="connsiteX69" fmla="*/ 598630 w 998508"/>
                <a:gd name="connsiteY69" fmla="*/ 199843 h 1179401"/>
                <a:gd name="connsiteX70" fmla="*/ 573775 w 998508"/>
                <a:gd name="connsiteY70" fmla="*/ 221390 h 1179401"/>
                <a:gd name="connsiteX71" fmla="*/ 572272 w 998508"/>
                <a:gd name="connsiteY71" fmla="*/ 220839 h 1179401"/>
                <a:gd name="connsiteX72" fmla="*/ 567311 w 998508"/>
                <a:gd name="connsiteY72" fmla="*/ 219035 h 1179401"/>
                <a:gd name="connsiteX73" fmla="*/ 558241 w 998508"/>
                <a:gd name="connsiteY73" fmla="*/ 215578 h 1179401"/>
                <a:gd name="connsiteX74" fmla="*/ 520157 w 998508"/>
                <a:gd name="connsiteY74" fmla="*/ 212972 h 1179401"/>
                <a:gd name="connsiteX75" fmla="*/ 507228 w 998508"/>
                <a:gd name="connsiteY75" fmla="*/ 219787 h 1179401"/>
                <a:gd name="connsiteX76" fmla="*/ 505525 w 998508"/>
                <a:gd name="connsiteY76" fmla="*/ 235371 h 1179401"/>
                <a:gd name="connsiteX77" fmla="*/ 510286 w 998508"/>
                <a:gd name="connsiteY77" fmla="*/ 243890 h 1179401"/>
                <a:gd name="connsiteX78" fmla="*/ 523916 w 998508"/>
                <a:gd name="connsiteY78" fmla="*/ 279919 h 1179401"/>
                <a:gd name="connsiteX79" fmla="*/ 525669 w 998508"/>
                <a:gd name="connsiteY79" fmla="*/ 290342 h 1179401"/>
                <a:gd name="connsiteX80" fmla="*/ 537095 w 998508"/>
                <a:gd name="connsiteY80" fmla="*/ 322663 h 1179401"/>
                <a:gd name="connsiteX81" fmla="*/ 541354 w 998508"/>
                <a:gd name="connsiteY81" fmla="*/ 334589 h 1179401"/>
                <a:gd name="connsiteX82" fmla="*/ 541053 w 998508"/>
                <a:gd name="connsiteY82" fmla="*/ 335441 h 1179401"/>
                <a:gd name="connsiteX83" fmla="*/ 538949 w 998508"/>
                <a:gd name="connsiteY83" fmla="*/ 341154 h 1179401"/>
                <a:gd name="connsiteX84" fmla="*/ 536293 w 998508"/>
                <a:gd name="connsiteY84" fmla="*/ 350875 h 1179401"/>
                <a:gd name="connsiteX85" fmla="*/ 540803 w 998508"/>
                <a:gd name="connsiteY85" fmla="*/ 364805 h 1179401"/>
                <a:gd name="connsiteX86" fmla="*/ 552077 w 998508"/>
                <a:gd name="connsiteY86" fmla="*/ 375329 h 1179401"/>
                <a:gd name="connsiteX87" fmla="*/ 553982 w 998508"/>
                <a:gd name="connsiteY87" fmla="*/ 376782 h 1179401"/>
                <a:gd name="connsiteX88" fmla="*/ 606397 w 998508"/>
                <a:gd name="connsiteY88" fmla="*/ 417070 h 1179401"/>
                <a:gd name="connsiteX89" fmla="*/ 617671 w 998508"/>
                <a:gd name="connsiteY89" fmla="*/ 439319 h 1179401"/>
                <a:gd name="connsiteX90" fmla="*/ 617521 w 998508"/>
                <a:gd name="connsiteY90" fmla="*/ 467030 h 1179401"/>
                <a:gd name="connsiteX91" fmla="*/ 617321 w 998508"/>
                <a:gd name="connsiteY91" fmla="*/ 496044 h 1179401"/>
                <a:gd name="connsiteX92" fmla="*/ 615417 w 998508"/>
                <a:gd name="connsiteY92" fmla="*/ 504212 h 1179401"/>
                <a:gd name="connsiteX93" fmla="*/ 614615 w 998508"/>
                <a:gd name="connsiteY93" fmla="*/ 506667 h 1179401"/>
                <a:gd name="connsiteX94" fmla="*/ 614214 w 998508"/>
                <a:gd name="connsiteY94" fmla="*/ 508220 h 1179401"/>
                <a:gd name="connsiteX95" fmla="*/ 612660 w 998508"/>
                <a:gd name="connsiteY95" fmla="*/ 508571 h 1179401"/>
                <a:gd name="connsiteX96" fmla="*/ 596124 w 998508"/>
                <a:gd name="connsiteY96" fmla="*/ 512630 h 1179401"/>
                <a:gd name="connsiteX97" fmla="*/ 560797 w 998508"/>
                <a:gd name="connsiteY97" fmla="*/ 520898 h 1179401"/>
                <a:gd name="connsiteX98" fmla="*/ 531632 w 998508"/>
                <a:gd name="connsiteY98" fmla="*/ 536683 h 1179401"/>
                <a:gd name="connsiteX99" fmla="*/ 442036 w 998508"/>
                <a:gd name="connsiteY99" fmla="*/ 617811 h 1179401"/>
                <a:gd name="connsiteX100" fmla="*/ 441033 w 998508"/>
                <a:gd name="connsiteY100" fmla="*/ 618613 h 1179401"/>
                <a:gd name="connsiteX101" fmla="*/ 423895 w 998508"/>
                <a:gd name="connsiteY101" fmla="*/ 638958 h 1179401"/>
                <a:gd name="connsiteX102" fmla="*/ 457570 w 998508"/>
                <a:gd name="connsiteY102" fmla="*/ 729356 h 1179401"/>
                <a:gd name="connsiteX103" fmla="*/ 457970 w 998508"/>
                <a:gd name="connsiteY103" fmla="*/ 730910 h 1179401"/>
                <a:gd name="connsiteX104" fmla="*/ 456768 w 998508"/>
                <a:gd name="connsiteY104" fmla="*/ 731962 h 1179401"/>
                <a:gd name="connsiteX105" fmla="*/ 451657 w 998508"/>
                <a:gd name="connsiteY105" fmla="*/ 736422 h 1179401"/>
                <a:gd name="connsiteX106" fmla="*/ 442085 w 998508"/>
                <a:gd name="connsiteY106" fmla="*/ 745091 h 1179401"/>
                <a:gd name="connsiteX107" fmla="*/ 367271 w 998508"/>
                <a:gd name="connsiteY107" fmla="*/ 779667 h 1179401"/>
                <a:gd name="connsiteX108" fmla="*/ 340463 w 998508"/>
                <a:gd name="connsiteY108" fmla="*/ 793097 h 1179401"/>
                <a:gd name="connsiteX109" fmla="*/ 328736 w 998508"/>
                <a:gd name="connsiteY109" fmla="*/ 804622 h 1179401"/>
                <a:gd name="connsiteX110" fmla="*/ 323325 w 998508"/>
                <a:gd name="connsiteY110" fmla="*/ 809583 h 1179401"/>
                <a:gd name="connsiteX111" fmla="*/ 322022 w 998508"/>
                <a:gd name="connsiteY111" fmla="*/ 810835 h 1179401"/>
                <a:gd name="connsiteX112" fmla="*/ 320368 w 998508"/>
                <a:gd name="connsiteY112" fmla="*/ 810134 h 1179401"/>
                <a:gd name="connsiteX113" fmla="*/ 305836 w 998508"/>
                <a:gd name="connsiteY113" fmla="*/ 803670 h 1179401"/>
                <a:gd name="connsiteX114" fmla="*/ 303331 w 998508"/>
                <a:gd name="connsiteY114" fmla="*/ 807678 h 1179401"/>
                <a:gd name="connsiteX115" fmla="*/ 296766 w 998508"/>
                <a:gd name="connsiteY115" fmla="*/ 819805 h 1179401"/>
                <a:gd name="connsiteX116" fmla="*/ 266550 w 998508"/>
                <a:gd name="connsiteY116" fmla="*/ 847516 h 1179401"/>
                <a:gd name="connsiteX117" fmla="*/ 265197 w 998508"/>
                <a:gd name="connsiteY117" fmla="*/ 848017 h 1179401"/>
                <a:gd name="connsiteX118" fmla="*/ 255175 w 998508"/>
                <a:gd name="connsiteY118" fmla="*/ 851525 h 1179401"/>
                <a:gd name="connsiteX119" fmla="*/ 235131 w 998508"/>
                <a:gd name="connsiteY119" fmla="*/ 866959 h 1179401"/>
                <a:gd name="connsiteX120" fmla="*/ 200154 w 998508"/>
                <a:gd name="connsiteY120" fmla="*/ 902988 h 1179401"/>
                <a:gd name="connsiteX121" fmla="*/ 199051 w 998508"/>
                <a:gd name="connsiteY121" fmla="*/ 903790 h 1179401"/>
                <a:gd name="connsiteX122" fmla="*/ 197749 w 998508"/>
                <a:gd name="connsiteY122" fmla="*/ 903389 h 1179401"/>
                <a:gd name="connsiteX123" fmla="*/ 194442 w 998508"/>
                <a:gd name="connsiteY123" fmla="*/ 902437 h 1179401"/>
                <a:gd name="connsiteX124" fmla="*/ 187927 w 998508"/>
                <a:gd name="connsiteY124" fmla="*/ 900282 h 1179401"/>
                <a:gd name="connsiteX125" fmla="*/ 135562 w 998508"/>
                <a:gd name="connsiteY125" fmla="*/ 907147 h 1179401"/>
                <a:gd name="connsiteX126" fmla="*/ 133007 w 998508"/>
                <a:gd name="connsiteY126" fmla="*/ 909252 h 1179401"/>
                <a:gd name="connsiteX127" fmla="*/ 116220 w 998508"/>
                <a:gd name="connsiteY127" fmla="*/ 923984 h 1179401"/>
                <a:gd name="connsiteX128" fmla="*/ 87356 w 998508"/>
                <a:gd name="connsiteY128" fmla="*/ 929246 h 1179401"/>
                <a:gd name="connsiteX129" fmla="*/ 51928 w 998508"/>
                <a:gd name="connsiteY129" fmla="*/ 923984 h 1179401"/>
                <a:gd name="connsiteX130" fmla="*/ 41405 w 998508"/>
                <a:gd name="connsiteY130" fmla="*/ 928544 h 1179401"/>
                <a:gd name="connsiteX131" fmla="*/ 39802 w 998508"/>
                <a:gd name="connsiteY131" fmla="*/ 939869 h 1179401"/>
                <a:gd name="connsiteX132" fmla="*/ 42457 w 998508"/>
                <a:gd name="connsiteY132" fmla="*/ 949240 h 1179401"/>
                <a:gd name="connsiteX133" fmla="*/ 45013 w 998508"/>
                <a:gd name="connsiteY133" fmla="*/ 957959 h 1179401"/>
                <a:gd name="connsiteX134" fmla="*/ 34590 w 998508"/>
                <a:gd name="connsiteY134" fmla="*/ 982212 h 1179401"/>
                <a:gd name="connsiteX135" fmla="*/ 31483 w 998508"/>
                <a:gd name="connsiteY135" fmla="*/ 984066 h 1179401"/>
                <a:gd name="connsiteX136" fmla="*/ 16050 w 998508"/>
                <a:gd name="connsiteY136" fmla="*/ 998949 h 1179401"/>
                <a:gd name="connsiteX137" fmla="*/ 29128 w 998508"/>
                <a:gd name="connsiteY137" fmla="*/ 1009773 h 1179401"/>
                <a:gd name="connsiteX138" fmla="*/ 54684 w 998508"/>
                <a:gd name="connsiteY138" fmla="*/ 1037133 h 1179401"/>
                <a:gd name="connsiteX139" fmla="*/ 55537 w 998508"/>
                <a:gd name="connsiteY139" fmla="*/ 1038887 h 1179401"/>
                <a:gd name="connsiteX140" fmla="*/ 54184 w 998508"/>
                <a:gd name="connsiteY140" fmla="*/ 1040239 h 1179401"/>
                <a:gd name="connsiteX141" fmla="*/ 28677 w 998508"/>
                <a:gd name="connsiteY141" fmla="*/ 1053118 h 1179401"/>
                <a:gd name="connsiteX142" fmla="*/ 28327 w 998508"/>
                <a:gd name="connsiteY142" fmla="*/ 1053118 h 1179401"/>
                <a:gd name="connsiteX143" fmla="*/ 2369 w 998508"/>
                <a:gd name="connsiteY143" fmla="*/ 1075066 h 1179401"/>
                <a:gd name="connsiteX144" fmla="*/ 14 w 998508"/>
                <a:gd name="connsiteY144" fmla="*/ 1097616 h 1179401"/>
                <a:gd name="connsiteX145" fmla="*/ 14 w 998508"/>
                <a:gd name="connsiteY145" fmla="*/ 1104330 h 1179401"/>
                <a:gd name="connsiteX146" fmla="*/ 7832 w 998508"/>
                <a:gd name="connsiteY146" fmla="*/ 1117259 h 1179401"/>
                <a:gd name="connsiteX147" fmla="*/ 10387 w 998508"/>
                <a:gd name="connsiteY147" fmla="*/ 1119764 h 1179401"/>
                <a:gd name="connsiteX148" fmla="*/ 21261 w 998508"/>
                <a:gd name="connsiteY148" fmla="*/ 1130588 h 1179401"/>
                <a:gd name="connsiteX149" fmla="*/ 40353 w 998508"/>
                <a:gd name="connsiteY149" fmla="*/ 1150131 h 1179401"/>
                <a:gd name="connsiteX150" fmla="*/ 67362 w 998508"/>
                <a:gd name="connsiteY150" fmla="*/ 1163661 h 1179401"/>
                <a:gd name="connsiteX151" fmla="*/ 165729 w 998508"/>
                <a:gd name="connsiteY151" fmla="*/ 1177792 h 1179401"/>
                <a:gd name="connsiteX152" fmla="*/ 195694 w 998508"/>
                <a:gd name="connsiteY152" fmla="*/ 1172230 h 1179401"/>
                <a:gd name="connsiteX153" fmla="*/ 197047 w 998508"/>
                <a:gd name="connsiteY153" fmla="*/ 1171027 h 1179401"/>
                <a:gd name="connsiteX154" fmla="*/ 198651 w 998508"/>
                <a:gd name="connsiteY154" fmla="*/ 1171829 h 1179401"/>
                <a:gd name="connsiteX155" fmla="*/ 238939 w 998508"/>
                <a:gd name="connsiteY155" fmla="*/ 1171979 h 1179401"/>
                <a:gd name="connsiteX156" fmla="*/ 252670 w 998508"/>
                <a:gd name="connsiteY156" fmla="*/ 1163360 h 1179401"/>
                <a:gd name="connsiteX157" fmla="*/ 289801 w 998508"/>
                <a:gd name="connsiteY157" fmla="*/ 1146373 h 1179401"/>
                <a:gd name="connsiteX158" fmla="*/ 330942 w 998508"/>
                <a:gd name="connsiteY158" fmla="*/ 1134597 h 1179401"/>
                <a:gd name="connsiteX159" fmla="*/ 383056 w 998508"/>
                <a:gd name="connsiteY159" fmla="*/ 1119864 h 1179401"/>
                <a:gd name="connsiteX160" fmla="*/ 405656 w 998508"/>
                <a:gd name="connsiteY160" fmla="*/ 1101424 h 1179401"/>
                <a:gd name="connsiteX161" fmla="*/ 420789 w 998508"/>
                <a:gd name="connsiteY161" fmla="*/ 1076519 h 1179401"/>
                <a:gd name="connsiteX162" fmla="*/ 484779 w 998508"/>
                <a:gd name="connsiteY162" fmla="*/ 1021548 h 1179401"/>
                <a:gd name="connsiteX163" fmla="*/ 485682 w 998508"/>
                <a:gd name="connsiteY163" fmla="*/ 1020797 h 1179401"/>
                <a:gd name="connsiteX164" fmla="*/ 490993 w 998508"/>
                <a:gd name="connsiteY164" fmla="*/ 1021649 h 1179401"/>
                <a:gd name="connsiteX165" fmla="*/ 561398 w 998508"/>
                <a:gd name="connsiteY165" fmla="*/ 1042344 h 1179401"/>
                <a:gd name="connsiteX166" fmla="*/ 587305 w 998508"/>
                <a:gd name="connsiteY166" fmla="*/ 1048558 h 1179401"/>
                <a:gd name="connsiteX167" fmla="*/ 644180 w 998508"/>
                <a:gd name="connsiteY167" fmla="*/ 1042695 h 1179401"/>
                <a:gd name="connsiteX168" fmla="*/ 652348 w 998508"/>
                <a:gd name="connsiteY168" fmla="*/ 1041242 h 1179401"/>
                <a:gd name="connsiteX169" fmla="*/ 679056 w 998508"/>
                <a:gd name="connsiteY169" fmla="*/ 1046002 h 1179401"/>
                <a:gd name="connsiteX170" fmla="*/ 683265 w 998508"/>
                <a:gd name="connsiteY170" fmla="*/ 1048508 h 1179401"/>
                <a:gd name="connsiteX171" fmla="*/ 689229 w 998508"/>
                <a:gd name="connsiteY171" fmla="*/ 1052266 h 1179401"/>
                <a:gd name="connsiteX172" fmla="*/ 766749 w 998508"/>
                <a:gd name="connsiteY172" fmla="*/ 1074164 h 1179401"/>
                <a:gd name="connsiteX173" fmla="*/ 773915 w 998508"/>
                <a:gd name="connsiteY173" fmla="*/ 1074715 h 1179401"/>
                <a:gd name="connsiteX174" fmla="*/ 774967 w 998508"/>
                <a:gd name="connsiteY174" fmla="*/ 1073613 h 1179401"/>
                <a:gd name="connsiteX175" fmla="*/ 777873 w 998508"/>
                <a:gd name="connsiteY175" fmla="*/ 1070205 h 1179401"/>
                <a:gd name="connsiteX176" fmla="*/ 842215 w 998508"/>
                <a:gd name="connsiteY176" fmla="*/ 1006966 h 1179401"/>
                <a:gd name="connsiteX177" fmla="*/ 862911 w 998508"/>
                <a:gd name="connsiteY177" fmla="*/ 985820 h 1179401"/>
                <a:gd name="connsiteX178" fmla="*/ 859252 w 998508"/>
                <a:gd name="connsiteY178" fmla="*/ 943076 h 1179401"/>
                <a:gd name="connsiteX179" fmla="*/ 861958 w 998508"/>
                <a:gd name="connsiteY179" fmla="*/ 943276 h 1179401"/>
                <a:gd name="connsiteX180" fmla="*/ 859352 w 998508"/>
                <a:gd name="connsiteY180" fmla="*/ 942675 h 1179401"/>
                <a:gd name="connsiteX181" fmla="*/ 866468 w 998508"/>
                <a:gd name="connsiteY181" fmla="*/ 913210 h 1179401"/>
                <a:gd name="connsiteX182" fmla="*/ 885059 w 998508"/>
                <a:gd name="connsiteY182" fmla="*/ 832282 h 1179401"/>
                <a:gd name="connsiteX183" fmla="*/ 912018 w 998508"/>
                <a:gd name="connsiteY183" fmla="*/ 774055 h 1179401"/>
                <a:gd name="connsiteX184" fmla="*/ 935520 w 998508"/>
                <a:gd name="connsiteY184" fmla="*/ 730258 h 1179401"/>
                <a:gd name="connsiteX185" fmla="*/ 917380 w 998508"/>
                <a:gd name="connsiteY185" fmla="*/ 692325 h 1179401"/>
                <a:gd name="connsiteX186" fmla="*/ 888115 w 998508"/>
                <a:gd name="connsiteY186" fmla="*/ 697537 h 1179401"/>
                <a:gd name="connsiteX187" fmla="*/ 887164 w 998508"/>
                <a:gd name="connsiteY187" fmla="*/ 695983 h 1179401"/>
                <a:gd name="connsiteX188" fmla="*/ 892625 w 998508"/>
                <a:gd name="connsiteY188" fmla="*/ 631441 h 1179401"/>
                <a:gd name="connsiteX189" fmla="*/ 896434 w 998508"/>
                <a:gd name="connsiteY189" fmla="*/ 627583 h 1179401"/>
                <a:gd name="connsiteX190" fmla="*/ 900793 w 998508"/>
                <a:gd name="connsiteY190" fmla="*/ 623073 h 1179401"/>
                <a:gd name="connsiteX191" fmla="*/ 903750 w 998508"/>
                <a:gd name="connsiteY191" fmla="*/ 619816 h 1179401"/>
                <a:gd name="connsiteX192" fmla="*/ 910014 w 998508"/>
                <a:gd name="connsiteY192" fmla="*/ 610996 h 1179401"/>
                <a:gd name="connsiteX193" fmla="*/ 935570 w 998508"/>
                <a:gd name="connsiteY193" fmla="*/ 585240 h 1179401"/>
                <a:gd name="connsiteX194" fmla="*/ 991293 w 998508"/>
                <a:gd name="connsiteY194" fmla="*/ 554272 h 1179401"/>
                <a:gd name="connsiteX195" fmla="*/ 997255 w 998508"/>
                <a:gd name="connsiteY195" fmla="*/ 548760 h 1179401"/>
                <a:gd name="connsiteX196" fmla="*/ 998508 w 998508"/>
                <a:gd name="connsiteY196" fmla="*/ 547356 h 1179401"/>
                <a:gd name="connsiteX197" fmla="*/ 976961 w 998508"/>
                <a:gd name="connsiteY197" fmla="*/ 517792 h 1179401"/>
                <a:gd name="connsiteX198" fmla="*/ 959172 w 998508"/>
                <a:gd name="connsiteY198" fmla="*/ 496294 h 1179401"/>
                <a:gd name="connsiteX199" fmla="*/ 958621 w 998508"/>
                <a:gd name="connsiteY199" fmla="*/ 495292 h 1179401"/>
                <a:gd name="connsiteX200" fmla="*/ 331893 w 998508"/>
                <a:gd name="connsiteY200" fmla="*/ 1112598 h 1179401"/>
                <a:gd name="connsiteX201" fmla="*/ 327433 w 998508"/>
                <a:gd name="connsiteY201" fmla="*/ 1115505 h 1179401"/>
                <a:gd name="connsiteX202" fmla="*/ 325430 w 998508"/>
                <a:gd name="connsiteY202" fmla="*/ 1116808 h 1179401"/>
                <a:gd name="connsiteX203" fmla="*/ 323224 w 998508"/>
                <a:gd name="connsiteY203" fmla="*/ 1118211 h 1179401"/>
                <a:gd name="connsiteX204" fmla="*/ 321320 w 998508"/>
                <a:gd name="connsiteY204" fmla="*/ 1119414 h 1179401"/>
                <a:gd name="connsiteX205" fmla="*/ 319566 w 998508"/>
                <a:gd name="connsiteY205" fmla="*/ 1120516 h 1179401"/>
                <a:gd name="connsiteX206" fmla="*/ 329288 w 998508"/>
                <a:gd name="connsiteY206" fmla="*/ 1123573 h 1179401"/>
                <a:gd name="connsiteX207" fmla="*/ 315808 w 998508"/>
                <a:gd name="connsiteY207" fmla="*/ 1123923 h 1179401"/>
                <a:gd name="connsiteX208" fmla="*/ 315407 w 998508"/>
                <a:gd name="connsiteY208" fmla="*/ 1125878 h 1179401"/>
                <a:gd name="connsiteX209" fmla="*/ 314105 w 998508"/>
                <a:gd name="connsiteY209" fmla="*/ 1125026 h 1179401"/>
                <a:gd name="connsiteX210" fmla="*/ 314105 w 998508"/>
                <a:gd name="connsiteY210" fmla="*/ 1125026 h 1179401"/>
                <a:gd name="connsiteX211" fmla="*/ 313252 w 998508"/>
                <a:gd name="connsiteY211" fmla="*/ 1124525 h 1179401"/>
                <a:gd name="connsiteX212" fmla="*/ 309895 w 998508"/>
                <a:gd name="connsiteY212" fmla="*/ 1126629 h 1179401"/>
                <a:gd name="connsiteX213" fmla="*/ 310346 w 998508"/>
                <a:gd name="connsiteY213" fmla="*/ 1124274 h 1179401"/>
                <a:gd name="connsiteX214" fmla="*/ 309745 w 998508"/>
                <a:gd name="connsiteY214" fmla="*/ 1124324 h 1179401"/>
                <a:gd name="connsiteX215" fmla="*/ 307841 w 998508"/>
                <a:gd name="connsiteY215" fmla="*/ 1124675 h 1179401"/>
                <a:gd name="connsiteX216" fmla="*/ 306688 w 998508"/>
                <a:gd name="connsiteY216" fmla="*/ 1124926 h 1179401"/>
                <a:gd name="connsiteX217" fmla="*/ 304584 w 998508"/>
                <a:gd name="connsiteY217" fmla="*/ 1125527 h 1179401"/>
                <a:gd name="connsiteX218" fmla="*/ 303782 w 998508"/>
                <a:gd name="connsiteY218" fmla="*/ 1125777 h 1179401"/>
                <a:gd name="connsiteX219" fmla="*/ 300926 w 998508"/>
                <a:gd name="connsiteY219" fmla="*/ 1126880 h 1179401"/>
                <a:gd name="connsiteX220" fmla="*/ 300074 w 998508"/>
                <a:gd name="connsiteY220" fmla="*/ 1127281 h 1179401"/>
                <a:gd name="connsiteX221" fmla="*/ 298119 w 998508"/>
                <a:gd name="connsiteY221" fmla="*/ 1128183 h 1179401"/>
                <a:gd name="connsiteX222" fmla="*/ 297017 w 998508"/>
                <a:gd name="connsiteY222" fmla="*/ 1128734 h 1179401"/>
                <a:gd name="connsiteX223" fmla="*/ 295313 w 998508"/>
                <a:gd name="connsiteY223" fmla="*/ 1129586 h 1179401"/>
                <a:gd name="connsiteX224" fmla="*/ 294211 w 998508"/>
                <a:gd name="connsiteY224" fmla="*/ 1130187 h 1179401"/>
                <a:gd name="connsiteX225" fmla="*/ 293058 w 998508"/>
                <a:gd name="connsiteY225" fmla="*/ 1130788 h 1179401"/>
                <a:gd name="connsiteX226" fmla="*/ 302429 w 998508"/>
                <a:gd name="connsiteY226" fmla="*/ 1135449 h 1179401"/>
                <a:gd name="connsiteX227" fmla="*/ 295012 w 998508"/>
                <a:gd name="connsiteY227" fmla="*/ 1134547 h 1179401"/>
                <a:gd name="connsiteX228" fmla="*/ 301176 w 998508"/>
                <a:gd name="connsiteY228" fmla="*/ 1140610 h 1179401"/>
                <a:gd name="connsiteX229" fmla="*/ 289250 w 998508"/>
                <a:gd name="connsiteY229" fmla="*/ 1134797 h 1179401"/>
                <a:gd name="connsiteX230" fmla="*/ 288849 w 998508"/>
                <a:gd name="connsiteY230" fmla="*/ 1135699 h 1179401"/>
                <a:gd name="connsiteX231" fmla="*/ 287747 w 998508"/>
                <a:gd name="connsiteY231" fmla="*/ 1134847 h 1179401"/>
                <a:gd name="connsiteX232" fmla="*/ 287747 w 998508"/>
                <a:gd name="connsiteY232" fmla="*/ 1134847 h 1179401"/>
                <a:gd name="connsiteX233" fmla="*/ 287345 w 998508"/>
                <a:gd name="connsiteY233" fmla="*/ 1134547 h 1179401"/>
                <a:gd name="connsiteX234" fmla="*/ 286995 w 998508"/>
                <a:gd name="connsiteY234" fmla="*/ 1134296 h 1179401"/>
                <a:gd name="connsiteX235" fmla="*/ 282134 w 998508"/>
                <a:gd name="connsiteY235" fmla="*/ 1137052 h 1179401"/>
                <a:gd name="connsiteX236" fmla="*/ 283988 w 998508"/>
                <a:gd name="connsiteY236" fmla="*/ 1133194 h 1179401"/>
                <a:gd name="connsiteX237" fmla="*/ 281182 w 998508"/>
                <a:gd name="connsiteY237" fmla="*/ 1132843 h 1179401"/>
                <a:gd name="connsiteX238" fmla="*/ 273415 w 998508"/>
                <a:gd name="connsiteY238" fmla="*/ 1131891 h 1179401"/>
                <a:gd name="connsiteX239" fmla="*/ 277825 w 998508"/>
                <a:gd name="connsiteY239" fmla="*/ 1129235 h 1179401"/>
                <a:gd name="connsiteX240" fmla="*/ 271411 w 998508"/>
                <a:gd name="connsiteY240" fmla="*/ 1126128 h 1179401"/>
                <a:gd name="connsiteX241" fmla="*/ 279729 w 998508"/>
                <a:gd name="connsiteY241" fmla="*/ 1127231 h 1179401"/>
                <a:gd name="connsiteX242" fmla="*/ 273365 w 998508"/>
                <a:gd name="connsiteY242" fmla="*/ 1121117 h 1179401"/>
                <a:gd name="connsiteX243" fmla="*/ 286695 w 998508"/>
                <a:gd name="connsiteY243" fmla="*/ 1127732 h 1179401"/>
                <a:gd name="connsiteX244" fmla="*/ 287496 w 998508"/>
                <a:gd name="connsiteY244" fmla="*/ 1126529 h 1179401"/>
                <a:gd name="connsiteX245" fmla="*/ 288448 w 998508"/>
                <a:gd name="connsiteY245" fmla="*/ 1125126 h 1179401"/>
                <a:gd name="connsiteX246" fmla="*/ 289901 w 998508"/>
                <a:gd name="connsiteY246" fmla="*/ 1123372 h 1179401"/>
                <a:gd name="connsiteX247" fmla="*/ 290954 w 998508"/>
                <a:gd name="connsiteY247" fmla="*/ 1122220 h 1179401"/>
                <a:gd name="connsiteX248" fmla="*/ 292707 w 998508"/>
                <a:gd name="connsiteY248" fmla="*/ 1120817 h 1179401"/>
                <a:gd name="connsiteX249" fmla="*/ 293760 w 998508"/>
                <a:gd name="connsiteY249" fmla="*/ 1120015 h 1179401"/>
                <a:gd name="connsiteX250" fmla="*/ 296866 w 998508"/>
                <a:gd name="connsiteY250" fmla="*/ 1118461 h 1179401"/>
                <a:gd name="connsiteX251" fmla="*/ 297969 w 998508"/>
                <a:gd name="connsiteY251" fmla="*/ 1118161 h 1179401"/>
                <a:gd name="connsiteX252" fmla="*/ 300374 w 998508"/>
                <a:gd name="connsiteY252" fmla="*/ 1117560 h 1179401"/>
                <a:gd name="connsiteX253" fmla="*/ 301877 w 998508"/>
                <a:gd name="connsiteY253" fmla="*/ 1117409 h 1179401"/>
                <a:gd name="connsiteX254" fmla="*/ 304233 w 998508"/>
                <a:gd name="connsiteY254" fmla="*/ 1117259 h 1179401"/>
                <a:gd name="connsiteX255" fmla="*/ 305937 w 998508"/>
                <a:gd name="connsiteY255" fmla="*/ 1117359 h 1179401"/>
                <a:gd name="connsiteX256" fmla="*/ 308442 w 998508"/>
                <a:gd name="connsiteY256" fmla="*/ 1117609 h 1179401"/>
                <a:gd name="connsiteX257" fmla="*/ 310296 w 998508"/>
                <a:gd name="connsiteY257" fmla="*/ 1117960 h 1179401"/>
                <a:gd name="connsiteX258" fmla="*/ 311699 w 998508"/>
                <a:gd name="connsiteY258" fmla="*/ 1118211 h 1179401"/>
                <a:gd name="connsiteX259" fmla="*/ 311950 w 998508"/>
                <a:gd name="connsiteY259" fmla="*/ 1117660 h 1179401"/>
                <a:gd name="connsiteX260" fmla="*/ 312551 w 998508"/>
                <a:gd name="connsiteY260" fmla="*/ 1116357 h 1179401"/>
                <a:gd name="connsiteX261" fmla="*/ 313403 w 998508"/>
                <a:gd name="connsiteY261" fmla="*/ 1114803 h 1179401"/>
                <a:gd name="connsiteX262" fmla="*/ 314155 w 998508"/>
                <a:gd name="connsiteY262" fmla="*/ 1113751 h 1179401"/>
                <a:gd name="connsiteX263" fmla="*/ 315257 w 998508"/>
                <a:gd name="connsiteY263" fmla="*/ 1112549 h 1179401"/>
                <a:gd name="connsiteX264" fmla="*/ 316209 w 998508"/>
                <a:gd name="connsiteY264" fmla="*/ 1111747 h 1179401"/>
                <a:gd name="connsiteX265" fmla="*/ 317512 w 998508"/>
                <a:gd name="connsiteY265" fmla="*/ 1110845 h 1179401"/>
                <a:gd name="connsiteX266" fmla="*/ 318564 w 998508"/>
                <a:gd name="connsiteY266" fmla="*/ 1110243 h 1179401"/>
                <a:gd name="connsiteX267" fmla="*/ 320067 w 998508"/>
                <a:gd name="connsiteY267" fmla="*/ 1109592 h 1179401"/>
                <a:gd name="connsiteX268" fmla="*/ 321220 w 998508"/>
                <a:gd name="connsiteY268" fmla="*/ 1109141 h 1179401"/>
                <a:gd name="connsiteX269" fmla="*/ 322924 w 998508"/>
                <a:gd name="connsiteY269" fmla="*/ 1108690 h 1179401"/>
                <a:gd name="connsiteX270" fmla="*/ 324076 w 998508"/>
                <a:gd name="connsiteY270" fmla="*/ 1108439 h 1179401"/>
                <a:gd name="connsiteX271" fmla="*/ 326081 w 998508"/>
                <a:gd name="connsiteY271" fmla="*/ 1108139 h 1179401"/>
                <a:gd name="connsiteX272" fmla="*/ 327083 w 998508"/>
                <a:gd name="connsiteY272" fmla="*/ 1107988 h 1179401"/>
                <a:gd name="connsiteX273" fmla="*/ 330190 w 998508"/>
                <a:gd name="connsiteY273" fmla="*/ 1107738 h 1179401"/>
                <a:gd name="connsiteX274" fmla="*/ 340212 w 998508"/>
                <a:gd name="connsiteY274" fmla="*/ 1107187 h 1179401"/>
                <a:gd name="connsiteX275" fmla="*/ 331843 w 998508"/>
                <a:gd name="connsiteY275" fmla="*/ 1112649 h 1179401"/>
                <a:gd name="connsiteX276" fmla="*/ 359805 w 998508"/>
                <a:gd name="connsiteY276" fmla="*/ 1115555 h 1179401"/>
                <a:gd name="connsiteX277" fmla="*/ 331893 w 998508"/>
                <a:gd name="connsiteY277" fmla="*/ 1100772 h 1179401"/>
                <a:gd name="connsiteX278" fmla="*/ 338508 w 998508"/>
                <a:gd name="connsiteY278" fmla="*/ 1099019 h 1179401"/>
                <a:gd name="connsiteX279" fmla="*/ 360656 w 998508"/>
                <a:gd name="connsiteY279" fmla="*/ 1103378 h 1179401"/>
                <a:gd name="connsiteX280" fmla="*/ 362561 w 998508"/>
                <a:gd name="connsiteY280" fmla="*/ 1104681 h 1179401"/>
                <a:gd name="connsiteX281" fmla="*/ 364565 w 998508"/>
                <a:gd name="connsiteY281" fmla="*/ 1105984 h 1179401"/>
                <a:gd name="connsiteX282" fmla="*/ 359805 w 998508"/>
                <a:gd name="connsiteY282" fmla="*/ 1115555 h 1179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</a:cxnLst>
              <a:rect l="l" t="t" r="r" b="b"/>
              <a:pathLst>
                <a:path w="998508" h="1179401">
                  <a:moveTo>
                    <a:pt x="958771" y="495242"/>
                  </a:moveTo>
                  <a:lnTo>
                    <a:pt x="959122" y="494140"/>
                  </a:lnTo>
                  <a:cubicBezTo>
                    <a:pt x="960073" y="491183"/>
                    <a:pt x="961126" y="488327"/>
                    <a:pt x="962228" y="485571"/>
                  </a:cubicBezTo>
                  <a:cubicBezTo>
                    <a:pt x="964383" y="479908"/>
                    <a:pt x="966438" y="474547"/>
                    <a:pt x="966688" y="469385"/>
                  </a:cubicBezTo>
                  <a:cubicBezTo>
                    <a:pt x="967239" y="456306"/>
                    <a:pt x="968693" y="442476"/>
                    <a:pt x="979467" y="428896"/>
                  </a:cubicBezTo>
                  <a:cubicBezTo>
                    <a:pt x="979166" y="428696"/>
                    <a:pt x="978865" y="428495"/>
                    <a:pt x="978564" y="428345"/>
                  </a:cubicBezTo>
                  <a:cubicBezTo>
                    <a:pt x="976460" y="427042"/>
                    <a:pt x="974756" y="425990"/>
                    <a:pt x="973052" y="425188"/>
                  </a:cubicBezTo>
                  <a:cubicBezTo>
                    <a:pt x="970497" y="423985"/>
                    <a:pt x="967891" y="422883"/>
                    <a:pt x="965285" y="421781"/>
                  </a:cubicBezTo>
                  <a:cubicBezTo>
                    <a:pt x="961477" y="420177"/>
                    <a:pt x="957518" y="418473"/>
                    <a:pt x="953760" y="416519"/>
                  </a:cubicBezTo>
                  <a:cubicBezTo>
                    <a:pt x="938376" y="408502"/>
                    <a:pt x="939379" y="397678"/>
                    <a:pt x="942986" y="389961"/>
                  </a:cubicBezTo>
                  <a:cubicBezTo>
                    <a:pt x="944891" y="385852"/>
                    <a:pt x="946544" y="381492"/>
                    <a:pt x="948098" y="377233"/>
                  </a:cubicBezTo>
                  <a:cubicBezTo>
                    <a:pt x="949550" y="373424"/>
                    <a:pt x="951004" y="369616"/>
                    <a:pt x="952607" y="365858"/>
                  </a:cubicBezTo>
                  <a:cubicBezTo>
                    <a:pt x="955965" y="358141"/>
                    <a:pt x="955965" y="350624"/>
                    <a:pt x="952507" y="342857"/>
                  </a:cubicBezTo>
                  <a:cubicBezTo>
                    <a:pt x="949902" y="337044"/>
                    <a:pt x="947396" y="331181"/>
                    <a:pt x="945091" y="325669"/>
                  </a:cubicBezTo>
                  <a:lnTo>
                    <a:pt x="943287" y="321460"/>
                  </a:lnTo>
                  <a:cubicBezTo>
                    <a:pt x="939779" y="320909"/>
                    <a:pt x="936371" y="321761"/>
                    <a:pt x="932814" y="322563"/>
                  </a:cubicBezTo>
                  <a:cubicBezTo>
                    <a:pt x="927001" y="323916"/>
                    <a:pt x="920387" y="325469"/>
                    <a:pt x="913622" y="320308"/>
                  </a:cubicBezTo>
                  <a:lnTo>
                    <a:pt x="912870" y="319456"/>
                  </a:lnTo>
                  <a:cubicBezTo>
                    <a:pt x="910164" y="314445"/>
                    <a:pt x="908060" y="308933"/>
                    <a:pt x="906005" y="303571"/>
                  </a:cubicBezTo>
                  <a:cubicBezTo>
                    <a:pt x="901545" y="291845"/>
                    <a:pt x="896885" y="279718"/>
                    <a:pt x="885560" y="271751"/>
                  </a:cubicBezTo>
                  <a:lnTo>
                    <a:pt x="882553" y="272402"/>
                  </a:lnTo>
                  <a:cubicBezTo>
                    <a:pt x="869675" y="275208"/>
                    <a:pt x="857548" y="277864"/>
                    <a:pt x="849782" y="289841"/>
                  </a:cubicBezTo>
                  <a:cubicBezTo>
                    <a:pt x="845622" y="296255"/>
                    <a:pt x="837454" y="297056"/>
                    <a:pt x="831892" y="294601"/>
                  </a:cubicBezTo>
                  <a:cubicBezTo>
                    <a:pt x="817911" y="288337"/>
                    <a:pt x="808040" y="272653"/>
                    <a:pt x="807889" y="256467"/>
                  </a:cubicBezTo>
                  <a:cubicBezTo>
                    <a:pt x="807889" y="251657"/>
                    <a:pt x="810595" y="248850"/>
                    <a:pt x="812851" y="246596"/>
                  </a:cubicBezTo>
                  <a:cubicBezTo>
                    <a:pt x="814504" y="244892"/>
                    <a:pt x="815606" y="243689"/>
                    <a:pt x="815957" y="242186"/>
                  </a:cubicBezTo>
                  <a:lnTo>
                    <a:pt x="810144" y="238929"/>
                  </a:lnTo>
                  <a:cubicBezTo>
                    <a:pt x="804382" y="235672"/>
                    <a:pt x="798619" y="232415"/>
                    <a:pt x="792856" y="229107"/>
                  </a:cubicBezTo>
                  <a:cubicBezTo>
                    <a:pt x="784688" y="224397"/>
                    <a:pt x="781983" y="216429"/>
                    <a:pt x="779628" y="209414"/>
                  </a:cubicBezTo>
                  <a:cubicBezTo>
                    <a:pt x="779026" y="207660"/>
                    <a:pt x="778475" y="205956"/>
                    <a:pt x="777823" y="204353"/>
                  </a:cubicBezTo>
                  <a:lnTo>
                    <a:pt x="760986" y="197788"/>
                  </a:lnTo>
                  <a:lnTo>
                    <a:pt x="761537" y="195534"/>
                  </a:lnTo>
                  <a:cubicBezTo>
                    <a:pt x="762289" y="192276"/>
                    <a:pt x="763041" y="189119"/>
                    <a:pt x="763742" y="186013"/>
                  </a:cubicBezTo>
                  <a:cubicBezTo>
                    <a:pt x="765196" y="179648"/>
                    <a:pt x="766598" y="173485"/>
                    <a:pt x="768152" y="167422"/>
                  </a:cubicBezTo>
                  <a:cubicBezTo>
                    <a:pt x="769455" y="162311"/>
                    <a:pt x="768653" y="158051"/>
                    <a:pt x="765647" y="154042"/>
                  </a:cubicBezTo>
                  <a:cubicBezTo>
                    <a:pt x="764444" y="152389"/>
                    <a:pt x="763241" y="150735"/>
                    <a:pt x="762039" y="149081"/>
                  </a:cubicBezTo>
                  <a:cubicBezTo>
                    <a:pt x="759633" y="145674"/>
                    <a:pt x="757078" y="142166"/>
                    <a:pt x="754472" y="138959"/>
                  </a:cubicBezTo>
                  <a:cubicBezTo>
                    <a:pt x="746455" y="129138"/>
                    <a:pt x="741493" y="119166"/>
                    <a:pt x="739339" y="108492"/>
                  </a:cubicBezTo>
                  <a:cubicBezTo>
                    <a:pt x="738437" y="104032"/>
                    <a:pt x="736833" y="99623"/>
                    <a:pt x="735229" y="95464"/>
                  </a:cubicBezTo>
                  <a:cubicBezTo>
                    <a:pt x="735180" y="95464"/>
                    <a:pt x="734478" y="95013"/>
                    <a:pt x="734027" y="94762"/>
                  </a:cubicBezTo>
                  <a:cubicBezTo>
                    <a:pt x="733877" y="94662"/>
                    <a:pt x="733727" y="94562"/>
                    <a:pt x="733576" y="94511"/>
                  </a:cubicBezTo>
                  <a:lnTo>
                    <a:pt x="720648" y="99422"/>
                  </a:lnTo>
                  <a:lnTo>
                    <a:pt x="719445" y="97819"/>
                  </a:lnTo>
                  <a:cubicBezTo>
                    <a:pt x="701105" y="73816"/>
                    <a:pt x="695943" y="59985"/>
                    <a:pt x="695292" y="33528"/>
                  </a:cubicBezTo>
                  <a:cubicBezTo>
                    <a:pt x="695242" y="31423"/>
                    <a:pt x="695342" y="29268"/>
                    <a:pt x="695492" y="27113"/>
                  </a:cubicBezTo>
                  <a:cubicBezTo>
                    <a:pt x="695843" y="21401"/>
                    <a:pt x="696144" y="15939"/>
                    <a:pt x="693037" y="11228"/>
                  </a:cubicBezTo>
                  <a:cubicBezTo>
                    <a:pt x="692536" y="11228"/>
                    <a:pt x="692035" y="11178"/>
                    <a:pt x="691534" y="11128"/>
                  </a:cubicBezTo>
                  <a:cubicBezTo>
                    <a:pt x="689981" y="11028"/>
                    <a:pt x="688678" y="10928"/>
                    <a:pt x="687725" y="11228"/>
                  </a:cubicBezTo>
                  <a:cubicBezTo>
                    <a:pt x="671891" y="16139"/>
                    <a:pt x="657860" y="14636"/>
                    <a:pt x="644831" y="6669"/>
                  </a:cubicBezTo>
                  <a:cubicBezTo>
                    <a:pt x="641424" y="4564"/>
                    <a:pt x="637114" y="3411"/>
                    <a:pt x="633005" y="2259"/>
                  </a:cubicBezTo>
                  <a:lnTo>
                    <a:pt x="629949" y="1407"/>
                  </a:lnTo>
                  <a:cubicBezTo>
                    <a:pt x="621279" y="-1099"/>
                    <a:pt x="620929" y="-1199"/>
                    <a:pt x="613712" y="9124"/>
                  </a:cubicBezTo>
                  <a:cubicBezTo>
                    <a:pt x="617521" y="14636"/>
                    <a:pt x="621530" y="20349"/>
                    <a:pt x="625839" y="26412"/>
                  </a:cubicBezTo>
                  <a:lnTo>
                    <a:pt x="627092" y="28216"/>
                  </a:lnTo>
                  <a:lnTo>
                    <a:pt x="625589" y="29819"/>
                  </a:lnTo>
                  <a:cubicBezTo>
                    <a:pt x="619676" y="36183"/>
                    <a:pt x="614514" y="41645"/>
                    <a:pt x="609253" y="47207"/>
                  </a:cubicBezTo>
                  <a:cubicBezTo>
                    <a:pt x="608802" y="49462"/>
                    <a:pt x="608602" y="51768"/>
                    <a:pt x="608401" y="54223"/>
                  </a:cubicBezTo>
                  <a:cubicBezTo>
                    <a:pt x="607800" y="60787"/>
                    <a:pt x="607148" y="68254"/>
                    <a:pt x="600935" y="74367"/>
                  </a:cubicBezTo>
                  <a:cubicBezTo>
                    <a:pt x="600333" y="74969"/>
                    <a:pt x="599481" y="77524"/>
                    <a:pt x="600233" y="83387"/>
                  </a:cubicBezTo>
                  <a:cubicBezTo>
                    <a:pt x="601687" y="94562"/>
                    <a:pt x="603390" y="105836"/>
                    <a:pt x="605044" y="116760"/>
                  </a:cubicBezTo>
                  <a:lnTo>
                    <a:pt x="606797" y="128235"/>
                  </a:lnTo>
                  <a:lnTo>
                    <a:pt x="625188" y="136153"/>
                  </a:lnTo>
                  <a:lnTo>
                    <a:pt x="625389" y="137706"/>
                  </a:lnTo>
                  <a:cubicBezTo>
                    <a:pt x="628194" y="161859"/>
                    <a:pt x="628094" y="179999"/>
                    <a:pt x="625037" y="196586"/>
                  </a:cubicBezTo>
                  <a:lnTo>
                    <a:pt x="624787" y="197889"/>
                  </a:lnTo>
                  <a:lnTo>
                    <a:pt x="623585" y="198490"/>
                  </a:lnTo>
                  <a:cubicBezTo>
                    <a:pt x="622783" y="198891"/>
                    <a:pt x="622081" y="199342"/>
                    <a:pt x="621480" y="199692"/>
                  </a:cubicBezTo>
                  <a:cubicBezTo>
                    <a:pt x="620026" y="200594"/>
                    <a:pt x="618674" y="201396"/>
                    <a:pt x="616970" y="201346"/>
                  </a:cubicBezTo>
                  <a:cubicBezTo>
                    <a:pt x="612460" y="201146"/>
                    <a:pt x="608000" y="200695"/>
                    <a:pt x="603139" y="200244"/>
                  </a:cubicBezTo>
                  <a:lnTo>
                    <a:pt x="598630" y="199843"/>
                  </a:lnTo>
                  <a:lnTo>
                    <a:pt x="573775" y="221390"/>
                  </a:lnTo>
                  <a:lnTo>
                    <a:pt x="572272" y="220839"/>
                  </a:lnTo>
                  <a:cubicBezTo>
                    <a:pt x="570518" y="220188"/>
                    <a:pt x="568914" y="219586"/>
                    <a:pt x="567311" y="219035"/>
                  </a:cubicBezTo>
                  <a:cubicBezTo>
                    <a:pt x="564154" y="217933"/>
                    <a:pt x="561147" y="216830"/>
                    <a:pt x="558241" y="215578"/>
                  </a:cubicBezTo>
                  <a:cubicBezTo>
                    <a:pt x="545563" y="209965"/>
                    <a:pt x="531933" y="211268"/>
                    <a:pt x="520157" y="212972"/>
                  </a:cubicBezTo>
                  <a:cubicBezTo>
                    <a:pt x="514094" y="213874"/>
                    <a:pt x="509734" y="216129"/>
                    <a:pt x="507228" y="219787"/>
                  </a:cubicBezTo>
                  <a:cubicBezTo>
                    <a:pt x="504623" y="223595"/>
                    <a:pt x="504022" y="228857"/>
                    <a:pt x="505525" y="235371"/>
                  </a:cubicBezTo>
                  <a:cubicBezTo>
                    <a:pt x="506277" y="238678"/>
                    <a:pt x="508181" y="242086"/>
                    <a:pt x="510286" y="243890"/>
                  </a:cubicBezTo>
                  <a:cubicBezTo>
                    <a:pt x="520909" y="252809"/>
                    <a:pt x="525368" y="264585"/>
                    <a:pt x="523916" y="279919"/>
                  </a:cubicBezTo>
                  <a:cubicBezTo>
                    <a:pt x="523665" y="282675"/>
                    <a:pt x="524216" y="286032"/>
                    <a:pt x="525669" y="290342"/>
                  </a:cubicBezTo>
                  <a:cubicBezTo>
                    <a:pt x="529377" y="301266"/>
                    <a:pt x="533286" y="312140"/>
                    <a:pt x="537095" y="322663"/>
                  </a:cubicBezTo>
                  <a:lnTo>
                    <a:pt x="541354" y="334589"/>
                  </a:lnTo>
                  <a:lnTo>
                    <a:pt x="541053" y="335441"/>
                  </a:lnTo>
                  <a:cubicBezTo>
                    <a:pt x="540401" y="337445"/>
                    <a:pt x="539650" y="339299"/>
                    <a:pt x="538949" y="341154"/>
                  </a:cubicBezTo>
                  <a:cubicBezTo>
                    <a:pt x="537495" y="344811"/>
                    <a:pt x="536242" y="347918"/>
                    <a:pt x="536293" y="350875"/>
                  </a:cubicBezTo>
                  <a:cubicBezTo>
                    <a:pt x="536293" y="355485"/>
                    <a:pt x="538096" y="360947"/>
                    <a:pt x="540803" y="364805"/>
                  </a:cubicBezTo>
                  <a:cubicBezTo>
                    <a:pt x="543608" y="368814"/>
                    <a:pt x="547918" y="372122"/>
                    <a:pt x="552077" y="375329"/>
                  </a:cubicBezTo>
                  <a:lnTo>
                    <a:pt x="553982" y="376782"/>
                  </a:lnTo>
                  <a:cubicBezTo>
                    <a:pt x="570718" y="389810"/>
                    <a:pt x="588357" y="403340"/>
                    <a:pt x="606397" y="417070"/>
                  </a:cubicBezTo>
                  <a:cubicBezTo>
                    <a:pt x="614264" y="423033"/>
                    <a:pt x="617822" y="430099"/>
                    <a:pt x="617671" y="439319"/>
                  </a:cubicBezTo>
                  <a:cubicBezTo>
                    <a:pt x="617521" y="448539"/>
                    <a:pt x="617521" y="457810"/>
                    <a:pt x="617521" y="467030"/>
                  </a:cubicBezTo>
                  <a:cubicBezTo>
                    <a:pt x="617521" y="476701"/>
                    <a:pt x="617521" y="486373"/>
                    <a:pt x="617321" y="496044"/>
                  </a:cubicBezTo>
                  <a:cubicBezTo>
                    <a:pt x="617321" y="499050"/>
                    <a:pt x="616218" y="501907"/>
                    <a:pt x="615417" y="504212"/>
                  </a:cubicBezTo>
                  <a:cubicBezTo>
                    <a:pt x="615116" y="505063"/>
                    <a:pt x="614815" y="505916"/>
                    <a:pt x="614615" y="506667"/>
                  </a:cubicBezTo>
                  <a:lnTo>
                    <a:pt x="614214" y="508220"/>
                  </a:lnTo>
                  <a:lnTo>
                    <a:pt x="612660" y="508571"/>
                  </a:lnTo>
                  <a:cubicBezTo>
                    <a:pt x="606998" y="509924"/>
                    <a:pt x="601536" y="511277"/>
                    <a:pt x="596124" y="512630"/>
                  </a:cubicBezTo>
                  <a:cubicBezTo>
                    <a:pt x="583998" y="515687"/>
                    <a:pt x="572522" y="518543"/>
                    <a:pt x="560797" y="520898"/>
                  </a:cubicBezTo>
                  <a:cubicBezTo>
                    <a:pt x="548870" y="523354"/>
                    <a:pt x="539349" y="528465"/>
                    <a:pt x="531632" y="536683"/>
                  </a:cubicBezTo>
                  <a:cubicBezTo>
                    <a:pt x="502869" y="567300"/>
                    <a:pt x="471600" y="593758"/>
                    <a:pt x="442036" y="617811"/>
                  </a:cubicBezTo>
                  <a:lnTo>
                    <a:pt x="441033" y="618613"/>
                  </a:lnTo>
                  <a:cubicBezTo>
                    <a:pt x="434319" y="624075"/>
                    <a:pt x="428005" y="629236"/>
                    <a:pt x="423895" y="638958"/>
                  </a:cubicBezTo>
                  <a:cubicBezTo>
                    <a:pt x="438327" y="666418"/>
                    <a:pt x="449652" y="696835"/>
                    <a:pt x="457570" y="729356"/>
                  </a:cubicBezTo>
                  <a:lnTo>
                    <a:pt x="457970" y="730910"/>
                  </a:lnTo>
                  <a:lnTo>
                    <a:pt x="456768" y="731962"/>
                  </a:lnTo>
                  <a:cubicBezTo>
                    <a:pt x="455014" y="733516"/>
                    <a:pt x="453311" y="735019"/>
                    <a:pt x="451657" y="736422"/>
                  </a:cubicBezTo>
                  <a:cubicBezTo>
                    <a:pt x="448249" y="739378"/>
                    <a:pt x="445042" y="742185"/>
                    <a:pt x="442085" y="745091"/>
                  </a:cubicBezTo>
                  <a:cubicBezTo>
                    <a:pt x="419686" y="767240"/>
                    <a:pt x="395182" y="778514"/>
                    <a:pt x="367271" y="779667"/>
                  </a:cubicBezTo>
                  <a:cubicBezTo>
                    <a:pt x="356798" y="780068"/>
                    <a:pt x="347778" y="784578"/>
                    <a:pt x="340463" y="793097"/>
                  </a:cubicBezTo>
                  <a:cubicBezTo>
                    <a:pt x="336854" y="797256"/>
                    <a:pt x="332695" y="801014"/>
                    <a:pt x="328736" y="804622"/>
                  </a:cubicBezTo>
                  <a:cubicBezTo>
                    <a:pt x="326932" y="806276"/>
                    <a:pt x="325129" y="807879"/>
                    <a:pt x="323325" y="809583"/>
                  </a:cubicBezTo>
                  <a:lnTo>
                    <a:pt x="322022" y="810835"/>
                  </a:lnTo>
                  <a:lnTo>
                    <a:pt x="320368" y="810134"/>
                  </a:lnTo>
                  <a:cubicBezTo>
                    <a:pt x="315357" y="807929"/>
                    <a:pt x="310998" y="805975"/>
                    <a:pt x="305836" y="803670"/>
                  </a:cubicBezTo>
                  <a:cubicBezTo>
                    <a:pt x="305034" y="805023"/>
                    <a:pt x="304183" y="806376"/>
                    <a:pt x="303331" y="807678"/>
                  </a:cubicBezTo>
                  <a:cubicBezTo>
                    <a:pt x="300725" y="811788"/>
                    <a:pt x="298320" y="815696"/>
                    <a:pt x="296766" y="819805"/>
                  </a:cubicBezTo>
                  <a:cubicBezTo>
                    <a:pt x="291855" y="832683"/>
                    <a:pt x="282235" y="841503"/>
                    <a:pt x="266550" y="847516"/>
                  </a:cubicBezTo>
                  <a:lnTo>
                    <a:pt x="265197" y="848017"/>
                  </a:lnTo>
                  <a:cubicBezTo>
                    <a:pt x="261940" y="849270"/>
                    <a:pt x="258582" y="850573"/>
                    <a:pt x="255175" y="851525"/>
                  </a:cubicBezTo>
                  <a:cubicBezTo>
                    <a:pt x="245955" y="854030"/>
                    <a:pt x="239791" y="858791"/>
                    <a:pt x="235131" y="866959"/>
                  </a:cubicBezTo>
                  <a:cubicBezTo>
                    <a:pt x="225960" y="883044"/>
                    <a:pt x="211629" y="894670"/>
                    <a:pt x="200154" y="902988"/>
                  </a:cubicBezTo>
                  <a:lnTo>
                    <a:pt x="199051" y="903790"/>
                  </a:lnTo>
                  <a:lnTo>
                    <a:pt x="197749" y="903389"/>
                  </a:lnTo>
                  <a:cubicBezTo>
                    <a:pt x="196596" y="903038"/>
                    <a:pt x="195494" y="902738"/>
                    <a:pt x="194442" y="902437"/>
                  </a:cubicBezTo>
                  <a:cubicBezTo>
                    <a:pt x="192136" y="901835"/>
                    <a:pt x="189982" y="901234"/>
                    <a:pt x="187927" y="900282"/>
                  </a:cubicBezTo>
                  <a:cubicBezTo>
                    <a:pt x="168886" y="891713"/>
                    <a:pt x="151748" y="893918"/>
                    <a:pt x="135562" y="907147"/>
                  </a:cubicBezTo>
                  <a:lnTo>
                    <a:pt x="133007" y="909252"/>
                  </a:lnTo>
                  <a:cubicBezTo>
                    <a:pt x="127294" y="913912"/>
                    <a:pt x="121381" y="918722"/>
                    <a:pt x="116220" y="923984"/>
                  </a:cubicBezTo>
                  <a:cubicBezTo>
                    <a:pt x="107501" y="932853"/>
                    <a:pt x="97529" y="934658"/>
                    <a:pt x="87356" y="929246"/>
                  </a:cubicBezTo>
                  <a:cubicBezTo>
                    <a:pt x="76633" y="923583"/>
                    <a:pt x="65408" y="923032"/>
                    <a:pt x="51928" y="923984"/>
                  </a:cubicBezTo>
                  <a:cubicBezTo>
                    <a:pt x="46967" y="924335"/>
                    <a:pt x="43410" y="925838"/>
                    <a:pt x="41405" y="928544"/>
                  </a:cubicBezTo>
                  <a:cubicBezTo>
                    <a:pt x="39401" y="931250"/>
                    <a:pt x="38850" y="935058"/>
                    <a:pt x="39802" y="939869"/>
                  </a:cubicBezTo>
                  <a:cubicBezTo>
                    <a:pt x="40453" y="942976"/>
                    <a:pt x="41405" y="946032"/>
                    <a:pt x="42457" y="949240"/>
                  </a:cubicBezTo>
                  <a:cubicBezTo>
                    <a:pt x="43360" y="952046"/>
                    <a:pt x="44311" y="955002"/>
                    <a:pt x="45013" y="957959"/>
                  </a:cubicBezTo>
                  <a:cubicBezTo>
                    <a:pt x="47870" y="970486"/>
                    <a:pt x="45715" y="975497"/>
                    <a:pt x="34590" y="982212"/>
                  </a:cubicBezTo>
                  <a:cubicBezTo>
                    <a:pt x="33538" y="982813"/>
                    <a:pt x="32485" y="983465"/>
                    <a:pt x="31483" y="984066"/>
                  </a:cubicBezTo>
                  <a:cubicBezTo>
                    <a:pt x="25069" y="987824"/>
                    <a:pt x="19006" y="991382"/>
                    <a:pt x="16050" y="998949"/>
                  </a:cubicBezTo>
                  <a:cubicBezTo>
                    <a:pt x="19958" y="1002857"/>
                    <a:pt x="24418" y="1006215"/>
                    <a:pt x="29128" y="1009773"/>
                  </a:cubicBezTo>
                  <a:cubicBezTo>
                    <a:pt x="38699" y="1016988"/>
                    <a:pt x="48571" y="1024455"/>
                    <a:pt x="54684" y="1037133"/>
                  </a:cubicBezTo>
                  <a:lnTo>
                    <a:pt x="55537" y="1038887"/>
                  </a:lnTo>
                  <a:lnTo>
                    <a:pt x="54184" y="1040239"/>
                  </a:lnTo>
                  <a:cubicBezTo>
                    <a:pt x="45113" y="1049109"/>
                    <a:pt x="36945" y="1053168"/>
                    <a:pt x="28677" y="1053118"/>
                  </a:cubicBezTo>
                  <a:cubicBezTo>
                    <a:pt x="28577" y="1053118"/>
                    <a:pt x="28477" y="1053118"/>
                    <a:pt x="28327" y="1053118"/>
                  </a:cubicBezTo>
                  <a:cubicBezTo>
                    <a:pt x="15849" y="1053118"/>
                    <a:pt x="8082" y="1059682"/>
                    <a:pt x="2369" y="1075066"/>
                  </a:cubicBezTo>
                  <a:cubicBezTo>
                    <a:pt x="-86" y="1081731"/>
                    <a:pt x="-36" y="1089798"/>
                    <a:pt x="14" y="1097616"/>
                  </a:cubicBezTo>
                  <a:cubicBezTo>
                    <a:pt x="14" y="1099871"/>
                    <a:pt x="14" y="1102126"/>
                    <a:pt x="14" y="1104330"/>
                  </a:cubicBezTo>
                  <a:cubicBezTo>
                    <a:pt x="-86" y="1109742"/>
                    <a:pt x="3772" y="1113400"/>
                    <a:pt x="7832" y="1117259"/>
                  </a:cubicBezTo>
                  <a:cubicBezTo>
                    <a:pt x="8683" y="1118111"/>
                    <a:pt x="9585" y="1118912"/>
                    <a:pt x="10387" y="1119764"/>
                  </a:cubicBezTo>
                  <a:cubicBezTo>
                    <a:pt x="13945" y="1123422"/>
                    <a:pt x="17603" y="1127030"/>
                    <a:pt x="21261" y="1130588"/>
                  </a:cubicBezTo>
                  <a:cubicBezTo>
                    <a:pt x="27675" y="1136852"/>
                    <a:pt x="34240" y="1143316"/>
                    <a:pt x="40353" y="1150131"/>
                  </a:cubicBezTo>
                  <a:cubicBezTo>
                    <a:pt x="47518" y="1157998"/>
                    <a:pt x="55837" y="1162157"/>
                    <a:pt x="67362" y="1163661"/>
                  </a:cubicBezTo>
                  <a:cubicBezTo>
                    <a:pt x="98481" y="1167619"/>
                    <a:pt x="131954" y="1172079"/>
                    <a:pt x="165729" y="1177792"/>
                  </a:cubicBezTo>
                  <a:cubicBezTo>
                    <a:pt x="179659" y="1180147"/>
                    <a:pt x="188629" y="1178493"/>
                    <a:pt x="195694" y="1172230"/>
                  </a:cubicBezTo>
                  <a:lnTo>
                    <a:pt x="197047" y="1171027"/>
                  </a:lnTo>
                  <a:lnTo>
                    <a:pt x="198651" y="1171829"/>
                  </a:lnTo>
                  <a:cubicBezTo>
                    <a:pt x="218494" y="1181901"/>
                    <a:pt x="221150" y="1181901"/>
                    <a:pt x="238939" y="1171979"/>
                  </a:cubicBezTo>
                  <a:cubicBezTo>
                    <a:pt x="244451" y="1168922"/>
                    <a:pt x="248811" y="1166166"/>
                    <a:pt x="252670" y="1163360"/>
                  </a:cubicBezTo>
                  <a:cubicBezTo>
                    <a:pt x="262742" y="1155944"/>
                    <a:pt x="274568" y="1150532"/>
                    <a:pt x="289801" y="1146373"/>
                  </a:cubicBezTo>
                  <a:cubicBezTo>
                    <a:pt x="303531" y="1142615"/>
                    <a:pt x="317262" y="1138606"/>
                    <a:pt x="330942" y="1134597"/>
                  </a:cubicBezTo>
                  <a:cubicBezTo>
                    <a:pt x="347979" y="1129636"/>
                    <a:pt x="365618" y="1124525"/>
                    <a:pt x="383056" y="1119864"/>
                  </a:cubicBezTo>
                  <a:cubicBezTo>
                    <a:pt x="394431" y="1116858"/>
                    <a:pt x="401196" y="1111346"/>
                    <a:pt x="405656" y="1101424"/>
                  </a:cubicBezTo>
                  <a:cubicBezTo>
                    <a:pt x="409564" y="1092655"/>
                    <a:pt x="413873" y="1083034"/>
                    <a:pt x="420789" y="1076519"/>
                  </a:cubicBezTo>
                  <a:cubicBezTo>
                    <a:pt x="439029" y="1059332"/>
                    <a:pt x="459975" y="1041342"/>
                    <a:pt x="484779" y="1021548"/>
                  </a:cubicBezTo>
                  <a:lnTo>
                    <a:pt x="485682" y="1020797"/>
                  </a:lnTo>
                  <a:lnTo>
                    <a:pt x="490993" y="1021649"/>
                  </a:lnTo>
                  <a:cubicBezTo>
                    <a:pt x="516148" y="1025557"/>
                    <a:pt x="539951" y="1029266"/>
                    <a:pt x="561398" y="1042344"/>
                  </a:cubicBezTo>
                  <a:cubicBezTo>
                    <a:pt x="568814" y="1046854"/>
                    <a:pt x="577132" y="1048107"/>
                    <a:pt x="587305" y="1048558"/>
                  </a:cubicBezTo>
                  <a:cubicBezTo>
                    <a:pt x="606547" y="1049460"/>
                    <a:pt x="625689" y="1046052"/>
                    <a:pt x="644180" y="1042695"/>
                  </a:cubicBezTo>
                  <a:lnTo>
                    <a:pt x="652348" y="1041242"/>
                  </a:lnTo>
                  <a:cubicBezTo>
                    <a:pt x="663122" y="1039337"/>
                    <a:pt x="671339" y="1040791"/>
                    <a:pt x="679056" y="1046002"/>
                  </a:cubicBezTo>
                  <a:cubicBezTo>
                    <a:pt x="680409" y="1046904"/>
                    <a:pt x="681863" y="1047706"/>
                    <a:pt x="683265" y="1048508"/>
                  </a:cubicBezTo>
                  <a:cubicBezTo>
                    <a:pt x="685270" y="1049610"/>
                    <a:pt x="687325" y="1050813"/>
                    <a:pt x="689229" y="1052266"/>
                  </a:cubicBezTo>
                  <a:cubicBezTo>
                    <a:pt x="712179" y="1070005"/>
                    <a:pt x="738687" y="1072009"/>
                    <a:pt x="766749" y="1074164"/>
                  </a:cubicBezTo>
                  <a:cubicBezTo>
                    <a:pt x="769154" y="1074365"/>
                    <a:pt x="771510" y="1074515"/>
                    <a:pt x="773915" y="1074715"/>
                  </a:cubicBezTo>
                  <a:cubicBezTo>
                    <a:pt x="774265" y="1074314"/>
                    <a:pt x="774617" y="1073964"/>
                    <a:pt x="774967" y="1073613"/>
                  </a:cubicBezTo>
                  <a:cubicBezTo>
                    <a:pt x="776119" y="1072360"/>
                    <a:pt x="777122" y="1071308"/>
                    <a:pt x="777873" y="1070205"/>
                  </a:cubicBezTo>
                  <a:cubicBezTo>
                    <a:pt x="794059" y="1044950"/>
                    <a:pt x="815105" y="1024304"/>
                    <a:pt x="842215" y="1006966"/>
                  </a:cubicBezTo>
                  <a:cubicBezTo>
                    <a:pt x="852187" y="1000602"/>
                    <a:pt x="859002" y="993687"/>
                    <a:pt x="862911" y="985820"/>
                  </a:cubicBezTo>
                  <a:cubicBezTo>
                    <a:pt x="853840" y="966828"/>
                    <a:pt x="853840" y="965626"/>
                    <a:pt x="859252" y="943076"/>
                  </a:cubicBezTo>
                  <a:lnTo>
                    <a:pt x="861958" y="943276"/>
                  </a:lnTo>
                  <a:lnTo>
                    <a:pt x="859352" y="942675"/>
                  </a:lnTo>
                  <a:cubicBezTo>
                    <a:pt x="861708" y="932853"/>
                    <a:pt x="864063" y="923032"/>
                    <a:pt x="866468" y="913210"/>
                  </a:cubicBezTo>
                  <a:cubicBezTo>
                    <a:pt x="872882" y="886752"/>
                    <a:pt x="879547" y="859392"/>
                    <a:pt x="885059" y="832282"/>
                  </a:cubicBezTo>
                  <a:cubicBezTo>
                    <a:pt x="889919" y="808380"/>
                    <a:pt x="898489" y="789889"/>
                    <a:pt x="912018" y="774055"/>
                  </a:cubicBezTo>
                  <a:cubicBezTo>
                    <a:pt x="922140" y="762178"/>
                    <a:pt x="929858" y="747847"/>
                    <a:pt x="935520" y="730258"/>
                  </a:cubicBezTo>
                  <a:cubicBezTo>
                    <a:pt x="924947" y="720637"/>
                    <a:pt x="920988" y="707859"/>
                    <a:pt x="917380" y="692325"/>
                  </a:cubicBezTo>
                  <a:lnTo>
                    <a:pt x="888115" y="697537"/>
                  </a:lnTo>
                  <a:lnTo>
                    <a:pt x="887164" y="695983"/>
                  </a:lnTo>
                  <a:cubicBezTo>
                    <a:pt x="869575" y="667671"/>
                    <a:pt x="870577" y="655594"/>
                    <a:pt x="892625" y="631441"/>
                  </a:cubicBezTo>
                  <a:cubicBezTo>
                    <a:pt x="893828" y="630088"/>
                    <a:pt x="895131" y="628836"/>
                    <a:pt x="896434" y="627583"/>
                  </a:cubicBezTo>
                  <a:cubicBezTo>
                    <a:pt x="897988" y="626080"/>
                    <a:pt x="899491" y="624626"/>
                    <a:pt x="900793" y="623073"/>
                  </a:cubicBezTo>
                  <a:cubicBezTo>
                    <a:pt x="901746" y="621970"/>
                    <a:pt x="902748" y="620918"/>
                    <a:pt x="903750" y="619816"/>
                  </a:cubicBezTo>
                  <a:cubicBezTo>
                    <a:pt x="906406" y="616959"/>
                    <a:pt x="909162" y="614003"/>
                    <a:pt x="910014" y="610996"/>
                  </a:cubicBezTo>
                  <a:cubicBezTo>
                    <a:pt x="914073" y="596865"/>
                    <a:pt x="924996" y="590952"/>
                    <a:pt x="935570" y="585240"/>
                  </a:cubicBezTo>
                  <a:cubicBezTo>
                    <a:pt x="957167" y="573564"/>
                    <a:pt x="974906" y="563743"/>
                    <a:pt x="991293" y="554272"/>
                  </a:cubicBezTo>
                  <a:cubicBezTo>
                    <a:pt x="993547" y="552969"/>
                    <a:pt x="995451" y="550864"/>
                    <a:pt x="997255" y="548760"/>
                  </a:cubicBezTo>
                  <a:cubicBezTo>
                    <a:pt x="997706" y="548258"/>
                    <a:pt x="998107" y="547808"/>
                    <a:pt x="998508" y="547356"/>
                  </a:cubicBezTo>
                  <a:cubicBezTo>
                    <a:pt x="994199" y="535079"/>
                    <a:pt x="985480" y="526310"/>
                    <a:pt x="976961" y="517792"/>
                  </a:cubicBezTo>
                  <a:cubicBezTo>
                    <a:pt x="970447" y="511277"/>
                    <a:pt x="963732" y="504563"/>
                    <a:pt x="959172" y="496294"/>
                  </a:cubicBezTo>
                  <a:lnTo>
                    <a:pt x="958621" y="495292"/>
                  </a:lnTo>
                  <a:close/>
                  <a:moveTo>
                    <a:pt x="331893" y="1112598"/>
                  </a:moveTo>
                  <a:cubicBezTo>
                    <a:pt x="330290" y="1113651"/>
                    <a:pt x="328837" y="1114603"/>
                    <a:pt x="327433" y="1115505"/>
                  </a:cubicBezTo>
                  <a:cubicBezTo>
                    <a:pt x="326732" y="1115956"/>
                    <a:pt x="326081" y="1116357"/>
                    <a:pt x="325430" y="1116808"/>
                  </a:cubicBezTo>
                  <a:cubicBezTo>
                    <a:pt x="324678" y="1117309"/>
                    <a:pt x="323926" y="1117760"/>
                    <a:pt x="323224" y="1118211"/>
                  </a:cubicBezTo>
                  <a:cubicBezTo>
                    <a:pt x="322573" y="1118612"/>
                    <a:pt x="321972" y="1119013"/>
                    <a:pt x="321320" y="1119414"/>
                  </a:cubicBezTo>
                  <a:cubicBezTo>
                    <a:pt x="320719" y="1119764"/>
                    <a:pt x="320168" y="1120165"/>
                    <a:pt x="319566" y="1120516"/>
                  </a:cubicBezTo>
                  <a:lnTo>
                    <a:pt x="329288" y="1123573"/>
                  </a:lnTo>
                  <a:lnTo>
                    <a:pt x="315808" y="1123923"/>
                  </a:lnTo>
                  <a:lnTo>
                    <a:pt x="315407" y="1125878"/>
                  </a:lnTo>
                  <a:lnTo>
                    <a:pt x="314105" y="1125026"/>
                  </a:lnTo>
                  <a:lnTo>
                    <a:pt x="314105" y="1125026"/>
                  </a:lnTo>
                  <a:cubicBezTo>
                    <a:pt x="314105" y="1125026"/>
                    <a:pt x="313252" y="1124525"/>
                    <a:pt x="313252" y="1124525"/>
                  </a:cubicBezTo>
                  <a:lnTo>
                    <a:pt x="309895" y="1126629"/>
                  </a:lnTo>
                  <a:lnTo>
                    <a:pt x="310346" y="1124274"/>
                  </a:lnTo>
                  <a:cubicBezTo>
                    <a:pt x="310346" y="1124274"/>
                    <a:pt x="309945" y="1124274"/>
                    <a:pt x="309745" y="1124324"/>
                  </a:cubicBezTo>
                  <a:cubicBezTo>
                    <a:pt x="309094" y="1124425"/>
                    <a:pt x="308492" y="1124575"/>
                    <a:pt x="307841" y="1124675"/>
                  </a:cubicBezTo>
                  <a:cubicBezTo>
                    <a:pt x="307440" y="1124775"/>
                    <a:pt x="307089" y="1124825"/>
                    <a:pt x="306688" y="1124926"/>
                  </a:cubicBezTo>
                  <a:cubicBezTo>
                    <a:pt x="305987" y="1125126"/>
                    <a:pt x="305285" y="1125327"/>
                    <a:pt x="304584" y="1125527"/>
                  </a:cubicBezTo>
                  <a:cubicBezTo>
                    <a:pt x="304333" y="1125627"/>
                    <a:pt x="304032" y="1125677"/>
                    <a:pt x="303782" y="1125777"/>
                  </a:cubicBezTo>
                  <a:cubicBezTo>
                    <a:pt x="302830" y="1126078"/>
                    <a:pt x="301877" y="1126479"/>
                    <a:pt x="300926" y="1126880"/>
                  </a:cubicBezTo>
                  <a:cubicBezTo>
                    <a:pt x="300625" y="1126980"/>
                    <a:pt x="300324" y="1127130"/>
                    <a:pt x="300074" y="1127281"/>
                  </a:cubicBezTo>
                  <a:cubicBezTo>
                    <a:pt x="299422" y="1127582"/>
                    <a:pt x="298771" y="1127832"/>
                    <a:pt x="298119" y="1128183"/>
                  </a:cubicBezTo>
                  <a:cubicBezTo>
                    <a:pt x="297769" y="1128333"/>
                    <a:pt x="297418" y="1128534"/>
                    <a:pt x="297017" y="1128734"/>
                  </a:cubicBezTo>
                  <a:cubicBezTo>
                    <a:pt x="296466" y="1129035"/>
                    <a:pt x="295864" y="1129285"/>
                    <a:pt x="295313" y="1129586"/>
                  </a:cubicBezTo>
                  <a:cubicBezTo>
                    <a:pt x="294962" y="1129786"/>
                    <a:pt x="294562" y="1129987"/>
                    <a:pt x="294211" y="1130187"/>
                  </a:cubicBezTo>
                  <a:cubicBezTo>
                    <a:pt x="293810" y="1130388"/>
                    <a:pt x="293459" y="1130588"/>
                    <a:pt x="293058" y="1130788"/>
                  </a:cubicBezTo>
                  <a:lnTo>
                    <a:pt x="302429" y="1135449"/>
                  </a:lnTo>
                  <a:lnTo>
                    <a:pt x="295012" y="1134547"/>
                  </a:lnTo>
                  <a:lnTo>
                    <a:pt x="301176" y="1140610"/>
                  </a:lnTo>
                  <a:lnTo>
                    <a:pt x="289250" y="1134797"/>
                  </a:lnTo>
                  <a:lnTo>
                    <a:pt x="288849" y="1135699"/>
                  </a:lnTo>
                  <a:lnTo>
                    <a:pt x="287747" y="1134847"/>
                  </a:lnTo>
                  <a:lnTo>
                    <a:pt x="287747" y="1134847"/>
                  </a:lnTo>
                  <a:cubicBezTo>
                    <a:pt x="287747" y="1134847"/>
                    <a:pt x="287345" y="1134547"/>
                    <a:pt x="287345" y="1134547"/>
                  </a:cubicBezTo>
                  <a:lnTo>
                    <a:pt x="286995" y="1134296"/>
                  </a:lnTo>
                  <a:lnTo>
                    <a:pt x="282134" y="1137052"/>
                  </a:lnTo>
                  <a:lnTo>
                    <a:pt x="283988" y="1133194"/>
                  </a:lnTo>
                  <a:cubicBezTo>
                    <a:pt x="283036" y="1133094"/>
                    <a:pt x="282084" y="1132943"/>
                    <a:pt x="281182" y="1132843"/>
                  </a:cubicBezTo>
                  <a:lnTo>
                    <a:pt x="273415" y="1131891"/>
                  </a:lnTo>
                  <a:lnTo>
                    <a:pt x="277825" y="1129235"/>
                  </a:lnTo>
                  <a:lnTo>
                    <a:pt x="271411" y="1126128"/>
                  </a:lnTo>
                  <a:lnTo>
                    <a:pt x="279729" y="1127231"/>
                  </a:lnTo>
                  <a:lnTo>
                    <a:pt x="273365" y="1121117"/>
                  </a:lnTo>
                  <a:lnTo>
                    <a:pt x="286695" y="1127732"/>
                  </a:lnTo>
                  <a:cubicBezTo>
                    <a:pt x="286945" y="1127281"/>
                    <a:pt x="287246" y="1126930"/>
                    <a:pt x="287496" y="1126529"/>
                  </a:cubicBezTo>
                  <a:cubicBezTo>
                    <a:pt x="287797" y="1126028"/>
                    <a:pt x="288097" y="1125577"/>
                    <a:pt x="288448" y="1125126"/>
                  </a:cubicBezTo>
                  <a:cubicBezTo>
                    <a:pt x="288899" y="1124525"/>
                    <a:pt x="289400" y="1123923"/>
                    <a:pt x="289901" y="1123372"/>
                  </a:cubicBezTo>
                  <a:cubicBezTo>
                    <a:pt x="290252" y="1122971"/>
                    <a:pt x="290603" y="1122571"/>
                    <a:pt x="290954" y="1122220"/>
                  </a:cubicBezTo>
                  <a:cubicBezTo>
                    <a:pt x="291505" y="1121668"/>
                    <a:pt x="292106" y="1121268"/>
                    <a:pt x="292707" y="1120817"/>
                  </a:cubicBezTo>
                  <a:cubicBezTo>
                    <a:pt x="293058" y="1120566"/>
                    <a:pt x="293409" y="1120215"/>
                    <a:pt x="293760" y="1120015"/>
                  </a:cubicBezTo>
                  <a:cubicBezTo>
                    <a:pt x="294712" y="1119414"/>
                    <a:pt x="295764" y="1118862"/>
                    <a:pt x="296866" y="1118461"/>
                  </a:cubicBezTo>
                  <a:cubicBezTo>
                    <a:pt x="297218" y="1118311"/>
                    <a:pt x="297618" y="1118261"/>
                    <a:pt x="297969" y="1118161"/>
                  </a:cubicBezTo>
                  <a:cubicBezTo>
                    <a:pt x="298771" y="1117910"/>
                    <a:pt x="299522" y="1117710"/>
                    <a:pt x="300374" y="1117560"/>
                  </a:cubicBezTo>
                  <a:cubicBezTo>
                    <a:pt x="300875" y="1117459"/>
                    <a:pt x="301376" y="1117459"/>
                    <a:pt x="301877" y="1117409"/>
                  </a:cubicBezTo>
                  <a:cubicBezTo>
                    <a:pt x="302629" y="1117359"/>
                    <a:pt x="303431" y="1117259"/>
                    <a:pt x="304233" y="1117259"/>
                  </a:cubicBezTo>
                  <a:cubicBezTo>
                    <a:pt x="304784" y="1117259"/>
                    <a:pt x="305385" y="1117309"/>
                    <a:pt x="305937" y="1117359"/>
                  </a:cubicBezTo>
                  <a:cubicBezTo>
                    <a:pt x="306739" y="1117409"/>
                    <a:pt x="307590" y="1117509"/>
                    <a:pt x="308442" y="1117609"/>
                  </a:cubicBezTo>
                  <a:cubicBezTo>
                    <a:pt x="309043" y="1117710"/>
                    <a:pt x="309695" y="1117860"/>
                    <a:pt x="310296" y="1117960"/>
                  </a:cubicBezTo>
                  <a:cubicBezTo>
                    <a:pt x="310747" y="1118061"/>
                    <a:pt x="311198" y="1118111"/>
                    <a:pt x="311699" y="1118211"/>
                  </a:cubicBezTo>
                  <a:cubicBezTo>
                    <a:pt x="311750" y="1118010"/>
                    <a:pt x="311849" y="1117860"/>
                    <a:pt x="311950" y="1117660"/>
                  </a:cubicBezTo>
                  <a:cubicBezTo>
                    <a:pt x="312100" y="1117209"/>
                    <a:pt x="312301" y="1116808"/>
                    <a:pt x="312551" y="1116357"/>
                  </a:cubicBezTo>
                  <a:cubicBezTo>
                    <a:pt x="312802" y="1115806"/>
                    <a:pt x="313102" y="1115305"/>
                    <a:pt x="313403" y="1114803"/>
                  </a:cubicBezTo>
                  <a:cubicBezTo>
                    <a:pt x="313653" y="1114453"/>
                    <a:pt x="313904" y="1114102"/>
                    <a:pt x="314155" y="1113751"/>
                  </a:cubicBezTo>
                  <a:cubicBezTo>
                    <a:pt x="314505" y="1113350"/>
                    <a:pt x="314856" y="1112899"/>
                    <a:pt x="315257" y="1112549"/>
                  </a:cubicBezTo>
                  <a:cubicBezTo>
                    <a:pt x="315557" y="1112248"/>
                    <a:pt x="315858" y="1111997"/>
                    <a:pt x="316209" y="1111747"/>
                  </a:cubicBezTo>
                  <a:cubicBezTo>
                    <a:pt x="316610" y="1111446"/>
                    <a:pt x="317061" y="1111145"/>
                    <a:pt x="317512" y="1110845"/>
                  </a:cubicBezTo>
                  <a:cubicBezTo>
                    <a:pt x="317863" y="1110644"/>
                    <a:pt x="318213" y="1110394"/>
                    <a:pt x="318564" y="1110243"/>
                  </a:cubicBezTo>
                  <a:cubicBezTo>
                    <a:pt x="319065" y="1109993"/>
                    <a:pt x="319566" y="1109792"/>
                    <a:pt x="320067" y="1109592"/>
                  </a:cubicBezTo>
                  <a:cubicBezTo>
                    <a:pt x="320469" y="1109442"/>
                    <a:pt x="320819" y="1109291"/>
                    <a:pt x="321220" y="1109141"/>
                  </a:cubicBezTo>
                  <a:cubicBezTo>
                    <a:pt x="321772" y="1108940"/>
                    <a:pt x="322373" y="1108840"/>
                    <a:pt x="322924" y="1108690"/>
                  </a:cubicBezTo>
                  <a:cubicBezTo>
                    <a:pt x="323325" y="1108590"/>
                    <a:pt x="323675" y="1108490"/>
                    <a:pt x="324076" y="1108439"/>
                  </a:cubicBezTo>
                  <a:cubicBezTo>
                    <a:pt x="324728" y="1108339"/>
                    <a:pt x="325430" y="1108239"/>
                    <a:pt x="326081" y="1108139"/>
                  </a:cubicBezTo>
                  <a:cubicBezTo>
                    <a:pt x="326431" y="1108139"/>
                    <a:pt x="326783" y="1108039"/>
                    <a:pt x="327083" y="1107988"/>
                  </a:cubicBezTo>
                  <a:cubicBezTo>
                    <a:pt x="328135" y="1107888"/>
                    <a:pt x="329138" y="1107788"/>
                    <a:pt x="330190" y="1107738"/>
                  </a:cubicBezTo>
                  <a:lnTo>
                    <a:pt x="340212" y="1107187"/>
                  </a:lnTo>
                  <a:lnTo>
                    <a:pt x="331843" y="1112649"/>
                  </a:lnTo>
                  <a:close/>
                  <a:moveTo>
                    <a:pt x="359805" y="1115555"/>
                  </a:moveTo>
                  <a:lnTo>
                    <a:pt x="331893" y="1100772"/>
                  </a:lnTo>
                  <a:lnTo>
                    <a:pt x="338508" y="1099019"/>
                  </a:lnTo>
                  <a:cubicBezTo>
                    <a:pt x="350083" y="1095912"/>
                    <a:pt x="355946" y="1100071"/>
                    <a:pt x="360656" y="1103378"/>
                  </a:cubicBezTo>
                  <a:cubicBezTo>
                    <a:pt x="361308" y="1103829"/>
                    <a:pt x="361909" y="1104280"/>
                    <a:pt x="362561" y="1104681"/>
                  </a:cubicBezTo>
                  <a:lnTo>
                    <a:pt x="364565" y="1105984"/>
                  </a:lnTo>
                  <a:lnTo>
                    <a:pt x="359805" y="1115555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20" name="Полилиния: фигура 119">
              <a:extLst>
                <a:ext uri="{FF2B5EF4-FFF2-40B4-BE49-F238E27FC236}">
                  <a16:creationId xmlns:a16="http://schemas.microsoft.com/office/drawing/2014/main" id="{B187B62F-16E8-49D3-A22B-211E044B494F}"/>
                </a:ext>
              </a:extLst>
            </p:cNvPr>
            <p:cNvSpPr/>
            <p:nvPr/>
          </p:nvSpPr>
          <p:spPr>
            <a:xfrm>
              <a:off x="7729905" y="6071331"/>
              <a:ext cx="11435" cy="5936"/>
            </a:xfrm>
            <a:custGeom>
              <a:avLst/>
              <a:gdLst>
                <a:gd name="connsiteX0" fmla="*/ 9170 w 9169"/>
                <a:gd name="connsiteY0" fmla="*/ 4360 h 4760"/>
                <a:gd name="connsiteX1" fmla="*/ 9120 w 9169"/>
                <a:gd name="connsiteY1" fmla="*/ 4360 h 4760"/>
                <a:gd name="connsiteX2" fmla="*/ 0 w 9169"/>
                <a:gd name="connsiteY2" fmla="*/ 0 h 4760"/>
                <a:gd name="connsiteX3" fmla="*/ 8970 w 9169"/>
                <a:gd name="connsiteY3" fmla="*/ 4760 h 4760"/>
                <a:gd name="connsiteX4" fmla="*/ 9170 w 9169"/>
                <a:gd name="connsiteY4" fmla="*/ 4360 h 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9" h="4760">
                  <a:moveTo>
                    <a:pt x="9170" y="4360"/>
                  </a:moveTo>
                  <a:lnTo>
                    <a:pt x="9120" y="4360"/>
                  </a:lnTo>
                  <a:cubicBezTo>
                    <a:pt x="6414" y="2405"/>
                    <a:pt x="3758" y="551"/>
                    <a:pt x="0" y="0"/>
                  </a:cubicBezTo>
                  <a:lnTo>
                    <a:pt x="8970" y="4760"/>
                  </a:lnTo>
                  <a:lnTo>
                    <a:pt x="9170" y="436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21" name="Полилиния: фигура 120">
              <a:extLst>
                <a:ext uri="{FF2B5EF4-FFF2-40B4-BE49-F238E27FC236}">
                  <a16:creationId xmlns:a16="http://schemas.microsoft.com/office/drawing/2014/main" id="{26122639-5779-41B6-B7EF-AA33DA7A6C32}"/>
                </a:ext>
              </a:extLst>
            </p:cNvPr>
            <p:cNvSpPr/>
            <p:nvPr/>
          </p:nvSpPr>
          <p:spPr>
            <a:xfrm>
              <a:off x="8274761" y="4822900"/>
              <a:ext cx="1415743" cy="1026012"/>
            </a:xfrm>
            <a:custGeom>
              <a:avLst/>
              <a:gdLst>
                <a:gd name="connsiteX0" fmla="*/ 1014197 w 1135208"/>
                <a:gd name="connsiteY0" fmla="*/ 759368 h 822704"/>
                <a:gd name="connsiteX1" fmla="*/ 1010639 w 1135208"/>
                <a:gd name="connsiteY1" fmla="*/ 738823 h 822704"/>
                <a:gd name="connsiteX2" fmla="*/ 1005277 w 1135208"/>
                <a:gd name="connsiteY2" fmla="*/ 700690 h 822704"/>
                <a:gd name="connsiteX3" fmla="*/ 1004927 w 1135208"/>
                <a:gd name="connsiteY3" fmla="*/ 665412 h 822704"/>
                <a:gd name="connsiteX4" fmla="*/ 993151 w 1135208"/>
                <a:gd name="connsiteY4" fmla="*/ 653035 h 822704"/>
                <a:gd name="connsiteX5" fmla="*/ 976514 w 1135208"/>
                <a:gd name="connsiteY5" fmla="*/ 642662 h 822704"/>
                <a:gd name="connsiteX6" fmla="*/ 974810 w 1135208"/>
                <a:gd name="connsiteY6" fmla="*/ 640507 h 822704"/>
                <a:gd name="connsiteX7" fmla="*/ 953614 w 1135208"/>
                <a:gd name="connsiteY7" fmla="*/ 642562 h 822704"/>
                <a:gd name="connsiteX8" fmla="*/ 947650 w 1135208"/>
                <a:gd name="connsiteY8" fmla="*/ 629433 h 822704"/>
                <a:gd name="connsiteX9" fmla="*/ 932267 w 1135208"/>
                <a:gd name="connsiteY9" fmla="*/ 634745 h 822704"/>
                <a:gd name="connsiteX10" fmla="*/ 931716 w 1135208"/>
                <a:gd name="connsiteY10" fmla="*/ 631638 h 822704"/>
                <a:gd name="connsiteX11" fmla="*/ 930463 w 1135208"/>
                <a:gd name="connsiteY11" fmla="*/ 606382 h 822704"/>
                <a:gd name="connsiteX12" fmla="*/ 930212 w 1135208"/>
                <a:gd name="connsiteY12" fmla="*/ 590598 h 822704"/>
                <a:gd name="connsiteX13" fmla="*/ 940936 w 1135208"/>
                <a:gd name="connsiteY13" fmla="*/ 538834 h 822704"/>
                <a:gd name="connsiteX14" fmla="*/ 941638 w 1135208"/>
                <a:gd name="connsiteY14" fmla="*/ 499147 h 822704"/>
                <a:gd name="connsiteX15" fmla="*/ 941487 w 1135208"/>
                <a:gd name="connsiteY15" fmla="*/ 494035 h 822704"/>
                <a:gd name="connsiteX16" fmla="*/ 941989 w 1135208"/>
                <a:gd name="connsiteY16" fmla="*/ 491279 h 822704"/>
                <a:gd name="connsiteX17" fmla="*/ 942138 w 1135208"/>
                <a:gd name="connsiteY17" fmla="*/ 490077 h 822704"/>
                <a:gd name="connsiteX18" fmla="*/ 999114 w 1135208"/>
                <a:gd name="connsiteY18" fmla="*/ 450791 h 822704"/>
                <a:gd name="connsiteX19" fmla="*/ 1013295 w 1135208"/>
                <a:gd name="connsiteY19" fmla="*/ 409400 h 822704"/>
                <a:gd name="connsiteX20" fmla="*/ 1026223 w 1135208"/>
                <a:gd name="connsiteY20" fmla="*/ 400681 h 822704"/>
                <a:gd name="connsiteX21" fmla="*/ 1029581 w 1135208"/>
                <a:gd name="connsiteY21" fmla="*/ 398776 h 822704"/>
                <a:gd name="connsiteX22" fmla="*/ 1046017 w 1135208"/>
                <a:gd name="connsiteY22" fmla="*/ 389706 h 822704"/>
                <a:gd name="connsiteX23" fmla="*/ 1049123 w 1135208"/>
                <a:gd name="connsiteY23" fmla="*/ 388003 h 822704"/>
                <a:gd name="connsiteX24" fmla="*/ 1045465 w 1135208"/>
                <a:gd name="connsiteY24" fmla="*/ 341701 h 822704"/>
                <a:gd name="connsiteX25" fmla="*/ 1043211 w 1135208"/>
                <a:gd name="connsiteY25" fmla="*/ 334735 h 822704"/>
                <a:gd name="connsiteX26" fmla="*/ 1042409 w 1135208"/>
                <a:gd name="connsiteY26" fmla="*/ 332180 h 822704"/>
                <a:gd name="connsiteX27" fmla="*/ 1044965 w 1135208"/>
                <a:gd name="connsiteY27" fmla="*/ 331378 h 822704"/>
                <a:gd name="connsiteX28" fmla="*/ 1050777 w 1135208"/>
                <a:gd name="connsiteY28" fmla="*/ 329474 h 822704"/>
                <a:gd name="connsiteX29" fmla="*/ 1061751 w 1135208"/>
                <a:gd name="connsiteY29" fmla="*/ 326117 h 822704"/>
                <a:gd name="connsiteX30" fmla="*/ 1123287 w 1135208"/>
                <a:gd name="connsiteY30" fmla="*/ 319252 h 822704"/>
                <a:gd name="connsiteX31" fmla="*/ 1132557 w 1135208"/>
                <a:gd name="connsiteY31" fmla="*/ 315944 h 822704"/>
                <a:gd name="connsiteX32" fmla="*/ 1135113 w 1135208"/>
                <a:gd name="connsiteY32" fmla="*/ 304920 h 822704"/>
                <a:gd name="connsiteX33" fmla="*/ 1135012 w 1135208"/>
                <a:gd name="connsiteY33" fmla="*/ 303968 h 822704"/>
                <a:gd name="connsiteX34" fmla="*/ 1133559 w 1135208"/>
                <a:gd name="connsiteY34" fmla="*/ 296852 h 822704"/>
                <a:gd name="connsiteX35" fmla="*/ 1125993 w 1135208"/>
                <a:gd name="connsiteY35" fmla="*/ 259721 h 822704"/>
                <a:gd name="connsiteX36" fmla="*/ 1125792 w 1135208"/>
                <a:gd name="connsiteY36" fmla="*/ 254259 h 822704"/>
                <a:gd name="connsiteX37" fmla="*/ 1120581 w 1135208"/>
                <a:gd name="connsiteY37" fmla="*/ 227500 h 822704"/>
                <a:gd name="connsiteX38" fmla="*/ 1105046 w 1135208"/>
                <a:gd name="connsiteY38" fmla="*/ 214922 h 822704"/>
                <a:gd name="connsiteX39" fmla="*/ 1088861 w 1135208"/>
                <a:gd name="connsiteY39" fmla="*/ 215373 h 822704"/>
                <a:gd name="connsiteX40" fmla="*/ 1039052 w 1135208"/>
                <a:gd name="connsiteY40" fmla="*/ 232561 h 822704"/>
                <a:gd name="connsiteX41" fmla="*/ 1035443 w 1135208"/>
                <a:gd name="connsiteY41" fmla="*/ 233262 h 822704"/>
                <a:gd name="connsiteX42" fmla="*/ 983229 w 1135208"/>
                <a:gd name="connsiteY42" fmla="*/ 279815 h 822704"/>
                <a:gd name="connsiteX43" fmla="*/ 958424 w 1135208"/>
                <a:gd name="connsiteY43" fmla="*/ 293495 h 822704"/>
                <a:gd name="connsiteX44" fmla="*/ 944494 w 1135208"/>
                <a:gd name="connsiteY44" fmla="*/ 301663 h 822704"/>
                <a:gd name="connsiteX45" fmla="*/ 932417 w 1135208"/>
                <a:gd name="connsiteY45" fmla="*/ 305872 h 822704"/>
                <a:gd name="connsiteX46" fmla="*/ 926053 w 1135208"/>
                <a:gd name="connsiteY46" fmla="*/ 306122 h 822704"/>
                <a:gd name="connsiteX47" fmla="*/ 895736 w 1135208"/>
                <a:gd name="connsiteY47" fmla="*/ 303617 h 822704"/>
                <a:gd name="connsiteX48" fmla="*/ 894885 w 1135208"/>
                <a:gd name="connsiteY48" fmla="*/ 303316 h 822704"/>
                <a:gd name="connsiteX49" fmla="*/ 889072 w 1135208"/>
                <a:gd name="connsiteY49" fmla="*/ 294898 h 822704"/>
                <a:gd name="connsiteX50" fmla="*/ 878399 w 1135208"/>
                <a:gd name="connsiteY50" fmla="*/ 279564 h 822704"/>
                <a:gd name="connsiteX51" fmla="*/ 839613 w 1135208"/>
                <a:gd name="connsiteY51" fmla="*/ 259069 h 822704"/>
                <a:gd name="connsiteX52" fmla="*/ 791959 w 1135208"/>
                <a:gd name="connsiteY52" fmla="*/ 246341 h 822704"/>
                <a:gd name="connsiteX53" fmla="*/ 790656 w 1135208"/>
                <a:gd name="connsiteY53" fmla="*/ 245590 h 822704"/>
                <a:gd name="connsiteX54" fmla="*/ 790656 w 1135208"/>
                <a:gd name="connsiteY54" fmla="*/ 244086 h 822704"/>
                <a:gd name="connsiteX55" fmla="*/ 790305 w 1135208"/>
                <a:gd name="connsiteY55" fmla="*/ 237121 h 822704"/>
                <a:gd name="connsiteX56" fmla="*/ 789453 w 1135208"/>
                <a:gd name="connsiteY56" fmla="*/ 221136 h 822704"/>
                <a:gd name="connsiteX57" fmla="*/ 804536 w 1135208"/>
                <a:gd name="connsiteY57" fmla="*/ 190970 h 822704"/>
                <a:gd name="connsiteX58" fmla="*/ 813255 w 1135208"/>
                <a:gd name="connsiteY58" fmla="*/ 184505 h 822704"/>
                <a:gd name="connsiteX59" fmla="*/ 817014 w 1135208"/>
                <a:gd name="connsiteY59" fmla="*/ 181348 h 822704"/>
                <a:gd name="connsiteX60" fmla="*/ 817265 w 1135208"/>
                <a:gd name="connsiteY60" fmla="*/ 171427 h 822704"/>
                <a:gd name="connsiteX61" fmla="*/ 817515 w 1135208"/>
                <a:gd name="connsiteY61" fmla="*/ 142964 h 822704"/>
                <a:gd name="connsiteX62" fmla="*/ 828739 w 1135208"/>
                <a:gd name="connsiteY62" fmla="*/ 115855 h 822704"/>
                <a:gd name="connsiteX63" fmla="*/ 854847 w 1135208"/>
                <a:gd name="connsiteY63" fmla="*/ 89948 h 822704"/>
                <a:gd name="connsiteX64" fmla="*/ 865521 w 1135208"/>
                <a:gd name="connsiteY64" fmla="*/ 79174 h 822704"/>
                <a:gd name="connsiteX65" fmla="*/ 865971 w 1135208"/>
                <a:gd name="connsiteY65" fmla="*/ 78723 h 822704"/>
                <a:gd name="connsiteX66" fmla="*/ 873689 w 1135208"/>
                <a:gd name="connsiteY66" fmla="*/ 65193 h 822704"/>
                <a:gd name="connsiteX67" fmla="*/ 885364 w 1135208"/>
                <a:gd name="connsiteY67" fmla="*/ 40589 h 822704"/>
                <a:gd name="connsiteX68" fmla="*/ 896488 w 1135208"/>
                <a:gd name="connsiteY68" fmla="*/ 19042 h 822704"/>
                <a:gd name="connsiteX69" fmla="*/ 892680 w 1135208"/>
                <a:gd name="connsiteY69" fmla="*/ 16687 h 822704"/>
                <a:gd name="connsiteX70" fmla="*/ 882157 w 1135208"/>
                <a:gd name="connsiteY70" fmla="*/ 10172 h 822704"/>
                <a:gd name="connsiteX71" fmla="*/ 868928 w 1135208"/>
                <a:gd name="connsiteY71" fmla="*/ 1804 h 822704"/>
                <a:gd name="connsiteX72" fmla="*/ 866072 w 1135208"/>
                <a:gd name="connsiteY72" fmla="*/ 0 h 822704"/>
                <a:gd name="connsiteX73" fmla="*/ 857452 w 1135208"/>
                <a:gd name="connsiteY73" fmla="*/ 4961 h 822704"/>
                <a:gd name="connsiteX74" fmla="*/ 813807 w 1135208"/>
                <a:gd name="connsiteY74" fmla="*/ 10824 h 822704"/>
                <a:gd name="connsiteX75" fmla="*/ 807493 w 1135208"/>
                <a:gd name="connsiteY75" fmla="*/ 14632 h 822704"/>
                <a:gd name="connsiteX76" fmla="*/ 790255 w 1135208"/>
                <a:gd name="connsiteY76" fmla="*/ 22499 h 822704"/>
                <a:gd name="connsiteX77" fmla="*/ 770010 w 1135208"/>
                <a:gd name="connsiteY77" fmla="*/ 20595 h 822704"/>
                <a:gd name="connsiteX78" fmla="*/ 761742 w 1135208"/>
                <a:gd name="connsiteY78" fmla="*/ 19042 h 822704"/>
                <a:gd name="connsiteX79" fmla="*/ 760640 w 1135208"/>
                <a:gd name="connsiteY79" fmla="*/ 18791 h 822704"/>
                <a:gd name="connsiteX80" fmla="*/ 760139 w 1135208"/>
                <a:gd name="connsiteY80" fmla="*/ 18691 h 822704"/>
                <a:gd name="connsiteX81" fmla="*/ 756029 w 1135208"/>
                <a:gd name="connsiteY81" fmla="*/ 19493 h 822704"/>
                <a:gd name="connsiteX82" fmla="*/ 748964 w 1135208"/>
                <a:gd name="connsiteY82" fmla="*/ 21748 h 822704"/>
                <a:gd name="connsiteX83" fmla="*/ 714990 w 1135208"/>
                <a:gd name="connsiteY83" fmla="*/ 34877 h 822704"/>
                <a:gd name="connsiteX84" fmla="*/ 702813 w 1135208"/>
                <a:gd name="connsiteY84" fmla="*/ 42142 h 822704"/>
                <a:gd name="connsiteX85" fmla="*/ 687228 w 1135208"/>
                <a:gd name="connsiteY85" fmla="*/ 58028 h 822704"/>
                <a:gd name="connsiteX86" fmla="*/ 664930 w 1135208"/>
                <a:gd name="connsiteY86" fmla="*/ 79926 h 822704"/>
                <a:gd name="connsiteX87" fmla="*/ 630955 w 1135208"/>
                <a:gd name="connsiteY87" fmla="*/ 94909 h 822704"/>
                <a:gd name="connsiteX88" fmla="*/ 625092 w 1135208"/>
                <a:gd name="connsiteY88" fmla="*/ 93004 h 822704"/>
                <a:gd name="connsiteX89" fmla="*/ 617476 w 1135208"/>
                <a:gd name="connsiteY89" fmla="*/ 90549 h 822704"/>
                <a:gd name="connsiteX90" fmla="*/ 612915 w 1135208"/>
                <a:gd name="connsiteY90" fmla="*/ 89046 h 822704"/>
                <a:gd name="connsiteX91" fmla="*/ 602542 w 1135208"/>
                <a:gd name="connsiteY91" fmla="*/ 86791 h 822704"/>
                <a:gd name="connsiteX92" fmla="*/ 573128 w 1135208"/>
                <a:gd name="connsiteY92" fmla="*/ 91000 h 822704"/>
                <a:gd name="connsiteX93" fmla="*/ 562956 w 1135208"/>
                <a:gd name="connsiteY93" fmla="*/ 92654 h 822704"/>
                <a:gd name="connsiteX94" fmla="*/ 561553 w 1135208"/>
                <a:gd name="connsiteY94" fmla="*/ 96763 h 822704"/>
                <a:gd name="connsiteX95" fmla="*/ 544966 w 1135208"/>
                <a:gd name="connsiteY95" fmla="*/ 118160 h 822704"/>
                <a:gd name="connsiteX96" fmla="*/ 543914 w 1135208"/>
                <a:gd name="connsiteY96" fmla="*/ 118560 h 822704"/>
                <a:gd name="connsiteX97" fmla="*/ 542912 w 1135208"/>
                <a:gd name="connsiteY97" fmla="*/ 118110 h 822704"/>
                <a:gd name="connsiteX98" fmla="*/ 539905 w 1135208"/>
                <a:gd name="connsiteY98" fmla="*/ 116907 h 822704"/>
                <a:gd name="connsiteX99" fmla="*/ 532488 w 1135208"/>
                <a:gd name="connsiteY99" fmla="*/ 113549 h 822704"/>
                <a:gd name="connsiteX100" fmla="*/ 508486 w 1135208"/>
                <a:gd name="connsiteY100" fmla="*/ 114602 h 822704"/>
                <a:gd name="connsiteX101" fmla="*/ 482378 w 1135208"/>
                <a:gd name="connsiteY101" fmla="*/ 130687 h 822704"/>
                <a:gd name="connsiteX102" fmla="*/ 436828 w 1135208"/>
                <a:gd name="connsiteY102" fmla="*/ 133644 h 822704"/>
                <a:gd name="connsiteX103" fmla="*/ 395688 w 1135208"/>
                <a:gd name="connsiteY103" fmla="*/ 131739 h 822704"/>
                <a:gd name="connsiteX104" fmla="*/ 359508 w 1135208"/>
                <a:gd name="connsiteY104" fmla="*/ 134546 h 822704"/>
                <a:gd name="connsiteX105" fmla="*/ 342471 w 1135208"/>
                <a:gd name="connsiteY105" fmla="*/ 130888 h 822704"/>
                <a:gd name="connsiteX106" fmla="*/ 308597 w 1135208"/>
                <a:gd name="connsiteY106" fmla="*/ 110593 h 822704"/>
                <a:gd name="connsiteX107" fmla="*/ 301330 w 1135208"/>
                <a:gd name="connsiteY107" fmla="*/ 103327 h 822704"/>
                <a:gd name="connsiteX108" fmla="*/ 299878 w 1135208"/>
                <a:gd name="connsiteY108" fmla="*/ 101824 h 822704"/>
                <a:gd name="connsiteX109" fmla="*/ 273319 w 1135208"/>
                <a:gd name="connsiteY109" fmla="*/ 87041 h 822704"/>
                <a:gd name="connsiteX110" fmla="*/ 208326 w 1135208"/>
                <a:gd name="connsiteY110" fmla="*/ 81028 h 822704"/>
                <a:gd name="connsiteX111" fmla="*/ 173550 w 1135208"/>
                <a:gd name="connsiteY111" fmla="*/ 70605 h 822704"/>
                <a:gd name="connsiteX112" fmla="*/ 149246 w 1135208"/>
                <a:gd name="connsiteY112" fmla="*/ 62537 h 822704"/>
                <a:gd name="connsiteX113" fmla="*/ 89415 w 1135208"/>
                <a:gd name="connsiteY113" fmla="*/ 46452 h 822704"/>
                <a:gd name="connsiteX114" fmla="*/ 74933 w 1135208"/>
                <a:gd name="connsiteY114" fmla="*/ 39437 h 822704"/>
                <a:gd name="connsiteX115" fmla="*/ 62656 w 1135208"/>
                <a:gd name="connsiteY115" fmla="*/ 36881 h 822704"/>
                <a:gd name="connsiteX116" fmla="*/ 1321 w 1135208"/>
                <a:gd name="connsiteY116" fmla="*/ 61535 h 822704"/>
                <a:gd name="connsiteX117" fmla="*/ 7736 w 1135208"/>
                <a:gd name="connsiteY117" fmla="*/ 89547 h 822704"/>
                <a:gd name="connsiteX118" fmla="*/ 15302 w 1135208"/>
                <a:gd name="connsiteY118" fmla="*/ 103327 h 822704"/>
                <a:gd name="connsiteX119" fmla="*/ 37701 w 1135208"/>
                <a:gd name="connsiteY119" fmla="*/ 124674 h 822704"/>
                <a:gd name="connsiteX120" fmla="*/ 55591 w 1135208"/>
                <a:gd name="connsiteY120" fmla="*/ 130888 h 822704"/>
                <a:gd name="connsiteX121" fmla="*/ 56643 w 1135208"/>
                <a:gd name="connsiteY121" fmla="*/ 131238 h 822704"/>
                <a:gd name="connsiteX122" fmla="*/ 64911 w 1135208"/>
                <a:gd name="connsiteY122" fmla="*/ 141461 h 822704"/>
                <a:gd name="connsiteX123" fmla="*/ 64911 w 1135208"/>
                <a:gd name="connsiteY123" fmla="*/ 142513 h 822704"/>
                <a:gd name="connsiteX124" fmla="*/ 64109 w 1135208"/>
                <a:gd name="connsiteY124" fmla="*/ 143265 h 822704"/>
                <a:gd name="connsiteX125" fmla="*/ 51131 w 1135208"/>
                <a:gd name="connsiteY125" fmla="*/ 151232 h 822704"/>
                <a:gd name="connsiteX126" fmla="*/ 38754 w 1135208"/>
                <a:gd name="connsiteY126" fmla="*/ 159100 h 822704"/>
                <a:gd name="connsiteX127" fmla="*/ 49828 w 1135208"/>
                <a:gd name="connsiteY127" fmla="*/ 173581 h 822704"/>
                <a:gd name="connsiteX128" fmla="*/ 104799 w 1135208"/>
                <a:gd name="connsiteY128" fmla="*/ 151433 h 822704"/>
                <a:gd name="connsiteX129" fmla="*/ 106001 w 1135208"/>
                <a:gd name="connsiteY129" fmla="*/ 151232 h 822704"/>
                <a:gd name="connsiteX130" fmla="*/ 106954 w 1135208"/>
                <a:gd name="connsiteY130" fmla="*/ 151984 h 822704"/>
                <a:gd name="connsiteX131" fmla="*/ 132359 w 1135208"/>
                <a:gd name="connsiteY131" fmla="*/ 189366 h 822704"/>
                <a:gd name="connsiteX132" fmla="*/ 140227 w 1135208"/>
                <a:gd name="connsiteY132" fmla="*/ 205101 h 822704"/>
                <a:gd name="connsiteX133" fmla="*/ 163278 w 1135208"/>
                <a:gd name="connsiteY133" fmla="*/ 197283 h 822704"/>
                <a:gd name="connsiteX134" fmla="*/ 164430 w 1135208"/>
                <a:gd name="connsiteY134" fmla="*/ 198837 h 822704"/>
                <a:gd name="connsiteX135" fmla="*/ 176657 w 1135208"/>
                <a:gd name="connsiteY135" fmla="*/ 223541 h 822704"/>
                <a:gd name="connsiteX136" fmla="*/ 181918 w 1135208"/>
                <a:gd name="connsiteY136" fmla="*/ 236319 h 822704"/>
                <a:gd name="connsiteX137" fmla="*/ 181668 w 1135208"/>
                <a:gd name="connsiteY137" fmla="*/ 267989 h 822704"/>
                <a:gd name="connsiteX138" fmla="*/ 179212 w 1135208"/>
                <a:gd name="connsiteY138" fmla="*/ 273451 h 822704"/>
                <a:gd name="connsiteX139" fmla="*/ 171946 w 1135208"/>
                <a:gd name="connsiteY139" fmla="*/ 297403 h 822704"/>
                <a:gd name="connsiteX140" fmla="*/ 214741 w 1135208"/>
                <a:gd name="connsiteY140" fmla="*/ 324964 h 822704"/>
                <a:gd name="connsiteX141" fmla="*/ 216294 w 1135208"/>
                <a:gd name="connsiteY141" fmla="*/ 326718 h 822704"/>
                <a:gd name="connsiteX142" fmla="*/ 214741 w 1135208"/>
                <a:gd name="connsiteY142" fmla="*/ 328472 h 822704"/>
                <a:gd name="connsiteX143" fmla="*/ 210431 w 1135208"/>
                <a:gd name="connsiteY143" fmla="*/ 333282 h 822704"/>
                <a:gd name="connsiteX144" fmla="*/ 202063 w 1135208"/>
                <a:gd name="connsiteY144" fmla="*/ 343355 h 822704"/>
                <a:gd name="connsiteX145" fmla="*/ 197252 w 1135208"/>
                <a:gd name="connsiteY145" fmla="*/ 355030 h 822704"/>
                <a:gd name="connsiteX146" fmla="*/ 193493 w 1135208"/>
                <a:gd name="connsiteY146" fmla="*/ 380987 h 822704"/>
                <a:gd name="connsiteX147" fmla="*/ 192141 w 1135208"/>
                <a:gd name="connsiteY147" fmla="*/ 391159 h 822704"/>
                <a:gd name="connsiteX148" fmla="*/ 199557 w 1135208"/>
                <a:gd name="connsiteY148" fmla="*/ 400380 h 822704"/>
                <a:gd name="connsiteX149" fmla="*/ 227920 w 1135208"/>
                <a:gd name="connsiteY149" fmla="*/ 435256 h 822704"/>
                <a:gd name="connsiteX150" fmla="*/ 233732 w 1135208"/>
                <a:gd name="connsiteY150" fmla="*/ 439115 h 822704"/>
                <a:gd name="connsiteX151" fmla="*/ 240447 w 1135208"/>
                <a:gd name="connsiteY151" fmla="*/ 439566 h 822704"/>
                <a:gd name="connsiteX152" fmla="*/ 283341 w 1135208"/>
                <a:gd name="connsiteY152" fmla="*/ 434705 h 822704"/>
                <a:gd name="connsiteX153" fmla="*/ 315662 w 1135208"/>
                <a:gd name="connsiteY153" fmla="*/ 419872 h 822704"/>
                <a:gd name="connsiteX154" fmla="*/ 329944 w 1135208"/>
                <a:gd name="connsiteY154" fmla="*/ 413609 h 822704"/>
                <a:gd name="connsiteX155" fmla="*/ 331046 w 1135208"/>
                <a:gd name="connsiteY155" fmla="*/ 413108 h 822704"/>
                <a:gd name="connsiteX156" fmla="*/ 332148 w 1135208"/>
                <a:gd name="connsiteY156" fmla="*/ 413609 h 822704"/>
                <a:gd name="connsiteX157" fmla="*/ 338462 w 1135208"/>
                <a:gd name="connsiteY157" fmla="*/ 416415 h 822704"/>
                <a:gd name="connsiteX158" fmla="*/ 350489 w 1135208"/>
                <a:gd name="connsiteY158" fmla="*/ 422328 h 822704"/>
                <a:gd name="connsiteX159" fmla="*/ 375794 w 1135208"/>
                <a:gd name="connsiteY159" fmla="*/ 422729 h 822704"/>
                <a:gd name="connsiteX160" fmla="*/ 377298 w 1135208"/>
                <a:gd name="connsiteY160" fmla="*/ 421576 h 822704"/>
                <a:gd name="connsiteX161" fmla="*/ 378901 w 1135208"/>
                <a:gd name="connsiteY161" fmla="*/ 422579 h 822704"/>
                <a:gd name="connsiteX162" fmla="*/ 386718 w 1135208"/>
                <a:gd name="connsiteY162" fmla="*/ 427840 h 822704"/>
                <a:gd name="connsiteX163" fmla="*/ 403205 w 1135208"/>
                <a:gd name="connsiteY163" fmla="*/ 438062 h 822704"/>
                <a:gd name="connsiteX164" fmla="*/ 417887 w 1135208"/>
                <a:gd name="connsiteY164" fmla="*/ 443023 h 822704"/>
                <a:gd name="connsiteX165" fmla="*/ 423900 w 1135208"/>
                <a:gd name="connsiteY165" fmla="*/ 444677 h 822704"/>
                <a:gd name="connsiteX166" fmla="*/ 460180 w 1135208"/>
                <a:gd name="connsiteY166" fmla="*/ 440167 h 822704"/>
                <a:gd name="connsiteX167" fmla="*/ 477417 w 1135208"/>
                <a:gd name="connsiteY167" fmla="*/ 440317 h 822704"/>
                <a:gd name="connsiteX168" fmla="*/ 500618 w 1135208"/>
                <a:gd name="connsiteY168" fmla="*/ 450390 h 822704"/>
                <a:gd name="connsiteX169" fmla="*/ 530083 w 1135208"/>
                <a:gd name="connsiteY169" fmla="*/ 471336 h 822704"/>
                <a:gd name="connsiteX170" fmla="*/ 531637 w 1135208"/>
                <a:gd name="connsiteY170" fmla="*/ 471937 h 822704"/>
                <a:gd name="connsiteX171" fmla="*/ 531787 w 1135208"/>
                <a:gd name="connsiteY171" fmla="*/ 473591 h 822704"/>
                <a:gd name="connsiteX172" fmla="*/ 543112 w 1135208"/>
                <a:gd name="connsiteY172" fmla="*/ 492683 h 822704"/>
                <a:gd name="connsiteX173" fmla="*/ 549877 w 1135208"/>
                <a:gd name="connsiteY173" fmla="*/ 498746 h 822704"/>
                <a:gd name="connsiteX174" fmla="*/ 553735 w 1135208"/>
                <a:gd name="connsiteY174" fmla="*/ 502604 h 822704"/>
                <a:gd name="connsiteX175" fmla="*/ 575533 w 1135208"/>
                <a:gd name="connsiteY175" fmla="*/ 540037 h 822704"/>
                <a:gd name="connsiteX176" fmla="*/ 583250 w 1135208"/>
                <a:gd name="connsiteY176" fmla="*/ 560481 h 822704"/>
                <a:gd name="connsiteX177" fmla="*/ 596630 w 1135208"/>
                <a:gd name="connsiteY177" fmla="*/ 577519 h 822704"/>
                <a:gd name="connsiteX178" fmla="*/ 630604 w 1135208"/>
                <a:gd name="connsiteY178" fmla="*/ 610692 h 822704"/>
                <a:gd name="connsiteX179" fmla="*/ 635114 w 1135208"/>
                <a:gd name="connsiteY179" fmla="*/ 615352 h 822704"/>
                <a:gd name="connsiteX180" fmla="*/ 638071 w 1135208"/>
                <a:gd name="connsiteY180" fmla="*/ 622017 h 822704"/>
                <a:gd name="connsiteX181" fmla="*/ 645487 w 1135208"/>
                <a:gd name="connsiteY181" fmla="*/ 641760 h 822704"/>
                <a:gd name="connsiteX182" fmla="*/ 654056 w 1135208"/>
                <a:gd name="connsiteY182" fmla="*/ 659249 h 822704"/>
                <a:gd name="connsiteX183" fmla="*/ 660420 w 1135208"/>
                <a:gd name="connsiteY183" fmla="*/ 667016 h 822704"/>
                <a:gd name="connsiteX184" fmla="*/ 697952 w 1135208"/>
                <a:gd name="connsiteY184" fmla="*/ 723941 h 822704"/>
                <a:gd name="connsiteX185" fmla="*/ 706571 w 1135208"/>
                <a:gd name="connsiteY185" fmla="*/ 732259 h 822704"/>
                <a:gd name="connsiteX186" fmla="*/ 720051 w 1135208"/>
                <a:gd name="connsiteY186" fmla="*/ 753255 h 822704"/>
                <a:gd name="connsiteX187" fmla="*/ 739043 w 1135208"/>
                <a:gd name="connsiteY187" fmla="*/ 793995 h 822704"/>
                <a:gd name="connsiteX188" fmla="*/ 745056 w 1135208"/>
                <a:gd name="connsiteY188" fmla="*/ 802463 h 822704"/>
                <a:gd name="connsiteX189" fmla="*/ 748363 w 1135208"/>
                <a:gd name="connsiteY189" fmla="*/ 802113 h 822704"/>
                <a:gd name="connsiteX190" fmla="*/ 757684 w 1135208"/>
                <a:gd name="connsiteY190" fmla="*/ 800759 h 822704"/>
                <a:gd name="connsiteX191" fmla="*/ 783690 w 1135208"/>
                <a:gd name="connsiteY191" fmla="*/ 794346 h 822704"/>
                <a:gd name="connsiteX192" fmla="*/ 798974 w 1135208"/>
                <a:gd name="connsiteY192" fmla="*/ 790487 h 822704"/>
                <a:gd name="connsiteX193" fmla="*/ 825933 w 1135208"/>
                <a:gd name="connsiteY193" fmla="*/ 792642 h 822704"/>
                <a:gd name="connsiteX194" fmla="*/ 843071 w 1135208"/>
                <a:gd name="connsiteY194" fmla="*/ 798404 h 822704"/>
                <a:gd name="connsiteX195" fmla="*/ 849686 w 1135208"/>
                <a:gd name="connsiteY195" fmla="*/ 800058 h 822704"/>
                <a:gd name="connsiteX196" fmla="*/ 855047 w 1135208"/>
                <a:gd name="connsiteY196" fmla="*/ 800008 h 822704"/>
                <a:gd name="connsiteX197" fmla="*/ 867725 w 1135208"/>
                <a:gd name="connsiteY197" fmla="*/ 795698 h 822704"/>
                <a:gd name="connsiteX198" fmla="*/ 876294 w 1135208"/>
                <a:gd name="connsiteY198" fmla="*/ 790036 h 822704"/>
                <a:gd name="connsiteX199" fmla="*/ 880703 w 1135208"/>
                <a:gd name="connsiteY199" fmla="*/ 786879 h 822704"/>
                <a:gd name="connsiteX200" fmla="*/ 882307 w 1135208"/>
                <a:gd name="connsiteY200" fmla="*/ 785777 h 822704"/>
                <a:gd name="connsiteX201" fmla="*/ 891728 w 1135208"/>
                <a:gd name="connsiteY201" fmla="*/ 792842 h 822704"/>
                <a:gd name="connsiteX202" fmla="*/ 910820 w 1135208"/>
                <a:gd name="connsiteY202" fmla="*/ 806873 h 822704"/>
                <a:gd name="connsiteX203" fmla="*/ 913375 w 1135208"/>
                <a:gd name="connsiteY203" fmla="*/ 808777 h 822704"/>
                <a:gd name="connsiteX204" fmla="*/ 923848 w 1135208"/>
                <a:gd name="connsiteY204" fmla="*/ 814640 h 822704"/>
                <a:gd name="connsiteX205" fmla="*/ 936677 w 1135208"/>
                <a:gd name="connsiteY205" fmla="*/ 816995 h 822704"/>
                <a:gd name="connsiteX206" fmla="*/ 987388 w 1135208"/>
                <a:gd name="connsiteY206" fmla="*/ 822607 h 822704"/>
                <a:gd name="connsiteX207" fmla="*/ 989342 w 1135208"/>
                <a:gd name="connsiteY207" fmla="*/ 820002 h 822704"/>
                <a:gd name="connsiteX208" fmla="*/ 993451 w 1135208"/>
                <a:gd name="connsiteY208" fmla="*/ 813888 h 822704"/>
                <a:gd name="connsiteX209" fmla="*/ 1000066 w 1135208"/>
                <a:gd name="connsiteY209" fmla="*/ 797452 h 822704"/>
                <a:gd name="connsiteX210" fmla="*/ 1012844 w 1135208"/>
                <a:gd name="connsiteY210" fmla="*/ 770543 h 822704"/>
                <a:gd name="connsiteX211" fmla="*/ 1014046 w 1135208"/>
                <a:gd name="connsiteY211" fmla="*/ 760922 h 822704"/>
                <a:gd name="connsiteX212" fmla="*/ 1013846 w 1135208"/>
                <a:gd name="connsiteY212" fmla="*/ 758968 h 822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</a:cxnLst>
              <a:rect l="l" t="t" r="r" b="b"/>
              <a:pathLst>
                <a:path w="1135208" h="822704">
                  <a:moveTo>
                    <a:pt x="1014197" y="759368"/>
                  </a:moveTo>
                  <a:cubicBezTo>
                    <a:pt x="1013545" y="752403"/>
                    <a:pt x="1012844" y="745188"/>
                    <a:pt x="1010639" y="738823"/>
                  </a:cubicBezTo>
                  <a:cubicBezTo>
                    <a:pt x="1006730" y="727498"/>
                    <a:pt x="1005027" y="715422"/>
                    <a:pt x="1005277" y="700690"/>
                  </a:cubicBezTo>
                  <a:cubicBezTo>
                    <a:pt x="1005428" y="688713"/>
                    <a:pt x="1005528" y="677038"/>
                    <a:pt x="1004927" y="665412"/>
                  </a:cubicBezTo>
                  <a:cubicBezTo>
                    <a:pt x="1004476" y="656493"/>
                    <a:pt x="1002772" y="653586"/>
                    <a:pt x="993151" y="653035"/>
                  </a:cubicBezTo>
                  <a:cubicBezTo>
                    <a:pt x="984231" y="652484"/>
                    <a:pt x="980122" y="647272"/>
                    <a:pt x="976514" y="642662"/>
                  </a:cubicBezTo>
                  <a:cubicBezTo>
                    <a:pt x="975963" y="641961"/>
                    <a:pt x="975362" y="641209"/>
                    <a:pt x="974810" y="640507"/>
                  </a:cubicBezTo>
                  <a:lnTo>
                    <a:pt x="953614" y="642562"/>
                  </a:lnTo>
                  <a:lnTo>
                    <a:pt x="947650" y="629433"/>
                  </a:lnTo>
                  <a:lnTo>
                    <a:pt x="932267" y="634745"/>
                  </a:lnTo>
                  <a:lnTo>
                    <a:pt x="931716" y="631638"/>
                  </a:lnTo>
                  <a:cubicBezTo>
                    <a:pt x="930162" y="622818"/>
                    <a:pt x="930313" y="614500"/>
                    <a:pt x="930463" y="606382"/>
                  </a:cubicBezTo>
                  <a:cubicBezTo>
                    <a:pt x="930563" y="600920"/>
                    <a:pt x="930664" y="595759"/>
                    <a:pt x="930212" y="590598"/>
                  </a:cubicBezTo>
                  <a:cubicBezTo>
                    <a:pt x="928759" y="572357"/>
                    <a:pt x="932367" y="554919"/>
                    <a:pt x="940936" y="538834"/>
                  </a:cubicBezTo>
                  <a:cubicBezTo>
                    <a:pt x="948603" y="524452"/>
                    <a:pt x="948804" y="512225"/>
                    <a:pt x="941638" y="499147"/>
                  </a:cubicBezTo>
                  <a:cubicBezTo>
                    <a:pt x="940785" y="497543"/>
                    <a:pt x="941137" y="495940"/>
                    <a:pt x="941487" y="494035"/>
                  </a:cubicBezTo>
                  <a:cubicBezTo>
                    <a:pt x="941638" y="493234"/>
                    <a:pt x="941838" y="492332"/>
                    <a:pt x="941989" y="491279"/>
                  </a:cubicBezTo>
                  <a:lnTo>
                    <a:pt x="942138" y="490077"/>
                  </a:lnTo>
                  <a:lnTo>
                    <a:pt x="999114" y="450791"/>
                  </a:lnTo>
                  <a:cubicBezTo>
                    <a:pt x="995105" y="435607"/>
                    <a:pt x="999615" y="422428"/>
                    <a:pt x="1013295" y="409400"/>
                  </a:cubicBezTo>
                  <a:cubicBezTo>
                    <a:pt x="1017053" y="405792"/>
                    <a:pt x="1021713" y="403186"/>
                    <a:pt x="1026223" y="400681"/>
                  </a:cubicBezTo>
                  <a:cubicBezTo>
                    <a:pt x="1027326" y="400029"/>
                    <a:pt x="1028478" y="399428"/>
                    <a:pt x="1029581" y="398776"/>
                  </a:cubicBezTo>
                  <a:cubicBezTo>
                    <a:pt x="1035294" y="395469"/>
                    <a:pt x="1041106" y="392312"/>
                    <a:pt x="1046017" y="389706"/>
                  </a:cubicBezTo>
                  <a:lnTo>
                    <a:pt x="1049123" y="388003"/>
                  </a:lnTo>
                  <a:cubicBezTo>
                    <a:pt x="1055037" y="371015"/>
                    <a:pt x="1050376" y="356784"/>
                    <a:pt x="1045465" y="341701"/>
                  </a:cubicBezTo>
                  <a:cubicBezTo>
                    <a:pt x="1044714" y="339396"/>
                    <a:pt x="1043963" y="337091"/>
                    <a:pt x="1043211" y="334735"/>
                  </a:cubicBezTo>
                  <a:lnTo>
                    <a:pt x="1042409" y="332180"/>
                  </a:lnTo>
                  <a:lnTo>
                    <a:pt x="1044965" y="331378"/>
                  </a:lnTo>
                  <a:cubicBezTo>
                    <a:pt x="1047019" y="330727"/>
                    <a:pt x="1048923" y="330075"/>
                    <a:pt x="1050777" y="329474"/>
                  </a:cubicBezTo>
                  <a:cubicBezTo>
                    <a:pt x="1054536" y="328221"/>
                    <a:pt x="1058144" y="327019"/>
                    <a:pt x="1061751" y="326117"/>
                  </a:cubicBezTo>
                  <a:cubicBezTo>
                    <a:pt x="1083148" y="320604"/>
                    <a:pt x="1104846" y="319552"/>
                    <a:pt x="1123287" y="319252"/>
                  </a:cubicBezTo>
                  <a:cubicBezTo>
                    <a:pt x="1127496" y="319151"/>
                    <a:pt x="1130653" y="318049"/>
                    <a:pt x="1132557" y="315944"/>
                  </a:cubicBezTo>
                  <a:cubicBezTo>
                    <a:pt x="1134662" y="313639"/>
                    <a:pt x="1135514" y="309931"/>
                    <a:pt x="1135113" y="304920"/>
                  </a:cubicBezTo>
                  <a:lnTo>
                    <a:pt x="1135012" y="303968"/>
                  </a:lnTo>
                  <a:cubicBezTo>
                    <a:pt x="1134812" y="301362"/>
                    <a:pt x="1134612" y="298656"/>
                    <a:pt x="1133559" y="296852"/>
                  </a:cubicBezTo>
                  <a:cubicBezTo>
                    <a:pt x="1126894" y="284926"/>
                    <a:pt x="1126444" y="272098"/>
                    <a:pt x="1125993" y="259721"/>
                  </a:cubicBezTo>
                  <a:cubicBezTo>
                    <a:pt x="1125943" y="257917"/>
                    <a:pt x="1125842" y="256113"/>
                    <a:pt x="1125792" y="254259"/>
                  </a:cubicBezTo>
                  <a:cubicBezTo>
                    <a:pt x="1125442" y="245540"/>
                    <a:pt x="1123638" y="236319"/>
                    <a:pt x="1120581" y="227500"/>
                  </a:cubicBezTo>
                  <a:cubicBezTo>
                    <a:pt x="1118827" y="222489"/>
                    <a:pt x="1112563" y="217428"/>
                    <a:pt x="1105046" y="214922"/>
                  </a:cubicBezTo>
                  <a:cubicBezTo>
                    <a:pt x="1098533" y="212768"/>
                    <a:pt x="1092469" y="212918"/>
                    <a:pt x="1088861" y="215373"/>
                  </a:cubicBezTo>
                  <a:cubicBezTo>
                    <a:pt x="1073577" y="225746"/>
                    <a:pt x="1056841" y="229053"/>
                    <a:pt x="1039052" y="232561"/>
                  </a:cubicBezTo>
                  <a:lnTo>
                    <a:pt x="1035443" y="233262"/>
                  </a:lnTo>
                  <a:cubicBezTo>
                    <a:pt x="1025321" y="253407"/>
                    <a:pt x="1008685" y="268239"/>
                    <a:pt x="983229" y="279815"/>
                  </a:cubicBezTo>
                  <a:cubicBezTo>
                    <a:pt x="974710" y="283723"/>
                    <a:pt x="966442" y="288684"/>
                    <a:pt x="958424" y="293495"/>
                  </a:cubicBezTo>
                  <a:cubicBezTo>
                    <a:pt x="953815" y="296301"/>
                    <a:pt x="949204" y="299057"/>
                    <a:pt x="944494" y="301663"/>
                  </a:cubicBezTo>
                  <a:cubicBezTo>
                    <a:pt x="940886" y="303667"/>
                    <a:pt x="936727" y="305772"/>
                    <a:pt x="932417" y="305872"/>
                  </a:cubicBezTo>
                  <a:cubicBezTo>
                    <a:pt x="930313" y="305922"/>
                    <a:pt x="928208" y="306022"/>
                    <a:pt x="926053" y="306122"/>
                  </a:cubicBezTo>
                  <a:cubicBezTo>
                    <a:pt x="916282" y="306624"/>
                    <a:pt x="906210" y="307075"/>
                    <a:pt x="895736" y="303617"/>
                  </a:cubicBezTo>
                  <a:lnTo>
                    <a:pt x="894885" y="303316"/>
                  </a:lnTo>
                  <a:lnTo>
                    <a:pt x="889072" y="294898"/>
                  </a:lnTo>
                  <a:cubicBezTo>
                    <a:pt x="885565" y="289787"/>
                    <a:pt x="882006" y="284676"/>
                    <a:pt x="878399" y="279564"/>
                  </a:cubicBezTo>
                  <a:cubicBezTo>
                    <a:pt x="866973" y="263479"/>
                    <a:pt x="855348" y="257315"/>
                    <a:pt x="839613" y="259069"/>
                  </a:cubicBezTo>
                  <a:cubicBezTo>
                    <a:pt x="821023" y="261124"/>
                    <a:pt x="804386" y="253357"/>
                    <a:pt x="791959" y="246341"/>
                  </a:cubicBezTo>
                  <a:lnTo>
                    <a:pt x="790656" y="245590"/>
                  </a:lnTo>
                  <a:lnTo>
                    <a:pt x="790656" y="244086"/>
                  </a:lnTo>
                  <a:cubicBezTo>
                    <a:pt x="790505" y="241781"/>
                    <a:pt x="790406" y="239476"/>
                    <a:pt x="790305" y="237121"/>
                  </a:cubicBezTo>
                  <a:cubicBezTo>
                    <a:pt x="790105" y="231860"/>
                    <a:pt x="789954" y="226448"/>
                    <a:pt x="789453" y="221136"/>
                  </a:cubicBezTo>
                  <a:cubicBezTo>
                    <a:pt x="788150" y="206604"/>
                    <a:pt x="792911" y="196983"/>
                    <a:pt x="804536" y="190970"/>
                  </a:cubicBezTo>
                  <a:cubicBezTo>
                    <a:pt x="807493" y="189416"/>
                    <a:pt x="810199" y="187161"/>
                    <a:pt x="813255" y="184505"/>
                  </a:cubicBezTo>
                  <a:cubicBezTo>
                    <a:pt x="814458" y="183503"/>
                    <a:pt x="815711" y="182401"/>
                    <a:pt x="817014" y="181348"/>
                  </a:cubicBezTo>
                  <a:cubicBezTo>
                    <a:pt x="817064" y="178041"/>
                    <a:pt x="817164" y="174734"/>
                    <a:pt x="817265" y="171427"/>
                  </a:cubicBezTo>
                  <a:cubicBezTo>
                    <a:pt x="817515" y="162106"/>
                    <a:pt x="817765" y="152485"/>
                    <a:pt x="817515" y="142964"/>
                  </a:cubicBezTo>
                  <a:cubicBezTo>
                    <a:pt x="817214" y="131940"/>
                    <a:pt x="820822" y="123321"/>
                    <a:pt x="828739" y="115855"/>
                  </a:cubicBezTo>
                  <a:cubicBezTo>
                    <a:pt x="837609" y="107436"/>
                    <a:pt x="846378" y="98566"/>
                    <a:pt x="854847" y="89948"/>
                  </a:cubicBezTo>
                  <a:cubicBezTo>
                    <a:pt x="858405" y="86340"/>
                    <a:pt x="861962" y="82732"/>
                    <a:pt x="865521" y="79174"/>
                  </a:cubicBezTo>
                  <a:lnTo>
                    <a:pt x="865971" y="78723"/>
                  </a:lnTo>
                  <a:cubicBezTo>
                    <a:pt x="870030" y="74614"/>
                    <a:pt x="873889" y="70755"/>
                    <a:pt x="873689" y="65193"/>
                  </a:cubicBezTo>
                  <a:cubicBezTo>
                    <a:pt x="873237" y="53518"/>
                    <a:pt x="879701" y="45901"/>
                    <a:pt x="885364" y="40589"/>
                  </a:cubicBezTo>
                  <a:cubicBezTo>
                    <a:pt x="892229" y="34125"/>
                    <a:pt x="896789" y="27911"/>
                    <a:pt x="896488" y="19042"/>
                  </a:cubicBezTo>
                  <a:lnTo>
                    <a:pt x="892680" y="16687"/>
                  </a:lnTo>
                  <a:cubicBezTo>
                    <a:pt x="889223" y="14582"/>
                    <a:pt x="885664" y="12377"/>
                    <a:pt x="882157" y="10172"/>
                  </a:cubicBezTo>
                  <a:cubicBezTo>
                    <a:pt x="877697" y="7366"/>
                    <a:pt x="873237" y="4560"/>
                    <a:pt x="868928" y="1804"/>
                  </a:cubicBezTo>
                  <a:lnTo>
                    <a:pt x="866072" y="0"/>
                  </a:lnTo>
                  <a:cubicBezTo>
                    <a:pt x="863165" y="1553"/>
                    <a:pt x="860259" y="3257"/>
                    <a:pt x="857452" y="4961"/>
                  </a:cubicBezTo>
                  <a:cubicBezTo>
                    <a:pt x="844073" y="12878"/>
                    <a:pt x="830243" y="21096"/>
                    <a:pt x="813807" y="10824"/>
                  </a:cubicBezTo>
                  <a:cubicBezTo>
                    <a:pt x="811602" y="12026"/>
                    <a:pt x="809547" y="13379"/>
                    <a:pt x="807493" y="14632"/>
                  </a:cubicBezTo>
                  <a:cubicBezTo>
                    <a:pt x="801730" y="18240"/>
                    <a:pt x="796318" y="21597"/>
                    <a:pt x="790255" y="22499"/>
                  </a:cubicBezTo>
                  <a:cubicBezTo>
                    <a:pt x="783590" y="23502"/>
                    <a:pt x="776675" y="22048"/>
                    <a:pt x="770010" y="20595"/>
                  </a:cubicBezTo>
                  <a:cubicBezTo>
                    <a:pt x="767254" y="19994"/>
                    <a:pt x="764498" y="19443"/>
                    <a:pt x="761742" y="19042"/>
                  </a:cubicBezTo>
                  <a:cubicBezTo>
                    <a:pt x="761392" y="19042"/>
                    <a:pt x="761041" y="18892"/>
                    <a:pt x="760640" y="18791"/>
                  </a:cubicBezTo>
                  <a:cubicBezTo>
                    <a:pt x="760489" y="18791"/>
                    <a:pt x="760289" y="18691"/>
                    <a:pt x="760139" y="18691"/>
                  </a:cubicBezTo>
                  <a:cubicBezTo>
                    <a:pt x="759087" y="18992"/>
                    <a:pt x="757533" y="19242"/>
                    <a:pt x="756029" y="19493"/>
                  </a:cubicBezTo>
                  <a:cubicBezTo>
                    <a:pt x="753274" y="19944"/>
                    <a:pt x="750117" y="20445"/>
                    <a:pt x="748964" y="21748"/>
                  </a:cubicBezTo>
                  <a:cubicBezTo>
                    <a:pt x="740596" y="31018"/>
                    <a:pt x="730073" y="34977"/>
                    <a:pt x="714990" y="34877"/>
                  </a:cubicBezTo>
                  <a:cubicBezTo>
                    <a:pt x="705770" y="34726"/>
                    <a:pt x="703715" y="38936"/>
                    <a:pt x="702813" y="42142"/>
                  </a:cubicBezTo>
                  <a:cubicBezTo>
                    <a:pt x="700407" y="50862"/>
                    <a:pt x="693693" y="54520"/>
                    <a:pt x="687228" y="58028"/>
                  </a:cubicBezTo>
                  <a:cubicBezTo>
                    <a:pt x="676756" y="63740"/>
                    <a:pt x="669590" y="70806"/>
                    <a:pt x="664930" y="79926"/>
                  </a:cubicBezTo>
                  <a:cubicBezTo>
                    <a:pt x="654707" y="99869"/>
                    <a:pt x="651550" y="101273"/>
                    <a:pt x="630955" y="94909"/>
                  </a:cubicBezTo>
                  <a:cubicBezTo>
                    <a:pt x="629001" y="94307"/>
                    <a:pt x="627046" y="93656"/>
                    <a:pt x="625092" y="93004"/>
                  </a:cubicBezTo>
                  <a:cubicBezTo>
                    <a:pt x="622586" y="92153"/>
                    <a:pt x="620031" y="91300"/>
                    <a:pt x="617476" y="90549"/>
                  </a:cubicBezTo>
                  <a:cubicBezTo>
                    <a:pt x="615972" y="90098"/>
                    <a:pt x="614468" y="89597"/>
                    <a:pt x="612915" y="89046"/>
                  </a:cubicBezTo>
                  <a:cubicBezTo>
                    <a:pt x="609207" y="87743"/>
                    <a:pt x="605699" y="86490"/>
                    <a:pt x="602542" y="86791"/>
                  </a:cubicBezTo>
                  <a:cubicBezTo>
                    <a:pt x="592721" y="87693"/>
                    <a:pt x="582749" y="89346"/>
                    <a:pt x="573128" y="91000"/>
                  </a:cubicBezTo>
                  <a:cubicBezTo>
                    <a:pt x="569720" y="91551"/>
                    <a:pt x="566363" y="92153"/>
                    <a:pt x="562956" y="92654"/>
                  </a:cubicBezTo>
                  <a:cubicBezTo>
                    <a:pt x="562454" y="94007"/>
                    <a:pt x="562003" y="95410"/>
                    <a:pt x="561553" y="96763"/>
                  </a:cubicBezTo>
                  <a:cubicBezTo>
                    <a:pt x="558696" y="105231"/>
                    <a:pt x="555790" y="113950"/>
                    <a:pt x="544966" y="118160"/>
                  </a:cubicBezTo>
                  <a:lnTo>
                    <a:pt x="543914" y="118560"/>
                  </a:lnTo>
                  <a:lnTo>
                    <a:pt x="542912" y="118110"/>
                  </a:lnTo>
                  <a:cubicBezTo>
                    <a:pt x="541959" y="117709"/>
                    <a:pt x="540957" y="117308"/>
                    <a:pt x="539905" y="116907"/>
                  </a:cubicBezTo>
                  <a:cubicBezTo>
                    <a:pt x="537550" y="116005"/>
                    <a:pt x="534894" y="115003"/>
                    <a:pt x="532488" y="113549"/>
                  </a:cubicBezTo>
                  <a:cubicBezTo>
                    <a:pt x="524922" y="108989"/>
                    <a:pt x="517306" y="109340"/>
                    <a:pt x="508486" y="114602"/>
                  </a:cubicBezTo>
                  <a:cubicBezTo>
                    <a:pt x="499215" y="120164"/>
                    <a:pt x="490697" y="125425"/>
                    <a:pt x="482378" y="130687"/>
                  </a:cubicBezTo>
                  <a:cubicBezTo>
                    <a:pt x="468248" y="139707"/>
                    <a:pt x="451210" y="140809"/>
                    <a:pt x="436828" y="133644"/>
                  </a:cubicBezTo>
                  <a:cubicBezTo>
                    <a:pt x="423750" y="127179"/>
                    <a:pt x="411072" y="126578"/>
                    <a:pt x="395688" y="131739"/>
                  </a:cubicBezTo>
                  <a:cubicBezTo>
                    <a:pt x="382258" y="136300"/>
                    <a:pt x="370783" y="137151"/>
                    <a:pt x="359508" y="134546"/>
                  </a:cubicBezTo>
                  <a:cubicBezTo>
                    <a:pt x="352293" y="132842"/>
                    <a:pt x="346831" y="131739"/>
                    <a:pt x="342471" y="130888"/>
                  </a:cubicBezTo>
                  <a:cubicBezTo>
                    <a:pt x="325434" y="127480"/>
                    <a:pt x="325083" y="127179"/>
                    <a:pt x="308597" y="110593"/>
                  </a:cubicBezTo>
                  <a:lnTo>
                    <a:pt x="301330" y="103327"/>
                  </a:lnTo>
                  <a:cubicBezTo>
                    <a:pt x="300830" y="102876"/>
                    <a:pt x="300329" y="102375"/>
                    <a:pt x="299878" y="101824"/>
                  </a:cubicBezTo>
                  <a:cubicBezTo>
                    <a:pt x="293614" y="94257"/>
                    <a:pt x="285396" y="89697"/>
                    <a:pt x="273319" y="87041"/>
                  </a:cubicBezTo>
                  <a:cubicBezTo>
                    <a:pt x="250369" y="82080"/>
                    <a:pt x="229072" y="80126"/>
                    <a:pt x="208326" y="81028"/>
                  </a:cubicBezTo>
                  <a:cubicBezTo>
                    <a:pt x="197502" y="81529"/>
                    <a:pt x="184925" y="80627"/>
                    <a:pt x="173550" y="70605"/>
                  </a:cubicBezTo>
                  <a:cubicBezTo>
                    <a:pt x="166735" y="64592"/>
                    <a:pt x="157915" y="61635"/>
                    <a:pt x="149246" y="62537"/>
                  </a:cubicBezTo>
                  <a:cubicBezTo>
                    <a:pt x="125595" y="64943"/>
                    <a:pt x="105701" y="55773"/>
                    <a:pt x="89415" y="46452"/>
                  </a:cubicBezTo>
                  <a:cubicBezTo>
                    <a:pt x="83803" y="43245"/>
                    <a:pt x="79193" y="40990"/>
                    <a:pt x="74933" y="39437"/>
                  </a:cubicBezTo>
                  <a:cubicBezTo>
                    <a:pt x="70874" y="37984"/>
                    <a:pt x="66315" y="36330"/>
                    <a:pt x="62656" y="36881"/>
                  </a:cubicBezTo>
                  <a:cubicBezTo>
                    <a:pt x="36549" y="40840"/>
                    <a:pt x="16505" y="48857"/>
                    <a:pt x="1321" y="61535"/>
                  </a:cubicBezTo>
                  <a:cubicBezTo>
                    <a:pt x="-1134" y="73812"/>
                    <a:pt x="-783" y="82381"/>
                    <a:pt x="7736" y="89547"/>
                  </a:cubicBezTo>
                  <a:cubicBezTo>
                    <a:pt x="11143" y="92403"/>
                    <a:pt x="13949" y="97564"/>
                    <a:pt x="15302" y="103327"/>
                  </a:cubicBezTo>
                  <a:cubicBezTo>
                    <a:pt x="17758" y="113850"/>
                    <a:pt x="24422" y="120264"/>
                    <a:pt x="37701" y="124674"/>
                  </a:cubicBezTo>
                  <a:cubicBezTo>
                    <a:pt x="43715" y="126628"/>
                    <a:pt x="49678" y="128783"/>
                    <a:pt x="55591" y="130888"/>
                  </a:cubicBezTo>
                  <a:lnTo>
                    <a:pt x="56643" y="131238"/>
                  </a:lnTo>
                  <a:cubicBezTo>
                    <a:pt x="60051" y="132391"/>
                    <a:pt x="65162" y="134145"/>
                    <a:pt x="64911" y="141461"/>
                  </a:cubicBezTo>
                  <a:lnTo>
                    <a:pt x="64911" y="142513"/>
                  </a:lnTo>
                  <a:cubicBezTo>
                    <a:pt x="64911" y="142513"/>
                    <a:pt x="64109" y="143265"/>
                    <a:pt x="64109" y="143265"/>
                  </a:cubicBezTo>
                  <a:cubicBezTo>
                    <a:pt x="60401" y="146973"/>
                    <a:pt x="55691" y="149128"/>
                    <a:pt x="51131" y="151232"/>
                  </a:cubicBezTo>
                  <a:cubicBezTo>
                    <a:pt x="46420" y="153387"/>
                    <a:pt x="41910" y="155492"/>
                    <a:pt x="38754" y="159100"/>
                  </a:cubicBezTo>
                  <a:cubicBezTo>
                    <a:pt x="41961" y="167167"/>
                    <a:pt x="42512" y="167969"/>
                    <a:pt x="49828" y="173581"/>
                  </a:cubicBezTo>
                  <a:cubicBezTo>
                    <a:pt x="68118" y="161805"/>
                    <a:pt x="86158" y="154539"/>
                    <a:pt x="104799" y="151433"/>
                  </a:cubicBezTo>
                  <a:lnTo>
                    <a:pt x="106001" y="151232"/>
                  </a:lnTo>
                  <a:lnTo>
                    <a:pt x="106954" y="151984"/>
                  </a:lnTo>
                  <a:cubicBezTo>
                    <a:pt x="119631" y="162206"/>
                    <a:pt x="126096" y="175987"/>
                    <a:pt x="132359" y="189366"/>
                  </a:cubicBezTo>
                  <a:cubicBezTo>
                    <a:pt x="134815" y="194578"/>
                    <a:pt x="137370" y="199989"/>
                    <a:pt x="140227" y="205101"/>
                  </a:cubicBezTo>
                  <a:lnTo>
                    <a:pt x="163278" y="197283"/>
                  </a:lnTo>
                  <a:lnTo>
                    <a:pt x="164430" y="198837"/>
                  </a:lnTo>
                  <a:cubicBezTo>
                    <a:pt x="170343" y="206754"/>
                    <a:pt x="173550" y="215273"/>
                    <a:pt x="176657" y="223541"/>
                  </a:cubicBezTo>
                  <a:cubicBezTo>
                    <a:pt x="178361" y="228001"/>
                    <a:pt x="179914" y="232210"/>
                    <a:pt x="181918" y="236319"/>
                  </a:cubicBezTo>
                  <a:cubicBezTo>
                    <a:pt x="186779" y="246241"/>
                    <a:pt x="186679" y="256313"/>
                    <a:pt x="181668" y="267989"/>
                  </a:cubicBezTo>
                  <a:cubicBezTo>
                    <a:pt x="180866" y="269793"/>
                    <a:pt x="180064" y="271647"/>
                    <a:pt x="179212" y="273451"/>
                  </a:cubicBezTo>
                  <a:cubicBezTo>
                    <a:pt x="175855" y="280817"/>
                    <a:pt x="172347" y="288384"/>
                    <a:pt x="171946" y="297403"/>
                  </a:cubicBezTo>
                  <a:cubicBezTo>
                    <a:pt x="188482" y="304419"/>
                    <a:pt x="203115" y="311534"/>
                    <a:pt x="214741" y="324964"/>
                  </a:cubicBezTo>
                  <a:lnTo>
                    <a:pt x="216294" y="326718"/>
                  </a:lnTo>
                  <a:lnTo>
                    <a:pt x="214741" y="328472"/>
                  </a:lnTo>
                  <a:cubicBezTo>
                    <a:pt x="213287" y="330176"/>
                    <a:pt x="211834" y="331779"/>
                    <a:pt x="210431" y="333282"/>
                  </a:cubicBezTo>
                  <a:cubicBezTo>
                    <a:pt x="207174" y="336840"/>
                    <a:pt x="204368" y="339947"/>
                    <a:pt x="202063" y="343355"/>
                  </a:cubicBezTo>
                  <a:cubicBezTo>
                    <a:pt x="199757" y="346762"/>
                    <a:pt x="198003" y="351021"/>
                    <a:pt x="197252" y="355030"/>
                  </a:cubicBezTo>
                  <a:cubicBezTo>
                    <a:pt x="195749" y="363599"/>
                    <a:pt x="194646" y="372017"/>
                    <a:pt x="193493" y="380987"/>
                  </a:cubicBezTo>
                  <a:cubicBezTo>
                    <a:pt x="193043" y="384345"/>
                    <a:pt x="192592" y="387752"/>
                    <a:pt x="192141" y="391159"/>
                  </a:cubicBezTo>
                  <a:lnTo>
                    <a:pt x="199557" y="400380"/>
                  </a:lnTo>
                  <a:cubicBezTo>
                    <a:pt x="208827" y="411855"/>
                    <a:pt x="218298" y="423631"/>
                    <a:pt x="227920" y="435256"/>
                  </a:cubicBezTo>
                  <a:cubicBezTo>
                    <a:pt x="229673" y="437361"/>
                    <a:pt x="232179" y="439015"/>
                    <a:pt x="233732" y="439115"/>
                  </a:cubicBezTo>
                  <a:cubicBezTo>
                    <a:pt x="235987" y="439265"/>
                    <a:pt x="238192" y="439416"/>
                    <a:pt x="240447" y="439566"/>
                  </a:cubicBezTo>
                  <a:cubicBezTo>
                    <a:pt x="255430" y="440618"/>
                    <a:pt x="269611" y="441671"/>
                    <a:pt x="283341" y="434705"/>
                  </a:cubicBezTo>
                  <a:cubicBezTo>
                    <a:pt x="293964" y="429343"/>
                    <a:pt x="304988" y="424533"/>
                    <a:pt x="315662" y="419872"/>
                  </a:cubicBezTo>
                  <a:cubicBezTo>
                    <a:pt x="320473" y="417768"/>
                    <a:pt x="325233" y="415714"/>
                    <a:pt x="329944" y="413609"/>
                  </a:cubicBezTo>
                  <a:lnTo>
                    <a:pt x="331046" y="413108"/>
                  </a:lnTo>
                  <a:lnTo>
                    <a:pt x="332148" y="413609"/>
                  </a:lnTo>
                  <a:cubicBezTo>
                    <a:pt x="334303" y="414611"/>
                    <a:pt x="336408" y="415513"/>
                    <a:pt x="338462" y="416415"/>
                  </a:cubicBezTo>
                  <a:cubicBezTo>
                    <a:pt x="342721" y="418269"/>
                    <a:pt x="346781" y="419973"/>
                    <a:pt x="350489" y="422328"/>
                  </a:cubicBezTo>
                  <a:cubicBezTo>
                    <a:pt x="360160" y="428492"/>
                    <a:pt x="367977" y="428592"/>
                    <a:pt x="375794" y="422729"/>
                  </a:cubicBezTo>
                  <a:lnTo>
                    <a:pt x="377298" y="421576"/>
                  </a:lnTo>
                  <a:lnTo>
                    <a:pt x="378901" y="422579"/>
                  </a:lnTo>
                  <a:cubicBezTo>
                    <a:pt x="381607" y="424332"/>
                    <a:pt x="384213" y="426086"/>
                    <a:pt x="386718" y="427840"/>
                  </a:cubicBezTo>
                  <a:cubicBezTo>
                    <a:pt x="392331" y="431649"/>
                    <a:pt x="397592" y="435256"/>
                    <a:pt x="403205" y="438062"/>
                  </a:cubicBezTo>
                  <a:cubicBezTo>
                    <a:pt x="407714" y="440317"/>
                    <a:pt x="412676" y="441620"/>
                    <a:pt x="417887" y="443023"/>
                  </a:cubicBezTo>
                  <a:cubicBezTo>
                    <a:pt x="419891" y="443575"/>
                    <a:pt x="421896" y="444076"/>
                    <a:pt x="423900" y="444677"/>
                  </a:cubicBezTo>
                  <a:cubicBezTo>
                    <a:pt x="435826" y="438964"/>
                    <a:pt x="448203" y="439566"/>
                    <a:pt x="460180" y="440167"/>
                  </a:cubicBezTo>
                  <a:cubicBezTo>
                    <a:pt x="465892" y="440468"/>
                    <a:pt x="471755" y="440769"/>
                    <a:pt x="477417" y="440317"/>
                  </a:cubicBezTo>
                  <a:cubicBezTo>
                    <a:pt x="487389" y="439516"/>
                    <a:pt x="495607" y="443124"/>
                    <a:pt x="500618" y="450390"/>
                  </a:cubicBezTo>
                  <a:cubicBezTo>
                    <a:pt x="508336" y="461614"/>
                    <a:pt x="519861" y="467277"/>
                    <a:pt x="530083" y="471336"/>
                  </a:cubicBezTo>
                  <a:lnTo>
                    <a:pt x="531637" y="471937"/>
                  </a:lnTo>
                  <a:lnTo>
                    <a:pt x="531787" y="473591"/>
                  </a:lnTo>
                  <a:cubicBezTo>
                    <a:pt x="532589" y="482310"/>
                    <a:pt x="536297" y="488574"/>
                    <a:pt x="543112" y="492683"/>
                  </a:cubicBezTo>
                  <a:cubicBezTo>
                    <a:pt x="545768" y="494286"/>
                    <a:pt x="547822" y="496541"/>
                    <a:pt x="549877" y="498746"/>
                  </a:cubicBezTo>
                  <a:cubicBezTo>
                    <a:pt x="551179" y="500149"/>
                    <a:pt x="552432" y="501502"/>
                    <a:pt x="553735" y="502604"/>
                  </a:cubicBezTo>
                  <a:cubicBezTo>
                    <a:pt x="565261" y="512276"/>
                    <a:pt x="572427" y="524553"/>
                    <a:pt x="575533" y="540037"/>
                  </a:cubicBezTo>
                  <a:cubicBezTo>
                    <a:pt x="577087" y="547754"/>
                    <a:pt x="578991" y="555671"/>
                    <a:pt x="583250" y="560481"/>
                  </a:cubicBezTo>
                  <a:cubicBezTo>
                    <a:pt x="588061" y="565843"/>
                    <a:pt x="592421" y="571756"/>
                    <a:pt x="596630" y="577519"/>
                  </a:cubicBezTo>
                  <a:cubicBezTo>
                    <a:pt x="606401" y="590848"/>
                    <a:pt x="615671" y="603376"/>
                    <a:pt x="630604" y="610692"/>
                  </a:cubicBezTo>
                  <a:cubicBezTo>
                    <a:pt x="632559" y="611644"/>
                    <a:pt x="634363" y="613448"/>
                    <a:pt x="635114" y="615352"/>
                  </a:cubicBezTo>
                  <a:cubicBezTo>
                    <a:pt x="636066" y="617557"/>
                    <a:pt x="637068" y="619762"/>
                    <a:pt x="638071" y="622017"/>
                  </a:cubicBezTo>
                  <a:cubicBezTo>
                    <a:pt x="640977" y="628331"/>
                    <a:pt x="643933" y="634895"/>
                    <a:pt x="645487" y="641760"/>
                  </a:cubicBezTo>
                  <a:cubicBezTo>
                    <a:pt x="646940" y="648425"/>
                    <a:pt x="649495" y="653636"/>
                    <a:pt x="654056" y="659249"/>
                  </a:cubicBezTo>
                  <a:cubicBezTo>
                    <a:pt x="656160" y="661854"/>
                    <a:pt x="658315" y="664460"/>
                    <a:pt x="660420" y="667016"/>
                  </a:cubicBezTo>
                  <a:cubicBezTo>
                    <a:pt x="674651" y="684253"/>
                    <a:pt x="689333" y="702093"/>
                    <a:pt x="697952" y="723941"/>
                  </a:cubicBezTo>
                  <a:cubicBezTo>
                    <a:pt x="699355" y="727398"/>
                    <a:pt x="704216" y="730655"/>
                    <a:pt x="706571" y="732259"/>
                  </a:cubicBezTo>
                  <a:cubicBezTo>
                    <a:pt x="715140" y="737972"/>
                    <a:pt x="719449" y="744636"/>
                    <a:pt x="720051" y="753255"/>
                  </a:cubicBezTo>
                  <a:cubicBezTo>
                    <a:pt x="721153" y="769240"/>
                    <a:pt x="729872" y="781267"/>
                    <a:pt x="739043" y="793995"/>
                  </a:cubicBezTo>
                  <a:cubicBezTo>
                    <a:pt x="741047" y="796801"/>
                    <a:pt x="743101" y="799607"/>
                    <a:pt x="745056" y="802463"/>
                  </a:cubicBezTo>
                  <a:cubicBezTo>
                    <a:pt x="746208" y="802313"/>
                    <a:pt x="747260" y="802213"/>
                    <a:pt x="748363" y="802113"/>
                  </a:cubicBezTo>
                  <a:cubicBezTo>
                    <a:pt x="751670" y="801762"/>
                    <a:pt x="754777" y="801461"/>
                    <a:pt x="757684" y="800759"/>
                  </a:cubicBezTo>
                  <a:cubicBezTo>
                    <a:pt x="766403" y="798705"/>
                    <a:pt x="775021" y="796500"/>
                    <a:pt x="783690" y="794346"/>
                  </a:cubicBezTo>
                  <a:cubicBezTo>
                    <a:pt x="788802" y="793043"/>
                    <a:pt x="793863" y="791790"/>
                    <a:pt x="798974" y="790487"/>
                  </a:cubicBezTo>
                  <a:cubicBezTo>
                    <a:pt x="806841" y="788583"/>
                    <a:pt x="816012" y="786979"/>
                    <a:pt x="825933" y="792642"/>
                  </a:cubicBezTo>
                  <a:cubicBezTo>
                    <a:pt x="830944" y="795498"/>
                    <a:pt x="836857" y="796901"/>
                    <a:pt x="843071" y="798404"/>
                  </a:cubicBezTo>
                  <a:cubicBezTo>
                    <a:pt x="845276" y="798956"/>
                    <a:pt x="847531" y="799457"/>
                    <a:pt x="849686" y="800058"/>
                  </a:cubicBezTo>
                  <a:cubicBezTo>
                    <a:pt x="851239" y="800509"/>
                    <a:pt x="853243" y="800459"/>
                    <a:pt x="855047" y="800008"/>
                  </a:cubicBezTo>
                  <a:cubicBezTo>
                    <a:pt x="859507" y="798855"/>
                    <a:pt x="863967" y="797653"/>
                    <a:pt x="867725" y="795698"/>
                  </a:cubicBezTo>
                  <a:cubicBezTo>
                    <a:pt x="870631" y="794195"/>
                    <a:pt x="873388" y="792190"/>
                    <a:pt x="876294" y="790036"/>
                  </a:cubicBezTo>
                  <a:cubicBezTo>
                    <a:pt x="877697" y="788984"/>
                    <a:pt x="879150" y="787931"/>
                    <a:pt x="880703" y="786879"/>
                  </a:cubicBezTo>
                  <a:lnTo>
                    <a:pt x="882307" y="785777"/>
                  </a:lnTo>
                  <a:lnTo>
                    <a:pt x="891728" y="792842"/>
                  </a:lnTo>
                  <a:cubicBezTo>
                    <a:pt x="898292" y="797753"/>
                    <a:pt x="904456" y="802363"/>
                    <a:pt x="910820" y="806873"/>
                  </a:cubicBezTo>
                  <a:cubicBezTo>
                    <a:pt x="911672" y="807474"/>
                    <a:pt x="912524" y="808126"/>
                    <a:pt x="913375" y="808777"/>
                  </a:cubicBezTo>
                  <a:cubicBezTo>
                    <a:pt x="916833" y="811333"/>
                    <a:pt x="920391" y="814039"/>
                    <a:pt x="923848" y="814640"/>
                  </a:cubicBezTo>
                  <a:cubicBezTo>
                    <a:pt x="928108" y="815392"/>
                    <a:pt x="932417" y="816193"/>
                    <a:pt x="936677" y="816995"/>
                  </a:cubicBezTo>
                  <a:cubicBezTo>
                    <a:pt x="953163" y="820102"/>
                    <a:pt x="970200" y="823309"/>
                    <a:pt x="987388" y="822607"/>
                  </a:cubicBezTo>
                  <a:cubicBezTo>
                    <a:pt x="988040" y="821705"/>
                    <a:pt x="988691" y="820854"/>
                    <a:pt x="989342" y="820002"/>
                  </a:cubicBezTo>
                  <a:cubicBezTo>
                    <a:pt x="990996" y="817797"/>
                    <a:pt x="992449" y="815943"/>
                    <a:pt x="993451" y="813888"/>
                  </a:cubicBezTo>
                  <a:cubicBezTo>
                    <a:pt x="996057" y="808627"/>
                    <a:pt x="998112" y="802964"/>
                    <a:pt x="1000066" y="797452"/>
                  </a:cubicBezTo>
                  <a:cubicBezTo>
                    <a:pt x="1003323" y="788332"/>
                    <a:pt x="1006730" y="778861"/>
                    <a:pt x="1012844" y="770543"/>
                  </a:cubicBezTo>
                  <a:cubicBezTo>
                    <a:pt x="1013545" y="769591"/>
                    <a:pt x="1014648" y="767086"/>
                    <a:pt x="1014046" y="760922"/>
                  </a:cubicBezTo>
                  <a:lnTo>
                    <a:pt x="1013846" y="75896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22" name="Полилиния: фигура 121">
              <a:extLst>
                <a:ext uri="{FF2B5EF4-FFF2-40B4-BE49-F238E27FC236}">
                  <a16:creationId xmlns:a16="http://schemas.microsoft.com/office/drawing/2014/main" id="{63F4A951-4DFB-48FF-8A95-2395C00E6CDF}"/>
                </a:ext>
              </a:extLst>
            </p:cNvPr>
            <p:cNvSpPr/>
            <p:nvPr/>
          </p:nvSpPr>
          <p:spPr>
            <a:xfrm>
              <a:off x="4622438" y="4074666"/>
              <a:ext cx="1091052" cy="873585"/>
            </a:xfrm>
            <a:custGeom>
              <a:avLst/>
              <a:gdLst>
                <a:gd name="connsiteX0" fmla="*/ 441956 w 874856"/>
                <a:gd name="connsiteY0" fmla="*/ 692121 h 700481"/>
                <a:gd name="connsiteX1" fmla="*/ 445313 w 874856"/>
                <a:gd name="connsiteY1" fmla="*/ 700088 h 700481"/>
                <a:gd name="connsiteX2" fmla="*/ 452880 w 874856"/>
                <a:gd name="connsiteY2" fmla="*/ 698986 h 700481"/>
                <a:gd name="connsiteX3" fmla="*/ 459043 w 874856"/>
                <a:gd name="connsiteY3" fmla="*/ 691119 h 700481"/>
                <a:gd name="connsiteX4" fmla="*/ 460446 w 874856"/>
                <a:gd name="connsiteY4" fmla="*/ 688813 h 700481"/>
                <a:gd name="connsiteX5" fmla="*/ 462751 w 874856"/>
                <a:gd name="connsiteY5" fmla="*/ 682900 h 700481"/>
                <a:gd name="connsiteX6" fmla="*/ 472022 w 874856"/>
                <a:gd name="connsiteY6" fmla="*/ 669822 h 700481"/>
                <a:gd name="connsiteX7" fmla="*/ 473174 w 874856"/>
                <a:gd name="connsiteY7" fmla="*/ 669271 h 700481"/>
                <a:gd name="connsiteX8" fmla="*/ 474327 w 874856"/>
                <a:gd name="connsiteY8" fmla="*/ 669822 h 700481"/>
                <a:gd name="connsiteX9" fmla="*/ 478386 w 874856"/>
                <a:gd name="connsiteY9" fmla="*/ 672077 h 700481"/>
                <a:gd name="connsiteX10" fmla="*/ 485652 w 874856"/>
                <a:gd name="connsiteY10" fmla="*/ 675184 h 700481"/>
                <a:gd name="connsiteX11" fmla="*/ 532605 w 874856"/>
                <a:gd name="connsiteY11" fmla="*/ 674983 h 700481"/>
                <a:gd name="connsiteX12" fmla="*/ 548390 w 874856"/>
                <a:gd name="connsiteY12" fmla="*/ 674783 h 700481"/>
                <a:gd name="connsiteX13" fmla="*/ 580811 w 874856"/>
                <a:gd name="connsiteY13" fmla="*/ 674933 h 700481"/>
                <a:gd name="connsiteX14" fmla="*/ 582364 w 874856"/>
                <a:gd name="connsiteY14" fmla="*/ 675484 h 700481"/>
                <a:gd name="connsiteX15" fmla="*/ 587024 w 874856"/>
                <a:gd name="connsiteY15" fmla="*/ 671275 h 700481"/>
                <a:gd name="connsiteX16" fmla="*/ 598800 w 874856"/>
                <a:gd name="connsiteY16" fmla="*/ 660201 h 700481"/>
                <a:gd name="connsiteX17" fmla="*/ 626862 w 874856"/>
                <a:gd name="connsiteY17" fmla="*/ 651531 h 700481"/>
                <a:gd name="connsiteX18" fmla="*/ 634178 w 874856"/>
                <a:gd name="connsiteY18" fmla="*/ 652183 h 700481"/>
                <a:gd name="connsiteX19" fmla="*/ 664495 w 874856"/>
                <a:gd name="connsiteY19" fmla="*/ 649176 h 700481"/>
                <a:gd name="connsiteX20" fmla="*/ 674867 w 874856"/>
                <a:gd name="connsiteY20" fmla="*/ 649276 h 700481"/>
                <a:gd name="connsiteX21" fmla="*/ 680680 w 874856"/>
                <a:gd name="connsiteY21" fmla="*/ 649227 h 700481"/>
                <a:gd name="connsiteX22" fmla="*/ 715507 w 874856"/>
                <a:gd name="connsiteY22" fmla="*/ 641309 h 700481"/>
                <a:gd name="connsiteX23" fmla="*/ 716759 w 874856"/>
                <a:gd name="connsiteY23" fmla="*/ 640307 h 700481"/>
                <a:gd name="connsiteX24" fmla="*/ 751836 w 874856"/>
                <a:gd name="connsiteY24" fmla="*/ 655741 h 700481"/>
                <a:gd name="connsiteX25" fmla="*/ 760806 w 874856"/>
                <a:gd name="connsiteY25" fmla="*/ 651030 h 700481"/>
                <a:gd name="connsiteX26" fmla="*/ 781953 w 874856"/>
                <a:gd name="connsiteY26" fmla="*/ 641059 h 700481"/>
                <a:gd name="connsiteX27" fmla="*/ 796685 w 874856"/>
                <a:gd name="connsiteY27" fmla="*/ 639455 h 700481"/>
                <a:gd name="connsiteX28" fmla="*/ 813723 w 874856"/>
                <a:gd name="connsiteY28" fmla="*/ 636749 h 700481"/>
                <a:gd name="connsiteX29" fmla="*/ 814825 w 874856"/>
                <a:gd name="connsiteY29" fmla="*/ 633993 h 700481"/>
                <a:gd name="connsiteX30" fmla="*/ 841884 w 874856"/>
                <a:gd name="connsiteY30" fmla="*/ 577719 h 700481"/>
                <a:gd name="connsiteX31" fmla="*/ 842536 w 874856"/>
                <a:gd name="connsiteY31" fmla="*/ 576717 h 700481"/>
                <a:gd name="connsiteX32" fmla="*/ 843688 w 874856"/>
                <a:gd name="connsiteY32" fmla="*/ 576517 h 700481"/>
                <a:gd name="connsiteX33" fmla="*/ 857719 w 874856"/>
                <a:gd name="connsiteY33" fmla="*/ 573961 h 700481"/>
                <a:gd name="connsiteX34" fmla="*/ 867641 w 874856"/>
                <a:gd name="connsiteY34" fmla="*/ 563338 h 700481"/>
                <a:gd name="connsiteX35" fmla="*/ 872552 w 874856"/>
                <a:gd name="connsiteY35" fmla="*/ 547703 h 700481"/>
                <a:gd name="connsiteX36" fmla="*/ 874857 w 874856"/>
                <a:gd name="connsiteY36" fmla="*/ 541089 h 700481"/>
                <a:gd name="connsiteX37" fmla="*/ 837775 w 874856"/>
                <a:gd name="connsiteY37" fmla="*/ 478151 h 700481"/>
                <a:gd name="connsiteX38" fmla="*/ 836723 w 874856"/>
                <a:gd name="connsiteY38" fmla="*/ 477048 h 700481"/>
                <a:gd name="connsiteX39" fmla="*/ 834718 w 874856"/>
                <a:gd name="connsiteY39" fmla="*/ 475094 h 700481"/>
                <a:gd name="connsiteX40" fmla="*/ 821089 w 874856"/>
                <a:gd name="connsiteY40" fmla="*/ 439015 h 700481"/>
                <a:gd name="connsiteX41" fmla="*/ 852808 w 874856"/>
                <a:gd name="connsiteY41" fmla="*/ 384445 h 700481"/>
                <a:gd name="connsiteX42" fmla="*/ 867190 w 874856"/>
                <a:gd name="connsiteY42" fmla="*/ 375274 h 700481"/>
                <a:gd name="connsiteX43" fmla="*/ 872051 w 874856"/>
                <a:gd name="connsiteY43" fmla="*/ 371817 h 700481"/>
                <a:gd name="connsiteX44" fmla="*/ 847046 w 874856"/>
                <a:gd name="connsiteY44" fmla="*/ 347614 h 700481"/>
                <a:gd name="connsiteX45" fmla="*/ 822642 w 874856"/>
                <a:gd name="connsiteY45" fmla="*/ 320755 h 700481"/>
                <a:gd name="connsiteX46" fmla="*/ 821039 w 874856"/>
                <a:gd name="connsiteY46" fmla="*/ 308177 h 700481"/>
                <a:gd name="connsiteX47" fmla="*/ 801245 w 874856"/>
                <a:gd name="connsiteY47" fmla="*/ 278211 h 700481"/>
                <a:gd name="connsiteX48" fmla="*/ 785761 w 874856"/>
                <a:gd name="connsiteY48" fmla="*/ 264731 h 700481"/>
                <a:gd name="connsiteX49" fmla="*/ 763863 w 874856"/>
                <a:gd name="connsiteY49" fmla="*/ 248947 h 700481"/>
                <a:gd name="connsiteX50" fmla="*/ 752338 w 874856"/>
                <a:gd name="connsiteY50" fmla="*/ 246091 h 700481"/>
                <a:gd name="connsiteX51" fmla="*/ 729437 w 874856"/>
                <a:gd name="connsiteY51" fmla="*/ 239526 h 700481"/>
                <a:gd name="connsiteX52" fmla="*/ 682985 w 874856"/>
                <a:gd name="connsiteY52" fmla="*/ 237873 h 700481"/>
                <a:gd name="connsiteX53" fmla="*/ 660085 w 874856"/>
                <a:gd name="connsiteY53" fmla="*/ 237321 h 700481"/>
                <a:gd name="connsiteX54" fmla="*/ 651767 w 874856"/>
                <a:gd name="connsiteY54" fmla="*/ 233313 h 700481"/>
                <a:gd name="connsiteX55" fmla="*/ 625709 w 874856"/>
                <a:gd name="connsiteY55" fmla="*/ 216776 h 700481"/>
                <a:gd name="connsiteX56" fmla="*/ 624958 w 874856"/>
                <a:gd name="connsiteY56" fmla="*/ 215974 h 700481"/>
                <a:gd name="connsiteX57" fmla="*/ 624958 w 874856"/>
                <a:gd name="connsiteY57" fmla="*/ 214872 h 700481"/>
                <a:gd name="connsiteX58" fmla="*/ 624958 w 874856"/>
                <a:gd name="connsiteY58" fmla="*/ 198336 h 700481"/>
                <a:gd name="connsiteX59" fmla="*/ 624858 w 874856"/>
                <a:gd name="connsiteY59" fmla="*/ 159350 h 700481"/>
                <a:gd name="connsiteX60" fmla="*/ 624958 w 874856"/>
                <a:gd name="connsiteY60" fmla="*/ 140609 h 700481"/>
                <a:gd name="connsiteX61" fmla="*/ 623955 w 874856"/>
                <a:gd name="connsiteY61" fmla="*/ 103377 h 700481"/>
                <a:gd name="connsiteX62" fmla="*/ 573745 w 874856"/>
                <a:gd name="connsiteY62" fmla="*/ 74965 h 700481"/>
                <a:gd name="connsiteX63" fmla="*/ 509755 w 874856"/>
                <a:gd name="connsiteY63" fmla="*/ 110493 h 700481"/>
                <a:gd name="connsiteX64" fmla="*/ 508502 w 874856"/>
                <a:gd name="connsiteY64" fmla="*/ 109891 h 700481"/>
                <a:gd name="connsiteX65" fmla="*/ 501737 w 874856"/>
                <a:gd name="connsiteY65" fmla="*/ 106885 h 700481"/>
                <a:gd name="connsiteX66" fmla="*/ 489510 w 874856"/>
                <a:gd name="connsiteY66" fmla="*/ 100170 h 700481"/>
                <a:gd name="connsiteX67" fmla="*/ 462952 w 874856"/>
                <a:gd name="connsiteY67" fmla="*/ 92102 h 700481"/>
                <a:gd name="connsiteX68" fmla="*/ 457640 w 874856"/>
                <a:gd name="connsiteY68" fmla="*/ 92052 h 700481"/>
                <a:gd name="connsiteX69" fmla="*/ 453431 w 874856"/>
                <a:gd name="connsiteY69" fmla="*/ 91952 h 700481"/>
                <a:gd name="connsiteX70" fmla="*/ 434389 w 874856"/>
                <a:gd name="connsiteY70" fmla="*/ 79324 h 700481"/>
                <a:gd name="connsiteX71" fmla="*/ 425019 w 874856"/>
                <a:gd name="connsiteY71" fmla="*/ 58027 h 700481"/>
                <a:gd name="connsiteX72" fmla="*/ 420559 w 874856"/>
                <a:gd name="connsiteY72" fmla="*/ 58729 h 700481"/>
                <a:gd name="connsiteX73" fmla="*/ 409885 w 874856"/>
                <a:gd name="connsiteY73" fmla="*/ 60783 h 700481"/>
                <a:gd name="connsiteX74" fmla="*/ 377314 w 874856"/>
                <a:gd name="connsiteY74" fmla="*/ 63940 h 700481"/>
                <a:gd name="connsiteX75" fmla="*/ 369196 w 874856"/>
                <a:gd name="connsiteY75" fmla="*/ 63940 h 700481"/>
                <a:gd name="connsiteX76" fmla="*/ 350405 w 874856"/>
                <a:gd name="connsiteY76" fmla="*/ 56624 h 700481"/>
                <a:gd name="connsiteX77" fmla="*/ 332666 w 874856"/>
                <a:gd name="connsiteY77" fmla="*/ 28162 h 700481"/>
                <a:gd name="connsiteX78" fmla="*/ 316029 w 874856"/>
                <a:gd name="connsiteY78" fmla="*/ 30467 h 700481"/>
                <a:gd name="connsiteX79" fmla="*/ 304303 w 874856"/>
                <a:gd name="connsiteY79" fmla="*/ 33924 h 700481"/>
                <a:gd name="connsiteX80" fmla="*/ 303401 w 874856"/>
                <a:gd name="connsiteY80" fmla="*/ 33924 h 700481"/>
                <a:gd name="connsiteX81" fmla="*/ 302649 w 874856"/>
                <a:gd name="connsiteY81" fmla="*/ 33474 h 700481"/>
                <a:gd name="connsiteX82" fmla="*/ 293730 w 874856"/>
                <a:gd name="connsiteY82" fmla="*/ 27160 h 700481"/>
                <a:gd name="connsiteX83" fmla="*/ 273786 w 874856"/>
                <a:gd name="connsiteY83" fmla="*/ 14632 h 700481"/>
                <a:gd name="connsiteX84" fmla="*/ 250685 w 874856"/>
                <a:gd name="connsiteY84" fmla="*/ 8168 h 700481"/>
                <a:gd name="connsiteX85" fmla="*/ 240012 w 874856"/>
                <a:gd name="connsiteY85" fmla="*/ 5813 h 700481"/>
                <a:gd name="connsiteX86" fmla="*/ 235301 w 874856"/>
                <a:gd name="connsiteY86" fmla="*/ 4610 h 700481"/>
                <a:gd name="connsiteX87" fmla="*/ 221772 w 874856"/>
                <a:gd name="connsiteY87" fmla="*/ 1403 h 700481"/>
                <a:gd name="connsiteX88" fmla="*/ 212902 w 874856"/>
                <a:gd name="connsiteY88" fmla="*/ 200 h 700481"/>
                <a:gd name="connsiteX89" fmla="*/ 210898 w 874856"/>
                <a:gd name="connsiteY89" fmla="*/ 0 h 700481"/>
                <a:gd name="connsiteX90" fmla="*/ 208593 w 874856"/>
                <a:gd name="connsiteY90" fmla="*/ 6314 h 700481"/>
                <a:gd name="connsiteX91" fmla="*/ 201728 w 874856"/>
                <a:gd name="connsiteY91" fmla="*/ 23502 h 700481"/>
                <a:gd name="connsiteX92" fmla="*/ 190854 w 874856"/>
                <a:gd name="connsiteY92" fmla="*/ 34726 h 700481"/>
                <a:gd name="connsiteX93" fmla="*/ 176272 w 874856"/>
                <a:gd name="connsiteY93" fmla="*/ 53618 h 700481"/>
                <a:gd name="connsiteX94" fmla="*/ 152319 w 874856"/>
                <a:gd name="connsiteY94" fmla="*/ 107737 h 700481"/>
                <a:gd name="connsiteX95" fmla="*/ 145955 w 874856"/>
                <a:gd name="connsiteY95" fmla="*/ 118210 h 700481"/>
                <a:gd name="connsiteX96" fmla="*/ 126362 w 874856"/>
                <a:gd name="connsiteY96" fmla="*/ 129234 h 700481"/>
                <a:gd name="connsiteX97" fmla="*/ 124157 w 874856"/>
                <a:gd name="connsiteY97" fmla="*/ 129234 h 700481"/>
                <a:gd name="connsiteX98" fmla="*/ 114837 w 874856"/>
                <a:gd name="connsiteY98" fmla="*/ 129334 h 700481"/>
                <a:gd name="connsiteX99" fmla="*/ 97499 w 874856"/>
                <a:gd name="connsiteY99" fmla="*/ 129334 h 700481"/>
                <a:gd name="connsiteX100" fmla="*/ 72143 w 874856"/>
                <a:gd name="connsiteY100" fmla="*/ 139256 h 700481"/>
                <a:gd name="connsiteX101" fmla="*/ 20279 w 874856"/>
                <a:gd name="connsiteY101" fmla="*/ 191220 h 700481"/>
                <a:gd name="connsiteX102" fmla="*/ 10808 w 874856"/>
                <a:gd name="connsiteY102" fmla="*/ 212066 h 700481"/>
                <a:gd name="connsiteX103" fmla="*/ 8553 w 874856"/>
                <a:gd name="connsiteY103" fmla="*/ 226949 h 700481"/>
                <a:gd name="connsiteX104" fmla="*/ 1187 w 874856"/>
                <a:gd name="connsiteY104" fmla="*/ 276457 h 700481"/>
                <a:gd name="connsiteX105" fmla="*/ 1538 w 874856"/>
                <a:gd name="connsiteY105" fmla="*/ 286279 h 700481"/>
                <a:gd name="connsiteX106" fmla="*/ 7351 w 874856"/>
                <a:gd name="connsiteY106" fmla="*/ 319502 h 700481"/>
                <a:gd name="connsiteX107" fmla="*/ 7952 w 874856"/>
                <a:gd name="connsiteY107" fmla="*/ 351673 h 700481"/>
                <a:gd name="connsiteX108" fmla="*/ 12262 w 874856"/>
                <a:gd name="connsiteY108" fmla="*/ 372368 h 700481"/>
                <a:gd name="connsiteX109" fmla="*/ 63825 w 874856"/>
                <a:gd name="connsiteY109" fmla="*/ 409700 h 700481"/>
                <a:gd name="connsiteX110" fmla="*/ 125410 w 874856"/>
                <a:gd name="connsiteY110" fmla="*/ 429894 h 700481"/>
                <a:gd name="connsiteX111" fmla="*/ 146907 w 874856"/>
                <a:gd name="connsiteY111" fmla="*/ 437211 h 700481"/>
                <a:gd name="connsiteX112" fmla="*/ 160638 w 874856"/>
                <a:gd name="connsiteY112" fmla="*/ 442272 h 700481"/>
                <a:gd name="connsiteX113" fmla="*/ 166651 w 874856"/>
                <a:gd name="connsiteY113" fmla="*/ 444577 h 700481"/>
                <a:gd name="connsiteX114" fmla="*/ 168705 w 874856"/>
                <a:gd name="connsiteY114" fmla="*/ 445328 h 700481"/>
                <a:gd name="connsiteX115" fmla="*/ 168405 w 874856"/>
                <a:gd name="connsiteY115" fmla="*/ 447483 h 700481"/>
                <a:gd name="connsiteX116" fmla="*/ 174819 w 874856"/>
                <a:gd name="connsiteY116" fmla="*/ 463067 h 700481"/>
                <a:gd name="connsiteX117" fmla="*/ 191154 w 874856"/>
                <a:gd name="connsiteY117" fmla="*/ 472288 h 700481"/>
                <a:gd name="connsiteX118" fmla="*/ 207741 w 874856"/>
                <a:gd name="connsiteY118" fmla="*/ 481658 h 700481"/>
                <a:gd name="connsiteX119" fmla="*/ 235452 w 874856"/>
                <a:gd name="connsiteY119" fmla="*/ 508567 h 700481"/>
                <a:gd name="connsiteX120" fmla="*/ 250585 w 874856"/>
                <a:gd name="connsiteY120" fmla="*/ 533121 h 700481"/>
                <a:gd name="connsiteX121" fmla="*/ 264065 w 874856"/>
                <a:gd name="connsiteY121" fmla="*/ 554819 h 700481"/>
                <a:gd name="connsiteX122" fmla="*/ 282806 w 874856"/>
                <a:gd name="connsiteY122" fmla="*/ 566795 h 700481"/>
                <a:gd name="connsiteX123" fmla="*/ 310116 w 874856"/>
                <a:gd name="connsiteY123" fmla="*/ 570554 h 700481"/>
                <a:gd name="connsiteX124" fmla="*/ 322644 w 874856"/>
                <a:gd name="connsiteY124" fmla="*/ 572458 h 700481"/>
                <a:gd name="connsiteX125" fmla="*/ 341034 w 874856"/>
                <a:gd name="connsiteY125" fmla="*/ 589245 h 700481"/>
                <a:gd name="connsiteX126" fmla="*/ 345494 w 874856"/>
                <a:gd name="connsiteY126" fmla="*/ 604278 h 700481"/>
                <a:gd name="connsiteX127" fmla="*/ 347197 w 874856"/>
                <a:gd name="connsiteY127" fmla="*/ 609389 h 700481"/>
                <a:gd name="connsiteX128" fmla="*/ 383928 w 874856"/>
                <a:gd name="connsiteY128" fmla="*/ 611694 h 700481"/>
                <a:gd name="connsiteX129" fmla="*/ 398410 w 874856"/>
                <a:gd name="connsiteY129" fmla="*/ 611493 h 700481"/>
                <a:gd name="connsiteX130" fmla="*/ 405526 w 874856"/>
                <a:gd name="connsiteY130" fmla="*/ 609138 h 700481"/>
                <a:gd name="connsiteX131" fmla="*/ 427775 w 874856"/>
                <a:gd name="connsiteY131" fmla="*/ 602223 h 700481"/>
                <a:gd name="connsiteX132" fmla="*/ 445063 w 874856"/>
                <a:gd name="connsiteY132" fmla="*/ 603927 h 700481"/>
                <a:gd name="connsiteX133" fmla="*/ 448871 w 874856"/>
                <a:gd name="connsiteY133" fmla="*/ 604478 h 700481"/>
                <a:gd name="connsiteX134" fmla="*/ 460546 w 874856"/>
                <a:gd name="connsiteY134" fmla="*/ 627779 h 700481"/>
                <a:gd name="connsiteX135" fmla="*/ 459294 w 874856"/>
                <a:gd name="connsiteY135" fmla="*/ 629132 h 700481"/>
                <a:gd name="connsiteX136" fmla="*/ 450625 w 874856"/>
                <a:gd name="connsiteY136" fmla="*/ 656593 h 700481"/>
                <a:gd name="connsiteX137" fmla="*/ 443459 w 874856"/>
                <a:gd name="connsiteY137" fmla="*/ 685256 h 700481"/>
                <a:gd name="connsiteX138" fmla="*/ 441805 w 874856"/>
                <a:gd name="connsiteY138" fmla="*/ 691870 h 700481"/>
                <a:gd name="connsiteX139" fmla="*/ 441805 w 874856"/>
                <a:gd name="connsiteY139" fmla="*/ 691870 h 70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874856" h="700481">
                  <a:moveTo>
                    <a:pt x="441956" y="692121"/>
                  </a:moveTo>
                  <a:cubicBezTo>
                    <a:pt x="442557" y="695929"/>
                    <a:pt x="443960" y="699337"/>
                    <a:pt x="445313" y="700088"/>
                  </a:cubicBezTo>
                  <a:cubicBezTo>
                    <a:pt x="446666" y="700890"/>
                    <a:pt x="450875" y="700439"/>
                    <a:pt x="452880" y="698986"/>
                  </a:cubicBezTo>
                  <a:cubicBezTo>
                    <a:pt x="455335" y="697182"/>
                    <a:pt x="457239" y="694125"/>
                    <a:pt x="459043" y="691119"/>
                  </a:cubicBezTo>
                  <a:cubicBezTo>
                    <a:pt x="459494" y="690317"/>
                    <a:pt x="459995" y="689565"/>
                    <a:pt x="460446" y="688813"/>
                  </a:cubicBezTo>
                  <a:cubicBezTo>
                    <a:pt x="461499" y="687160"/>
                    <a:pt x="462100" y="685055"/>
                    <a:pt x="462751" y="682900"/>
                  </a:cubicBezTo>
                  <a:cubicBezTo>
                    <a:pt x="464054" y="678441"/>
                    <a:pt x="465708" y="672878"/>
                    <a:pt x="472022" y="669822"/>
                  </a:cubicBezTo>
                  <a:lnTo>
                    <a:pt x="473174" y="669271"/>
                  </a:lnTo>
                  <a:lnTo>
                    <a:pt x="474327" y="669822"/>
                  </a:lnTo>
                  <a:cubicBezTo>
                    <a:pt x="475680" y="670473"/>
                    <a:pt x="477033" y="671275"/>
                    <a:pt x="478386" y="672077"/>
                  </a:cubicBezTo>
                  <a:cubicBezTo>
                    <a:pt x="480891" y="673580"/>
                    <a:pt x="483497" y="675133"/>
                    <a:pt x="485652" y="675184"/>
                  </a:cubicBezTo>
                  <a:cubicBezTo>
                    <a:pt x="501286" y="675484"/>
                    <a:pt x="517221" y="675184"/>
                    <a:pt x="532605" y="674983"/>
                  </a:cubicBezTo>
                  <a:cubicBezTo>
                    <a:pt x="537866" y="674933"/>
                    <a:pt x="543128" y="674833"/>
                    <a:pt x="548390" y="674783"/>
                  </a:cubicBezTo>
                  <a:cubicBezTo>
                    <a:pt x="559414" y="667466"/>
                    <a:pt x="570288" y="671275"/>
                    <a:pt x="580811" y="674933"/>
                  </a:cubicBezTo>
                  <a:lnTo>
                    <a:pt x="582364" y="675484"/>
                  </a:lnTo>
                  <a:cubicBezTo>
                    <a:pt x="583917" y="674031"/>
                    <a:pt x="585471" y="672628"/>
                    <a:pt x="587024" y="671275"/>
                  </a:cubicBezTo>
                  <a:cubicBezTo>
                    <a:pt x="591184" y="667517"/>
                    <a:pt x="595092" y="664009"/>
                    <a:pt x="598800" y="660201"/>
                  </a:cubicBezTo>
                  <a:cubicBezTo>
                    <a:pt x="605515" y="653285"/>
                    <a:pt x="614084" y="646871"/>
                    <a:pt x="626862" y="651531"/>
                  </a:cubicBezTo>
                  <a:cubicBezTo>
                    <a:pt x="629618" y="652534"/>
                    <a:pt x="632474" y="652784"/>
                    <a:pt x="634178" y="652183"/>
                  </a:cubicBezTo>
                  <a:cubicBezTo>
                    <a:pt x="644300" y="648675"/>
                    <a:pt x="654573" y="648926"/>
                    <a:pt x="664495" y="649176"/>
                  </a:cubicBezTo>
                  <a:cubicBezTo>
                    <a:pt x="667952" y="649276"/>
                    <a:pt x="671410" y="649327"/>
                    <a:pt x="674867" y="649276"/>
                  </a:cubicBezTo>
                  <a:cubicBezTo>
                    <a:pt x="676822" y="649276"/>
                    <a:pt x="678776" y="649276"/>
                    <a:pt x="680680" y="649227"/>
                  </a:cubicBezTo>
                  <a:cubicBezTo>
                    <a:pt x="693458" y="649176"/>
                    <a:pt x="705485" y="649076"/>
                    <a:pt x="715507" y="641309"/>
                  </a:cubicBezTo>
                  <a:lnTo>
                    <a:pt x="716759" y="640307"/>
                  </a:lnTo>
                  <a:lnTo>
                    <a:pt x="751836" y="655741"/>
                  </a:lnTo>
                  <a:cubicBezTo>
                    <a:pt x="754943" y="654187"/>
                    <a:pt x="757900" y="652584"/>
                    <a:pt x="760806" y="651030"/>
                  </a:cubicBezTo>
                  <a:cubicBezTo>
                    <a:pt x="767972" y="647172"/>
                    <a:pt x="774737" y="643514"/>
                    <a:pt x="781953" y="641059"/>
                  </a:cubicBezTo>
                  <a:cubicBezTo>
                    <a:pt x="786763" y="639405"/>
                    <a:pt x="791774" y="639405"/>
                    <a:pt x="796685" y="639455"/>
                  </a:cubicBezTo>
                  <a:cubicBezTo>
                    <a:pt x="802648" y="639455"/>
                    <a:pt x="808311" y="639455"/>
                    <a:pt x="813723" y="636749"/>
                  </a:cubicBezTo>
                  <a:lnTo>
                    <a:pt x="814825" y="633993"/>
                  </a:lnTo>
                  <a:cubicBezTo>
                    <a:pt x="822392" y="615151"/>
                    <a:pt x="830259" y="595709"/>
                    <a:pt x="841884" y="577719"/>
                  </a:cubicBezTo>
                  <a:lnTo>
                    <a:pt x="842536" y="576717"/>
                  </a:lnTo>
                  <a:lnTo>
                    <a:pt x="843688" y="576517"/>
                  </a:lnTo>
                  <a:cubicBezTo>
                    <a:pt x="848549" y="575665"/>
                    <a:pt x="853109" y="574813"/>
                    <a:pt x="857719" y="573961"/>
                  </a:cubicBezTo>
                  <a:cubicBezTo>
                    <a:pt x="863281" y="572909"/>
                    <a:pt x="866188" y="569802"/>
                    <a:pt x="867641" y="563338"/>
                  </a:cubicBezTo>
                  <a:cubicBezTo>
                    <a:pt x="868844" y="558076"/>
                    <a:pt x="870648" y="553015"/>
                    <a:pt x="872552" y="547703"/>
                  </a:cubicBezTo>
                  <a:cubicBezTo>
                    <a:pt x="873303" y="545549"/>
                    <a:pt x="874105" y="543344"/>
                    <a:pt x="874857" y="541089"/>
                  </a:cubicBezTo>
                  <a:cubicBezTo>
                    <a:pt x="864083" y="505260"/>
                    <a:pt x="863181" y="503857"/>
                    <a:pt x="837775" y="478151"/>
                  </a:cubicBezTo>
                  <a:cubicBezTo>
                    <a:pt x="837425" y="477800"/>
                    <a:pt x="837074" y="477399"/>
                    <a:pt x="836723" y="477048"/>
                  </a:cubicBezTo>
                  <a:cubicBezTo>
                    <a:pt x="836021" y="476296"/>
                    <a:pt x="835370" y="475595"/>
                    <a:pt x="834718" y="475094"/>
                  </a:cubicBezTo>
                  <a:cubicBezTo>
                    <a:pt x="823795" y="466976"/>
                    <a:pt x="819385" y="455200"/>
                    <a:pt x="821089" y="439015"/>
                  </a:cubicBezTo>
                  <a:cubicBezTo>
                    <a:pt x="823243" y="418670"/>
                    <a:pt x="828706" y="396271"/>
                    <a:pt x="852808" y="384445"/>
                  </a:cubicBezTo>
                  <a:cubicBezTo>
                    <a:pt x="857819" y="381989"/>
                    <a:pt x="862580" y="378582"/>
                    <a:pt x="867190" y="375274"/>
                  </a:cubicBezTo>
                  <a:cubicBezTo>
                    <a:pt x="868794" y="374122"/>
                    <a:pt x="870397" y="372969"/>
                    <a:pt x="872051" y="371817"/>
                  </a:cubicBezTo>
                  <a:cubicBezTo>
                    <a:pt x="867441" y="358087"/>
                    <a:pt x="859423" y="350370"/>
                    <a:pt x="847046" y="347614"/>
                  </a:cubicBezTo>
                  <a:cubicBezTo>
                    <a:pt x="831862" y="344156"/>
                    <a:pt x="826200" y="332130"/>
                    <a:pt x="822642" y="320755"/>
                  </a:cubicBezTo>
                  <a:cubicBezTo>
                    <a:pt x="821389" y="316846"/>
                    <a:pt x="820838" y="312336"/>
                    <a:pt x="821039" y="308177"/>
                  </a:cubicBezTo>
                  <a:cubicBezTo>
                    <a:pt x="821790" y="293094"/>
                    <a:pt x="815326" y="283272"/>
                    <a:pt x="801245" y="278211"/>
                  </a:cubicBezTo>
                  <a:cubicBezTo>
                    <a:pt x="793378" y="275405"/>
                    <a:pt x="788166" y="270845"/>
                    <a:pt x="785761" y="264731"/>
                  </a:cubicBezTo>
                  <a:cubicBezTo>
                    <a:pt x="781752" y="254659"/>
                    <a:pt x="773133" y="251503"/>
                    <a:pt x="763863" y="248947"/>
                  </a:cubicBezTo>
                  <a:cubicBezTo>
                    <a:pt x="760055" y="247895"/>
                    <a:pt x="756196" y="246993"/>
                    <a:pt x="752338" y="246091"/>
                  </a:cubicBezTo>
                  <a:cubicBezTo>
                    <a:pt x="744721" y="244287"/>
                    <a:pt x="736854" y="242383"/>
                    <a:pt x="729437" y="239526"/>
                  </a:cubicBezTo>
                  <a:cubicBezTo>
                    <a:pt x="712600" y="233062"/>
                    <a:pt x="697868" y="232511"/>
                    <a:pt x="682985" y="237873"/>
                  </a:cubicBezTo>
                  <a:cubicBezTo>
                    <a:pt x="674416" y="240929"/>
                    <a:pt x="666699" y="240779"/>
                    <a:pt x="660085" y="237321"/>
                  </a:cubicBezTo>
                  <a:cubicBezTo>
                    <a:pt x="657379" y="235918"/>
                    <a:pt x="654573" y="234615"/>
                    <a:pt x="651767" y="233313"/>
                  </a:cubicBezTo>
                  <a:cubicBezTo>
                    <a:pt x="642947" y="229254"/>
                    <a:pt x="633827" y="225044"/>
                    <a:pt x="625709" y="216776"/>
                  </a:cubicBezTo>
                  <a:lnTo>
                    <a:pt x="624958" y="215974"/>
                  </a:lnTo>
                  <a:lnTo>
                    <a:pt x="624958" y="214872"/>
                  </a:lnTo>
                  <a:cubicBezTo>
                    <a:pt x="624958" y="209460"/>
                    <a:pt x="624958" y="203898"/>
                    <a:pt x="624958" y="198336"/>
                  </a:cubicBezTo>
                  <a:cubicBezTo>
                    <a:pt x="625008" y="185608"/>
                    <a:pt x="625058" y="172429"/>
                    <a:pt x="624858" y="159350"/>
                  </a:cubicBezTo>
                  <a:cubicBezTo>
                    <a:pt x="624757" y="153086"/>
                    <a:pt x="624858" y="146823"/>
                    <a:pt x="624958" y="140609"/>
                  </a:cubicBezTo>
                  <a:cubicBezTo>
                    <a:pt x="625158" y="127630"/>
                    <a:pt x="625359" y="115353"/>
                    <a:pt x="623955" y="103377"/>
                  </a:cubicBezTo>
                  <a:lnTo>
                    <a:pt x="573745" y="74965"/>
                  </a:lnTo>
                  <a:lnTo>
                    <a:pt x="509755" y="110493"/>
                  </a:lnTo>
                  <a:lnTo>
                    <a:pt x="508502" y="109891"/>
                  </a:lnTo>
                  <a:cubicBezTo>
                    <a:pt x="506147" y="108739"/>
                    <a:pt x="503892" y="107787"/>
                    <a:pt x="501737" y="106885"/>
                  </a:cubicBezTo>
                  <a:cubicBezTo>
                    <a:pt x="497177" y="104931"/>
                    <a:pt x="492918" y="103126"/>
                    <a:pt x="489510" y="100170"/>
                  </a:cubicBezTo>
                  <a:cubicBezTo>
                    <a:pt x="482345" y="93956"/>
                    <a:pt x="474126" y="91451"/>
                    <a:pt x="462952" y="92102"/>
                  </a:cubicBezTo>
                  <a:cubicBezTo>
                    <a:pt x="461148" y="92202"/>
                    <a:pt x="459394" y="92102"/>
                    <a:pt x="457640" y="92052"/>
                  </a:cubicBezTo>
                  <a:cubicBezTo>
                    <a:pt x="456237" y="92002"/>
                    <a:pt x="454834" y="91952"/>
                    <a:pt x="453431" y="91952"/>
                  </a:cubicBezTo>
                  <a:cubicBezTo>
                    <a:pt x="444662" y="92202"/>
                    <a:pt x="438198" y="87943"/>
                    <a:pt x="434389" y="79324"/>
                  </a:cubicBezTo>
                  <a:cubicBezTo>
                    <a:pt x="431232" y="72259"/>
                    <a:pt x="428125" y="65193"/>
                    <a:pt x="425019" y="58027"/>
                  </a:cubicBezTo>
                  <a:cubicBezTo>
                    <a:pt x="423465" y="58278"/>
                    <a:pt x="421962" y="58478"/>
                    <a:pt x="420559" y="58729"/>
                  </a:cubicBezTo>
                  <a:cubicBezTo>
                    <a:pt x="416550" y="59330"/>
                    <a:pt x="413142" y="59831"/>
                    <a:pt x="409885" y="60783"/>
                  </a:cubicBezTo>
                  <a:cubicBezTo>
                    <a:pt x="399011" y="64091"/>
                    <a:pt x="387987" y="63990"/>
                    <a:pt x="377314" y="63940"/>
                  </a:cubicBezTo>
                  <a:cubicBezTo>
                    <a:pt x="374608" y="63940"/>
                    <a:pt x="371902" y="63940"/>
                    <a:pt x="369196" y="63940"/>
                  </a:cubicBezTo>
                  <a:cubicBezTo>
                    <a:pt x="360877" y="63990"/>
                    <a:pt x="355015" y="60282"/>
                    <a:pt x="350405" y="56624"/>
                  </a:cubicBezTo>
                  <a:cubicBezTo>
                    <a:pt x="342136" y="49960"/>
                    <a:pt x="336324" y="40639"/>
                    <a:pt x="332666" y="28162"/>
                  </a:cubicBezTo>
                  <a:cubicBezTo>
                    <a:pt x="326402" y="25907"/>
                    <a:pt x="321391" y="28162"/>
                    <a:pt x="316029" y="30467"/>
                  </a:cubicBezTo>
                  <a:cubicBezTo>
                    <a:pt x="312371" y="32070"/>
                    <a:pt x="308562" y="33774"/>
                    <a:pt x="304303" y="33924"/>
                  </a:cubicBezTo>
                  <a:lnTo>
                    <a:pt x="303401" y="33924"/>
                  </a:lnTo>
                  <a:cubicBezTo>
                    <a:pt x="303401" y="33924"/>
                    <a:pt x="302649" y="33474"/>
                    <a:pt x="302649" y="33474"/>
                  </a:cubicBezTo>
                  <a:cubicBezTo>
                    <a:pt x="299643" y="31469"/>
                    <a:pt x="296686" y="29314"/>
                    <a:pt x="293730" y="27160"/>
                  </a:cubicBezTo>
                  <a:cubicBezTo>
                    <a:pt x="287065" y="22299"/>
                    <a:pt x="280802" y="17739"/>
                    <a:pt x="273786" y="14632"/>
                  </a:cubicBezTo>
                  <a:cubicBezTo>
                    <a:pt x="266620" y="11475"/>
                    <a:pt x="258502" y="9771"/>
                    <a:pt x="250685" y="8168"/>
                  </a:cubicBezTo>
                  <a:cubicBezTo>
                    <a:pt x="247128" y="7416"/>
                    <a:pt x="243520" y="6664"/>
                    <a:pt x="240012" y="5813"/>
                  </a:cubicBezTo>
                  <a:lnTo>
                    <a:pt x="235301" y="4610"/>
                  </a:lnTo>
                  <a:cubicBezTo>
                    <a:pt x="230892" y="3458"/>
                    <a:pt x="226282" y="2305"/>
                    <a:pt x="221772" y="1403"/>
                  </a:cubicBezTo>
                  <a:cubicBezTo>
                    <a:pt x="218866" y="802"/>
                    <a:pt x="215859" y="501"/>
                    <a:pt x="212902" y="200"/>
                  </a:cubicBezTo>
                  <a:cubicBezTo>
                    <a:pt x="212251" y="150"/>
                    <a:pt x="211549" y="50"/>
                    <a:pt x="210898" y="0"/>
                  </a:cubicBezTo>
                  <a:cubicBezTo>
                    <a:pt x="210096" y="2155"/>
                    <a:pt x="209344" y="4259"/>
                    <a:pt x="208593" y="6314"/>
                  </a:cubicBezTo>
                  <a:cubicBezTo>
                    <a:pt x="206438" y="12377"/>
                    <a:pt x="204384" y="18090"/>
                    <a:pt x="201728" y="23502"/>
                  </a:cubicBezTo>
                  <a:cubicBezTo>
                    <a:pt x="199573" y="27961"/>
                    <a:pt x="195564" y="33223"/>
                    <a:pt x="190854" y="34726"/>
                  </a:cubicBezTo>
                  <a:cubicBezTo>
                    <a:pt x="182435" y="37382"/>
                    <a:pt x="177926" y="43245"/>
                    <a:pt x="176272" y="53618"/>
                  </a:cubicBezTo>
                  <a:cubicBezTo>
                    <a:pt x="173015" y="74163"/>
                    <a:pt x="162492" y="91250"/>
                    <a:pt x="152319" y="107737"/>
                  </a:cubicBezTo>
                  <a:cubicBezTo>
                    <a:pt x="150164" y="111244"/>
                    <a:pt x="148010" y="114702"/>
                    <a:pt x="145955" y="118210"/>
                  </a:cubicBezTo>
                  <a:cubicBezTo>
                    <a:pt x="141596" y="125526"/>
                    <a:pt x="135031" y="129234"/>
                    <a:pt x="126362" y="129234"/>
                  </a:cubicBezTo>
                  <a:cubicBezTo>
                    <a:pt x="125611" y="129234"/>
                    <a:pt x="124909" y="129234"/>
                    <a:pt x="124157" y="129234"/>
                  </a:cubicBezTo>
                  <a:cubicBezTo>
                    <a:pt x="121051" y="129234"/>
                    <a:pt x="117944" y="129284"/>
                    <a:pt x="114837" y="129334"/>
                  </a:cubicBezTo>
                  <a:cubicBezTo>
                    <a:pt x="109174" y="129434"/>
                    <a:pt x="103312" y="129535"/>
                    <a:pt x="97499" y="129334"/>
                  </a:cubicBezTo>
                  <a:cubicBezTo>
                    <a:pt x="86976" y="128883"/>
                    <a:pt x="79159" y="131940"/>
                    <a:pt x="72143" y="139256"/>
                  </a:cubicBezTo>
                  <a:cubicBezTo>
                    <a:pt x="55457" y="156694"/>
                    <a:pt x="38118" y="173782"/>
                    <a:pt x="20279" y="191220"/>
                  </a:cubicBezTo>
                  <a:cubicBezTo>
                    <a:pt x="13464" y="197885"/>
                    <a:pt x="10558" y="204299"/>
                    <a:pt x="10808" y="212066"/>
                  </a:cubicBezTo>
                  <a:cubicBezTo>
                    <a:pt x="10959" y="215924"/>
                    <a:pt x="10658" y="221637"/>
                    <a:pt x="8553" y="226949"/>
                  </a:cubicBezTo>
                  <a:cubicBezTo>
                    <a:pt x="-416" y="249498"/>
                    <a:pt x="-1268" y="255060"/>
                    <a:pt x="1187" y="276457"/>
                  </a:cubicBezTo>
                  <a:cubicBezTo>
                    <a:pt x="1588" y="279865"/>
                    <a:pt x="1588" y="283322"/>
                    <a:pt x="1538" y="286279"/>
                  </a:cubicBezTo>
                  <a:cubicBezTo>
                    <a:pt x="1288" y="297103"/>
                    <a:pt x="1839" y="308578"/>
                    <a:pt x="7351" y="319502"/>
                  </a:cubicBezTo>
                  <a:cubicBezTo>
                    <a:pt x="12662" y="330025"/>
                    <a:pt x="12863" y="341751"/>
                    <a:pt x="7952" y="351673"/>
                  </a:cubicBezTo>
                  <a:cubicBezTo>
                    <a:pt x="3843" y="359941"/>
                    <a:pt x="6699" y="365954"/>
                    <a:pt x="12262" y="372368"/>
                  </a:cubicBezTo>
                  <a:cubicBezTo>
                    <a:pt x="24739" y="386900"/>
                    <a:pt x="40574" y="402685"/>
                    <a:pt x="63825" y="409700"/>
                  </a:cubicBezTo>
                  <a:cubicBezTo>
                    <a:pt x="84520" y="415964"/>
                    <a:pt x="105316" y="423029"/>
                    <a:pt x="125410" y="429894"/>
                  </a:cubicBezTo>
                  <a:cubicBezTo>
                    <a:pt x="132576" y="432350"/>
                    <a:pt x="139742" y="434805"/>
                    <a:pt x="146907" y="437211"/>
                  </a:cubicBezTo>
                  <a:cubicBezTo>
                    <a:pt x="151518" y="438764"/>
                    <a:pt x="156128" y="440518"/>
                    <a:pt x="160638" y="442272"/>
                  </a:cubicBezTo>
                  <a:cubicBezTo>
                    <a:pt x="162642" y="443023"/>
                    <a:pt x="164646" y="443825"/>
                    <a:pt x="166651" y="444577"/>
                  </a:cubicBezTo>
                  <a:lnTo>
                    <a:pt x="168705" y="445328"/>
                  </a:lnTo>
                  <a:lnTo>
                    <a:pt x="168405" y="447483"/>
                  </a:lnTo>
                  <a:cubicBezTo>
                    <a:pt x="167152" y="455801"/>
                    <a:pt x="168906" y="460011"/>
                    <a:pt x="174819" y="463067"/>
                  </a:cubicBezTo>
                  <a:cubicBezTo>
                    <a:pt x="180381" y="465924"/>
                    <a:pt x="185843" y="469181"/>
                    <a:pt x="191154" y="472288"/>
                  </a:cubicBezTo>
                  <a:cubicBezTo>
                    <a:pt x="196566" y="475495"/>
                    <a:pt x="202129" y="478752"/>
                    <a:pt x="207741" y="481658"/>
                  </a:cubicBezTo>
                  <a:cubicBezTo>
                    <a:pt x="219316" y="487571"/>
                    <a:pt x="228386" y="496391"/>
                    <a:pt x="235452" y="508567"/>
                  </a:cubicBezTo>
                  <a:cubicBezTo>
                    <a:pt x="240312" y="516886"/>
                    <a:pt x="245524" y="525104"/>
                    <a:pt x="250585" y="533121"/>
                  </a:cubicBezTo>
                  <a:cubicBezTo>
                    <a:pt x="255045" y="540187"/>
                    <a:pt x="259705" y="547453"/>
                    <a:pt x="264065" y="554819"/>
                  </a:cubicBezTo>
                  <a:cubicBezTo>
                    <a:pt x="268575" y="562386"/>
                    <a:pt x="274187" y="565944"/>
                    <a:pt x="282806" y="566795"/>
                  </a:cubicBezTo>
                  <a:cubicBezTo>
                    <a:pt x="291976" y="567697"/>
                    <a:pt x="301196" y="569150"/>
                    <a:pt x="310116" y="570554"/>
                  </a:cubicBezTo>
                  <a:cubicBezTo>
                    <a:pt x="314275" y="571205"/>
                    <a:pt x="318484" y="571857"/>
                    <a:pt x="322644" y="572458"/>
                  </a:cubicBezTo>
                  <a:cubicBezTo>
                    <a:pt x="332916" y="573961"/>
                    <a:pt x="338929" y="579473"/>
                    <a:pt x="341034" y="589245"/>
                  </a:cubicBezTo>
                  <a:cubicBezTo>
                    <a:pt x="342136" y="594356"/>
                    <a:pt x="343840" y="599417"/>
                    <a:pt x="345494" y="604278"/>
                  </a:cubicBezTo>
                  <a:cubicBezTo>
                    <a:pt x="346095" y="605981"/>
                    <a:pt x="346646" y="607685"/>
                    <a:pt x="347197" y="609389"/>
                  </a:cubicBezTo>
                  <a:cubicBezTo>
                    <a:pt x="359825" y="612345"/>
                    <a:pt x="372052" y="612045"/>
                    <a:pt x="383928" y="611694"/>
                  </a:cubicBezTo>
                  <a:cubicBezTo>
                    <a:pt x="388789" y="611544"/>
                    <a:pt x="393599" y="611443"/>
                    <a:pt x="398410" y="611493"/>
                  </a:cubicBezTo>
                  <a:cubicBezTo>
                    <a:pt x="400665" y="611544"/>
                    <a:pt x="403521" y="610592"/>
                    <a:pt x="405526" y="609138"/>
                  </a:cubicBezTo>
                  <a:cubicBezTo>
                    <a:pt x="412641" y="603827"/>
                    <a:pt x="420108" y="602223"/>
                    <a:pt x="427775" y="602223"/>
                  </a:cubicBezTo>
                  <a:cubicBezTo>
                    <a:pt x="433387" y="602223"/>
                    <a:pt x="439150" y="603075"/>
                    <a:pt x="445063" y="603927"/>
                  </a:cubicBezTo>
                  <a:lnTo>
                    <a:pt x="448871" y="604478"/>
                  </a:lnTo>
                  <a:lnTo>
                    <a:pt x="460546" y="627779"/>
                  </a:lnTo>
                  <a:lnTo>
                    <a:pt x="459294" y="629132"/>
                  </a:lnTo>
                  <a:cubicBezTo>
                    <a:pt x="451176" y="637851"/>
                    <a:pt x="450324" y="647472"/>
                    <a:pt x="450625" y="656593"/>
                  </a:cubicBezTo>
                  <a:cubicBezTo>
                    <a:pt x="450925" y="665362"/>
                    <a:pt x="451326" y="676286"/>
                    <a:pt x="443459" y="685256"/>
                  </a:cubicBezTo>
                  <a:cubicBezTo>
                    <a:pt x="442256" y="686608"/>
                    <a:pt x="441505" y="689715"/>
                    <a:pt x="441805" y="691870"/>
                  </a:cubicBezTo>
                  <a:lnTo>
                    <a:pt x="441805" y="69187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23" name="Полилиния: фигура 122">
              <a:extLst>
                <a:ext uri="{FF2B5EF4-FFF2-40B4-BE49-F238E27FC236}">
                  <a16:creationId xmlns:a16="http://schemas.microsoft.com/office/drawing/2014/main" id="{E1C7699B-7F59-4F61-B6DE-BC257EABB6A5}"/>
                </a:ext>
              </a:extLst>
            </p:cNvPr>
            <p:cNvSpPr/>
            <p:nvPr/>
          </p:nvSpPr>
          <p:spPr>
            <a:xfrm>
              <a:off x="3140485" y="3357681"/>
              <a:ext cx="776320" cy="903027"/>
            </a:xfrm>
            <a:custGeom>
              <a:avLst/>
              <a:gdLst>
                <a:gd name="connsiteX0" fmla="*/ 613520 w 622489"/>
                <a:gd name="connsiteY0" fmla="*/ 525954 h 724089"/>
                <a:gd name="connsiteX1" fmla="*/ 613520 w 622489"/>
                <a:gd name="connsiteY1" fmla="*/ 491529 h 724089"/>
                <a:gd name="connsiteX2" fmla="*/ 613520 w 622489"/>
                <a:gd name="connsiteY2" fmla="*/ 459759 h 724089"/>
                <a:gd name="connsiteX3" fmla="*/ 604250 w 622489"/>
                <a:gd name="connsiteY3" fmla="*/ 442321 h 724089"/>
                <a:gd name="connsiteX4" fmla="*/ 589317 w 622489"/>
                <a:gd name="connsiteY4" fmla="*/ 432148 h 724089"/>
                <a:gd name="connsiteX5" fmla="*/ 569022 w 622489"/>
                <a:gd name="connsiteY5" fmla="*/ 418569 h 724089"/>
                <a:gd name="connsiteX6" fmla="*/ 559301 w 622489"/>
                <a:gd name="connsiteY6" fmla="*/ 391208 h 724089"/>
                <a:gd name="connsiteX7" fmla="*/ 561305 w 622489"/>
                <a:gd name="connsiteY7" fmla="*/ 384995 h 724089"/>
                <a:gd name="connsiteX8" fmla="*/ 564211 w 622489"/>
                <a:gd name="connsiteY8" fmla="*/ 375524 h 724089"/>
                <a:gd name="connsiteX9" fmla="*/ 565865 w 622489"/>
                <a:gd name="connsiteY9" fmla="*/ 369060 h 724089"/>
                <a:gd name="connsiteX10" fmla="*/ 575386 w 622489"/>
                <a:gd name="connsiteY10" fmla="*/ 329723 h 724089"/>
                <a:gd name="connsiteX11" fmla="*/ 574835 w 622489"/>
                <a:gd name="connsiteY11" fmla="*/ 321505 h 724089"/>
                <a:gd name="connsiteX12" fmla="*/ 574334 w 622489"/>
                <a:gd name="connsiteY12" fmla="*/ 318649 h 724089"/>
                <a:gd name="connsiteX13" fmla="*/ 559601 w 622489"/>
                <a:gd name="connsiteY13" fmla="*/ 306973 h 724089"/>
                <a:gd name="connsiteX14" fmla="*/ 558749 w 622489"/>
                <a:gd name="connsiteY14" fmla="*/ 306322 h 724089"/>
                <a:gd name="connsiteX15" fmla="*/ 558148 w 622489"/>
                <a:gd name="connsiteY15" fmla="*/ 301962 h 724089"/>
                <a:gd name="connsiteX16" fmla="*/ 559852 w 622489"/>
                <a:gd name="connsiteY16" fmla="*/ 270744 h 724089"/>
                <a:gd name="connsiteX17" fmla="*/ 571177 w 622489"/>
                <a:gd name="connsiteY17" fmla="*/ 237220 h 724089"/>
                <a:gd name="connsiteX18" fmla="*/ 589417 w 622489"/>
                <a:gd name="connsiteY18" fmla="*/ 190818 h 724089"/>
                <a:gd name="connsiteX19" fmla="*/ 588665 w 622489"/>
                <a:gd name="connsiteY19" fmla="*/ 176136 h 724089"/>
                <a:gd name="connsiteX20" fmla="*/ 550381 w 622489"/>
                <a:gd name="connsiteY20" fmla="*/ 99167 h 724089"/>
                <a:gd name="connsiteX21" fmla="*/ 549629 w 622489"/>
                <a:gd name="connsiteY21" fmla="*/ 97313 h 724089"/>
                <a:gd name="connsiteX22" fmla="*/ 520064 w 622489"/>
                <a:gd name="connsiteY22" fmla="*/ 61434 h 724089"/>
                <a:gd name="connsiteX23" fmla="*/ 483584 w 622489"/>
                <a:gd name="connsiteY23" fmla="*/ 35376 h 724089"/>
                <a:gd name="connsiteX24" fmla="*/ 482883 w 622489"/>
                <a:gd name="connsiteY24" fmla="*/ 34675 h 724089"/>
                <a:gd name="connsiteX25" fmla="*/ 482482 w 622489"/>
                <a:gd name="connsiteY25" fmla="*/ 27359 h 724089"/>
                <a:gd name="connsiteX26" fmla="*/ 481830 w 622489"/>
                <a:gd name="connsiteY26" fmla="*/ 13729 h 724089"/>
                <a:gd name="connsiteX27" fmla="*/ 475517 w 622489"/>
                <a:gd name="connsiteY27" fmla="*/ 1452 h 724089"/>
                <a:gd name="connsiteX28" fmla="*/ 475517 w 622489"/>
                <a:gd name="connsiteY28" fmla="*/ 1452 h 724089"/>
                <a:gd name="connsiteX29" fmla="*/ 470105 w 622489"/>
                <a:gd name="connsiteY29" fmla="*/ 349 h 724089"/>
                <a:gd name="connsiteX30" fmla="*/ 469052 w 622489"/>
                <a:gd name="connsiteY30" fmla="*/ 1953 h 724089"/>
                <a:gd name="connsiteX31" fmla="*/ 452817 w 622489"/>
                <a:gd name="connsiteY31" fmla="*/ 31769 h 724089"/>
                <a:gd name="connsiteX32" fmla="*/ 451063 w 622489"/>
                <a:gd name="connsiteY32" fmla="*/ 33422 h 724089"/>
                <a:gd name="connsiteX33" fmla="*/ 444849 w 622489"/>
                <a:gd name="connsiteY33" fmla="*/ 39937 h 724089"/>
                <a:gd name="connsiteX34" fmla="*/ 421298 w 622489"/>
                <a:gd name="connsiteY34" fmla="*/ 88994 h 724089"/>
                <a:gd name="connsiteX35" fmla="*/ 409371 w 622489"/>
                <a:gd name="connsiteY35" fmla="*/ 113097 h 724089"/>
                <a:gd name="connsiteX36" fmla="*/ 402857 w 622489"/>
                <a:gd name="connsiteY36" fmla="*/ 119511 h 724089"/>
                <a:gd name="connsiteX37" fmla="*/ 347636 w 622489"/>
                <a:gd name="connsiteY37" fmla="*/ 174983 h 724089"/>
                <a:gd name="connsiteX38" fmla="*/ 299580 w 622489"/>
                <a:gd name="connsiteY38" fmla="*/ 210261 h 724089"/>
                <a:gd name="connsiteX39" fmla="*/ 264302 w 622489"/>
                <a:gd name="connsiteY39" fmla="*/ 241630 h 724089"/>
                <a:gd name="connsiteX40" fmla="*/ 267359 w 622489"/>
                <a:gd name="connsiteY40" fmla="*/ 249898 h 724089"/>
                <a:gd name="connsiteX41" fmla="*/ 275527 w 622489"/>
                <a:gd name="connsiteY41" fmla="*/ 270694 h 724089"/>
                <a:gd name="connsiteX42" fmla="*/ 272521 w 622489"/>
                <a:gd name="connsiteY42" fmla="*/ 300008 h 724089"/>
                <a:gd name="connsiteX43" fmla="*/ 262549 w 622489"/>
                <a:gd name="connsiteY43" fmla="*/ 330876 h 724089"/>
                <a:gd name="connsiteX44" fmla="*/ 246062 w 622489"/>
                <a:gd name="connsiteY44" fmla="*/ 370463 h 724089"/>
                <a:gd name="connsiteX45" fmla="*/ 209833 w 622489"/>
                <a:gd name="connsiteY45" fmla="*/ 389455 h 724089"/>
                <a:gd name="connsiteX46" fmla="*/ 205824 w 622489"/>
                <a:gd name="connsiteY46" fmla="*/ 390306 h 724089"/>
                <a:gd name="connsiteX47" fmla="*/ 200512 w 622489"/>
                <a:gd name="connsiteY47" fmla="*/ 391359 h 724089"/>
                <a:gd name="connsiteX48" fmla="*/ 179967 w 622489"/>
                <a:gd name="connsiteY48" fmla="*/ 411803 h 724089"/>
                <a:gd name="connsiteX49" fmla="*/ 177161 w 622489"/>
                <a:gd name="connsiteY49" fmla="*/ 429041 h 724089"/>
                <a:gd name="connsiteX50" fmla="*/ 176109 w 622489"/>
                <a:gd name="connsiteY50" fmla="*/ 436358 h 724089"/>
                <a:gd name="connsiteX51" fmla="*/ 175808 w 622489"/>
                <a:gd name="connsiteY51" fmla="*/ 438212 h 724089"/>
                <a:gd name="connsiteX52" fmla="*/ 173954 w 622489"/>
                <a:gd name="connsiteY52" fmla="*/ 438613 h 724089"/>
                <a:gd name="connsiteX53" fmla="*/ 123643 w 622489"/>
                <a:gd name="connsiteY53" fmla="*/ 428991 h 724089"/>
                <a:gd name="connsiteX54" fmla="*/ 122741 w 622489"/>
                <a:gd name="connsiteY54" fmla="*/ 429492 h 724089"/>
                <a:gd name="connsiteX55" fmla="*/ 118532 w 622489"/>
                <a:gd name="connsiteY55" fmla="*/ 432399 h 724089"/>
                <a:gd name="connsiteX56" fmla="*/ 115325 w 622489"/>
                <a:gd name="connsiteY56" fmla="*/ 436157 h 724089"/>
                <a:gd name="connsiteX57" fmla="*/ 101445 w 622489"/>
                <a:gd name="connsiteY57" fmla="*/ 454297 h 724089"/>
                <a:gd name="connsiteX58" fmla="*/ 73132 w 622489"/>
                <a:gd name="connsiteY58" fmla="*/ 473138 h 724089"/>
                <a:gd name="connsiteX59" fmla="*/ 42766 w 622489"/>
                <a:gd name="connsiteY59" fmla="*/ 478550 h 724089"/>
                <a:gd name="connsiteX60" fmla="*/ 29988 w 622489"/>
                <a:gd name="connsiteY60" fmla="*/ 480905 h 724089"/>
                <a:gd name="connsiteX61" fmla="*/ 29186 w 622489"/>
                <a:gd name="connsiteY61" fmla="*/ 482559 h 724089"/>
                <a:gd name="connsiteX62" fmla="*/ 26831 w 622489"/>
                <a:gd name="connsiteY62" fmla="*/ 487871 h 724089"/>
                <a:gd name="connsiteX63" fmla="*/ 26430 w 622489"/>
                <a:gd name="connsiteY63" fmla="*/ 489123 h 724089"/>
                <a:gd name="connsiteX64" fmla="*/ 4732 w 622489"/>
                <a:gd name="connsiteY64" fmla="*/ 527808 h 724089"/>
                <a:gd name="connsiteX65" fmla="*/ 2277 w 622489"/>
                <a:gd name="connsiteY65" fmla="*/ 550358 h 724089"/>
                <a:gd name="connsiteX66" fmla="*/ 12349 w 622489"/>
                <a:gd name="connsiteY66" fmla="*/ 556321 h 724089"/>
                <a:gd name="connsiteX67" fmla="*/ 40360 w 622489"/>
                <a:gd name="connsiteY67" fmla="*/ 572857 h 724089"/>
                <a:gd name="connsiteX68" fmla="*/ 69525 w 622489"/>
                <a:gd name="connsiteY68" fmla="*/ 589594 h 724089"/>
                <a:gd name="connsiteX69" fmla="*/ 81601 w 622489"/>
                <a:gd name="connsiteY69" fmla="*/ 596510 h 724089"/>
                <a:gd name="connsiteX70" fmla="*/ 114924 w 622489"/>
                <a:gd name="connsiteY70" fmla="*/ 589244 h 724089"/>
                <a:gd name="connsiteX71" fmla="*/ 115475 w 622489"/>
                <a:gd name="connsiteY71" fmla="*/ 589494 h 724089"/>
                <a:gd name="connsiteX72" fmla="*/ 115876 w 622489"/>
                <a:gd name="connsiteY72" fmla="*/ 589995 h 724089"/>
                <a:gd name="connsiteX73" fmla="*/ 205022 w 622489"/>
                <a:gd name="connsiteY73" fmla="*/ 658596 h 724089"/>
                <a:gd name="connsiteX74" fmla="*/ 262749 w 622489"/>
                <a:gd name="connsiteY74" fmla="*/ 685355 h 724089"/>
                <a:gd name="connsiteX75" fmla="*/ 267159 w 622489"/>
                <a:gd name="connsiteY75" fmla="*/ 692671 h 724089"/>
                <a:gd name="connsiteX76" fmla="*/ 268612 w 622489"/>
                <a:gd name="connsiteY76" fmla="*/ 694725 h 724089"/>
                <a:gd name="connsiteX77" fmla="*/ 273723 w 622489"/>
                <a:gd name="connsiteY77" fmla="*/ 691518 h 724089"/>
                <a:gd name="connsiteX78" fmla="*/ 288205 w 622489"/>
                <a:gd name="connsiteY78" fmla="*/ 683400 h 724089"/>
                <a:gd name="connsiteX79" fmla="*/ 294970 w 622489"/>
                <a:gd name="connsiteY79" fmla="*/ 680594 h 724089"/>
                <a:gd name="connsiteX80" fmla="*/ 352296 w 622489"/>
                <a:gd name="connsiteY80" fmla="*/ 691669 h 724089"/>
                <a:gd name="connsiteX81" fmla="*/ 353950 w 622489"/>
                <a:gd name="connsiteY81" fmla="*/ 693222 h 724089"/>
                <a:gd name="connsiteX82" fmla="*/ 366327 w 622489"/>
                <a:gd name="connsiteY82" fmla="*/ 699987 h 724089"/>
                <a:gd name="connsiteX83" fmla="*/ 368130 w 622489"/>
                <a:gd name="connsiteY83" fmla="*/ 699937 h 724089"/>
                <a:gd name="connsiteX84" fmla="*/ 392434 w 622489"/>
                <a:gd name="connsiteY84" fmla="*/ 713016 h 724089"/>
                <a:gd name="connsiteX85" fmla="*/ 402005 w 622489"/>
                <a:gd name="connsiteY85" fmla="*/ 721384 h 724089"/>
                <a:gd name="connsiteX86" fmla="*/ 405262 w 622489"/>
                <a:gd name="connsiteY86" fmla="*/ 724090 h 724089"/>
                <a:gd name="connsiteX87" fmla="*/ 407116 w 622489"/>
                <a:gd name="connsiteY87" fmla="*/ 723589 h 724089"/>
                <a:gd name="connsiteX88" fmla="*/ 410423 w 622489"/>
                <a:gd name="connsiteY88" fmla="*/ 722386 h 724089"/>
                <a:gd name="connsiteX89" fmla="*/ 459030 w 622489"/>
                <a:gd name="connsiteY89" fmla="*/ 709508 h 724089"/>
                <a:gd name="connsiteX90" fmla="*/ 461887 w 622489"/>
                <a:gd name="connsiteY90" fmla="*/ 709658 h 724089"/>
                <a:gd name="connsiteX91" fmla="*/ 483133 w 622489"/>
                <a:gd name="connsiteY91" fmla="*/ 706752 h 724089"/>
                <a:gd name="connsiteX92" fmla="*/ 484486 w 622489"/>
                <a:gd name="connsiteY92" fmla="*/ 701741 h 724089"/>
                <a:gd name="connsiteX93" fmla="*/ 487543 w 622489"/>
                <a:gd name="connsiteY93" fmla="*/ 688211 h 724089"/>
                <a:gd name="connsiteX94" fmla="*/ 506084 w 622489"/>
                <a:gd name="connsiteY94" fmla="*/ 638903 h 724089"/>
                <a:gd name="connsiteX95" fmla="*/ 534346 w 622489"/>
                <a:gd name="connsiteY95" fmla="*/ 616654 h 724089"/>
                <a:gd name="connsiteX96" fmla="*/ 568772 w 622489"/>
                <a:gd name="connsiteY96" fmla="*/ 620512 h 724089"/>
                <a:gd name="connsiteX97" fmla="*/ 604851 w 622489"/>
                <a:gd name="connsiteY97" fmla="*/ 622015 h 724089"/>
                <a:gd name="connsiteX98" fmla="*/ 613169 w 622489"/>
                <a:gd name="connsiteY98" fmla="*/ 610340 h 724089"/>
                <a:gd name="connsiteX99" fmla="*/ 622489 w 622489"/>
                <a:gd name="connsiteY99" fmla="*/ 562084 h 724089"/>
                <a:gd name="connsiteX100" fmla="*/ 613369 w 622489"/>
                <a:gd name="connsiteY100" fmla="*/ 526005 h 72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622489" h="724089">
                  <a:moveTo>
                    <a:pt x="613520" y="525954"/>
                  </a:moveTo>
                  <a:cubicBezTo>
                    <a:pt x="613670" y="514479"/>
                    <a:pt x="613620" y="503004"/>
                    <a:pt x="613520" y="491529"/>
                  </a:cubicBezTo>
                  <a:cubicBezTo>
                    <a:pt x="613520" y="480905"/>
                    <a:pt x="613419" y="470332"/>
                    <a:pt x="613520" y="459759"/>
                  </a:cubicBezTo>
                  <a:cubicBezTo>
                    <a:pt x="613620" y="451892"/>
                    <a:pt x="610764" y="446530"/>
                    <a:pt x="604250" y="442321"/>
                  </a:cubicBezTo>
                  <a:cubicBezTo>
                    <a:pt x="599239" y="439013"/>
                    <a:pt x="594277" y="435606"/>
                    <a:pt x="589317" y="432148"/>
                  </a:cubicBezTo>
                  <a:cubicBezTo>
                    <a:pt x="582702" y="427588"/>
                    <a:pt x="575887" y="422828"/>
                    <a:pt x="569022" y="418569"/>
                  </a:cubicBezTo>
                  <a:cubicBezTo>
                    <a:pt x="558850" y="412255"/>
                    <a:pt x="555643" y="403285"/>
                    <a:pt x="559301" y="391208"/>
                  </a:cubicBezTo>
                  <a:cubicBezTo>
                    <a:pt x="559952" y="389104"/>
                    <a:pt x="560604" y="387049"/>
                    <a:pt x="561305" y="384995"/>
                  </a:cubicBezTo>
                  <a:cubicBezTo>
                    <a:pt x="562357" y="381888"/>
                    <a:pt x="563410" y="378681"/>
                    <a:pt x="564211" y="375524"/>
                  </a:cubicBezTo>
                  <a:lnTo>
                    <a:pt x="565865" y="369060"/>
                  </a:lnTo>
                  <a:cubicBezTo>
                    <a:pt x="569172" y="356181"/>
                    <a:pt x="572630" y="342902"/>
                    <a:pt x="575386" y="329723"/>
                  </a:cubicBezTo>
                  <a:cubicBezTo>
                    <a:pt x="575887" y="327268"/>
                    <a:pt x="575386" y="324311"/>
                    <a:pt x="574835" y="321505"/>
                  </a:cubicBezTo>
                  <a:cubicBezTo>
                    <a:pt x="574634" y="320553"/>
                    <a:pt x="574484" y="319601"/>
                    <a:pt x="574334" y="318649"/>
                  </a:cubicBezTo>
                  <a:cubicBezTo>
                    <a:pt x="568922" y="314340"/>
                    <a:pt x="564261" y="310681"/>
                    <a:pt x="559601" y="306973"/>
                  </a:cubicBezTo>
                  <a:lnTo>
                    <a:pt x="558749" y="306322"/>
                  </a:lnTo>
                  <a:lnTo>
                    <a:pt x="558148" y="301962"/>
                  </a:lnTo>
                  <a:cubicBezTo>
                    <a:pt x="556695" y="291489"/>
                    <a:pt x="555192" y="280665"/>
                    <a:pt x="559852" y="270744"/>
                  </a:cubicBezTo>
                  <a:cubicBezTo>
                    <a:pt x="564813" y="260070"/>
                    <a:pt x="568070" y="248445"/>
                    <a:pt x="571177" y="237220"/>
                  </a:cubicBezTo>
                  <a:cubicBezTo>
                    <a:pt x="575586" y="221485"/>
                    <a:pt x="580096" y="205250"/>
                    <a:pt x="589417" y="190818"/>
                  </a:cubicBezTo>
                  <a:cubicBezTo>
                    <a:pt x="593275" y="184855"/>
                    <a:pt x="591120" y="179543"/>
                    <a:pt x="588665" y="176136"/>
                  </a:cubicBezTo>
                  <a:cubicBezTo>
                    <a:pt x="571528" y="152534"/>
                    <a:pt x="560754" y="125374"/>
                    <a:pt x="550381" y="99167"/>
                  </a:cubicBezTo>
                  <a:lnTo>
                    <a:pt x="549629" y="97313"/>
                  </a:lnTo>
                  <a:cubicBezTo>
                    <a:pt x="543015" y="80626"/>
                    <a:pt x="533895" y="69551"/>
                    <a:pt x="520064" y="61434"/>
                  </a:cubicBezTo>
                  <a:cubicBezTo>
                    <a:pt x="507236" y="53917"/>
                    <a:pt x="494007" y="46150"/>
                    <a:pt x="483584" y="35376"/>
                  </a:cubicBezTo>
                  <a:lnTo>
                    <a:pt x="482883" y="34675"/>
                  </a:lnTo>
                  <a:lnTo>
                    <a:pt x="482482" y="27359"/>
                  </a:lnTo>
                  <a:cubicBezTo>
                    <a:pt x="482181" y="22548"/>
                    <a:pt x="481931" y="18138"/>
                    <a:pt x="481830" y="13729"/>
                  </a:cubicBezTo>
                  <a:cubicBezTo>
                    <a:pt x="481680" y="8969"/>
                    <a:pt x="479676" y="5060"/>
                    <a:pt x="475517" y="1452"/>
                  </a:cubicBezTo>
                  <a:lnTo>
                    <a:pt x="475517" y="1452"/>
                  </a:lnTo>
                  <a:cubicBezTo>
                    <a:pt x="473763" y="-101"/>
                    <a:pt x="471408" y="-302"/>
                    <a:pt x="470105" y="349"/>
                  </a:cubicBezTo>
                  <a:cubicBezTo>
                    <a:pt x="469153" y="801"/>
                    <a:pt x="469052" y="1452"/>
                    <a:pt x="469052" y="1953"/>
                  </a:cubicBezTo>
                  <a:cubicBezTo>
                    <a:pt x="469253" y="16084"/>
                    <a:pt x="460534" y="24402"/>
                    <a:pt x="452817" y="31769"/>
                  </a:cubicBezTo>
                  <a:lnTo>
                    <a:pt x="451063" y="33422"/>
                  </a:lnTo>
                  <a:cubicBezTo>
                    <a:pt x="448758" y="35577"/>
                    <a:pt x="446603" y="37631"/>
                    <a:pt x="444849" y="39937"/>
                  </a:cubicBezTo>
                  <a:cubicBezTo>
                    <a:pt x="434476" y="53316"/>
                    <a:pt x="423553" y="69551"/>
                    <a:pt x="421298" y="88994"/>
                  </a:cubicBezTo>
                  <a:cubicBezTo>
                    <a:pt x="420145" y="98665"/>
                    <a:pt x="416487" y="106082"/>
                    <a:pt x="409371" y="113097"/>
                  </a:cubicBezTo>
                  <a:lnTo>
                    <a:pt x="402857" y="119511"/>
                  </a:lnTo>
                  <a:cubicBezTo>
                    <a:pt x="384567" y="137501"/>
                    <a:pt x="365675" y="156142"/>
                    <a:pt x="347636" y="174983"/>
                  </a:cubicBezTo>
                  <a:cubicBezTo>
                    <a:pt x="330999" y="192371"/>
                    <a:pt x="316166" y="203245"/>
                    <a:pt x="299580" y="210261"/>
                  </a:cubicBezTo>
                  <a:cubicBezTo>
                    <a:pt x="283846" y="216875"/>
                    <a:pt x="272921" y="229704"/>
                    <a:pt x="264302" y="241630"/>
                  </a:cubicBezTo>
                  <a:cubicBezTo>
                    <a:pt x="265355" y="244386"/>
                    <a:pt x="266357" y="247142"/>
                    <a:pt x="267359" y="249898"/>
                  </a:cubicBezTo>
                  <a:cubicBezTo>
                    <a:pt x="269915" y="256813"/>
                    <a:pt x="272521" y="263929"/>
                    <a:pt x="275527" y="270694"/>
                  </a:cubicBezTo>
                  <a:cubicBezTo>
                    <a:pt x="280288" y="281567"/>
                    <a:pt x="279336" y="291139"/>
                    <a:pt x="272521" y="300008"/>
                  </a:cubicBezTo>
                  <a:cubicBezTo>
                    <a:pt x="264302" y="310681"/>
                    <a:pt x="261146" y="320503"/>
                    <a:pt x="262549" y="330876"/>
                  </a:cubicBezTo>
                  <a:cubicBezTo>
                    <a:pt x="265104" y="349567"/>
                    <a:pt x="255082" y="361844"/>
                    <a:pt x="246062" y="370463"/>
                  </a:cubicBezTo>
                  <a:cubicBezTo>
                    <a:pt x="234788" y="381236"/>
                    <a:pt x="224365" y="388602"/>
                    <a:pt x="209833" y="389455"/>
                  </a:cubicBezTo>
                  <a:cubicBezTo>
                    <a:pt x="208580" y="389505"/>
                    <a:pt x="207227" y="389905"/>
                    <a:pt x="205824" y="390306"/>
                  </a:cubicBezTo>
                  <a:cubicBezTo>
                    <a:pt x="204170" y="390807"/>
                    <a:pt x="202416" y="391309"/>
                    <a:pt x="200512" y="391359"/>
                  </a:cubicBezTo>
                  <a:cubicBezTo>
                    <a:pt x="189037" y="391710"/>
                    <a:pt x="182874" y="397823"/>
                    <a:pt x="179967" y="411803"/>
                  </a:cubicBezTo>
                  <a:cubicBezTo>
                    <a:pt x="178765" y="417516"/>
                    <a:pt x="177963" y="423379"/>
                    <a:pt x="177161" y="429041"/>
                  </a:cubicBezTo>
                  <a:cubicBezTo>
                    <a:pt x="176810" y="431497"/>
                    <a:pt x="176459" y="433952"/>
                    <a:pt x="176109" y="436358"/>
                  </a:cubicBezTo>
                  <a:lnTo>
                    <a:pt x="175808" y="438212"/>
                  </a:lnTo>
                  <a:lnTo>
                    <a:pt x="173954" y="438613"/>
                  </a:lnTo>
                  <a:cubicBezTo>
                    <a:pt x="147746" y="443974"/>
                    <a:pt x="146293" y="443874"/>
                    <a:pt x="123643" y="428991"/>
                  </a:cubicBezTo>
                  <a:cubicBezTo>
                    <a:pt x="123343" y="429142"/>
                    <a:pt x="123042" y="429342"/>
                    <a:pt x="122741" y="429492"/>
                  </a:cubicBezTo>
                  <a:cubicBezTo>
                    <a:pt x="121138" y="430344"/>
                    <a:pt x="119534" y="431246"/>
                    <a:pt x="118532" y="432399"/>
                  </a:cubicBezTo>
                  <a:lnTo>
                    <a:pt x="115325" y="436157"/>
                  </a:lnTo>
                  <a:cubicBezTo>
                    <a:pt x="110364" y="441920"/>
                    <a:pt x="105203" y="447833"/>
                    <a:pt x="101445" y="454297"/>
                  </a:cubicBezTo>
                  <a:cubicBezTo>
                    <a:pt x="95181" y="465020"/>
                    <a:pt x="86161" y="470983"/>
                    <a:pt x="73132" y="473138"/>
                  </a:cubicBezTo>
                  <a:cubicBezTo>
                    <a:pt x="63060" y="474742"/>
                    <a:pt x="53189" y="476596"/>
                    <a:pt x="42766" y="478550"/>
                  </a:cubicBezTo>
                  <a:cubicBezTo>
                    <a:pt x="38557" y="479352"/>
                    <a:pt x="34297" y="480154"/>
                    <a:pt x="29988" y="480905"/>
                  </a:cubicBezTo>
                  <a:cubicBezTo>
                    <a:pt x="29737" y="481457"/>
                    <a:pt x="29436" y="482008"/>
                    <a:pt x="29186" y="482559"/>
                  </a:cubicBezTo>
                  <a:cubicBezTo>
                    <a:pt x="28284" y="484363"/>
                    <a:pt x="27432" y="486117"/>
                    <a:pt x="26831" y="487871"/>
                  </a:cubicBezTo>
                  <a:lnTo>
                    <a:pt x="26430" y="489123"/>
                  </a:lnTo>
                  <a:cubicBezTo>
                    <a:pt x="21820" y="502904"/>
                    <a:pt x="17009" y="517185"/>
                    <a:pt x="4732" y="527808"/>
                  </a:cubicBezTo>
                  <a:cubicBezTo>
                    <a:pt x="-680" y="532469"/>
                    <a:pt x="-1381" y="539033"/>
                    <a:pt x="2277" y="550358"/>
                  </a:cubicBezTo>
                  <a:lnTo>
                    <a:pt x="12349" y="556321"/>
                  </a:lnTo>
                  <a:cubicBezTo>
                    <a:pt x="21369" y="561683"/>
                    <a:pt x="30840" y="567295"/>
                    <a:pt x="40360" y="572857"/>
                  </a:cubicBezTo>
                  <a:cubicBezTo>
                    <a:pt x="50082" y="578470"/>
                    <a:pt x="59803" y="584032"/>
                    <a:pt x="69525" y="589594"/>
                  </a:cubicBezTo>
                  <a:lnTo>
                    <a:pt x="81601" y="596510"/>
                  </a:lnTo>
                  <a:cubicBezTo>
                    <a:pt x="91272" y="590446"/>
                    <a:pt x="102998" y="583581"/>
                    <a:pt x="114924" y="589244"/>
                  </a:cubicBezTo>
                  <a:lnTo>
                    <a:pt x="115475" y="589494"/>
                  </a:lnTo>
                  <a:lnTo>
                    <a:pt x="115876" y="589995"/>
                  </a:lnTo>
                  <a:cubicBezTo>
                    <a:pt x="139528" y="619911"/>
                    <a:pt x="168642" y="639103"/>
                    <a:pt x="205022" y="658596"/>
                  </a:cubicBezTo>
                  <a:cubicBezTo>
                    <a:pt x="233785" y="649877"/>
                    <a:pt x="252677" y="658596"/>
                    <a:pt x="262749" y="685355"/>
                  </a:cubicBezTo>
                  <a:cubicBezTo>
                    <a:pt x="263651" y="687810"/>
                    <a:pt x="265255" y="690065"/>
                    <a:pt x="267159" y="692671"/>
                  </a:cubicBezTo>
                  <a:cubicBezTo>
                    <a:pt x="267660" y="693322"/>
                    <a:pt x="268111" y="694024"/>
                    <a:pt x="268612" y="694725"/>
                  </a:cubicBezTo>
                  <a:cubicBezTo>
                    <a:pt x="270366" y="693673"/>
                    <a:pt x="272069" y="692571"/>
                    <a:pt x="273723" y="691518"/>
                  </a:cubicBezTo>
                  <a:cubicBezTo>
                    <a:pt x="278584" y="688411"/>
                    <a:pt x="283194" y="685505"/>
                    <a:pt x="288205" y="683400"/>
                  </a:cubicBezTo>
                  <a:cubicBezTo>
                    <a:pt x="290610" y="682398"/>
                    <a:pt x="292865" y="681446"/>
                    <a:pt x="294970" y="680594"/>
                  </a:cubicBezTo>
                  <a:cubicBezTo>
                    <a:pt x="317570" y="671073"/>
                    <a:pt x="326038" y="667515"/>
                    <a:pt x="352296" y="691669"/>
                  </a:cubicBezTo>
                  <a:lnTo>
                    <a:pt x="353950" y="693222"/>
                  </a:lnTo>
                  <a:cubicBezTo>
                    <a:pt x="357758" y="696830"/>
                    <a:pt x="361366" y="700338"/>
                    <a:pt x="366327" y="699987"/>
                  </a:cubicBezTo>
                  <a:cubicBezTo>
                    <a:pt x="366928" y="699987"/>
                    <a:pt x="367529" y="699937"/>
                    <a:pt x="368130" y="699937"/>
                  </a:cubicBezTo>
                  <a:cubicBezTo>
                    <a:pt x="379005" y="699937"/>
                    <a:pt x="385819" y="706601"/>
                    <a:pt x="392434" y="713016"/>
                  </a:cubicBezTo>
                  <a:cubicBezTo>
                    <a:pt x="395591" y="716122"/>
                    <a:pt x="398848" y="718778"/>
                    <a:pt x="402005" y="721384"/>
                  </a:cubicBezTo>
                  <a:cubicBezTo>
                    <a:pt x="403108" y="722286"/>
                    <a:pt x="404210" y="723188"/>
                    <a:pt x="405262" y="724090"/>
                  </a:cubicBezTo>
                  <a:cubicBezTo>
                    <a:pt x="405914" y="723889"/>
                    <a:pt x="406515" y="723739"/>
                    <a:pt x="407116" y="723589"/>
                  </a:cubicBezTo>
                  <a:cubicBezTo>
                    <a:pt x="408569" y="723238"/>
                    <a:pt x="409822" y="722887"/>
                    <a:pt x="410423" y="722386"/>
                  </a:cubicBezTo>
                  <a:cubicBezTo>
                    <a:pt x="425006" y="709859"/>
                    <a:pt x="442394" y="708756"/>
                    <a:pt x="459030" y="709508"/>
                  </a:cubicBezTo>
                  <a:lnTo>
                    <a:pt x="461887" y="709658"/>
                  </a:lnTo>
                  <a:cubicBezTo>
                    <a:pt x="468802" y="710059"/>
                    <a:pt x="475917" y="710410"/>
                    <a:pt x="483133" y="706752"/>
                  </a:cubicBezTo>
                  <a:cubicBezTo>
                    <a:pt x="483534" y="705098"/>
                    <a:pt x="483985" y="703394"/>
                    <a:pt x="484486" y="701741"/>
                  </a:cubicBezTo>
                  <a:cubicBezTo>
                    <a:pt x="485689" y="697331"/>
                    <a:pt x="486891" y="692771"/>
                    <a:pt x="487543" y="688211"/>
                  </a:cubicBezTo>
                  <a:cubicBezTo>
                    <a:pt x="490149" y="669520"/>
                    <a:pt x="498467" y="652933"/>
                    <a:pt x="506084" y="638903"/>
                  </a:cubicBezTo>
                  <a:cubicBezTo>
                    <a:pt x="511896" y="628229"/>
                    <a:pt x="522169" y="620111"/>
                    <a:pt x="534346" y="616654"/>
                  </a:cubicBezTo>
                  <a:cubicBezTo>
                    <a:pt x="546272" y="613246"/>
                    <a:pt x="558499" y="614649"/>
                    <a:pt x="568772" y="620512"/>
                  </a:cubicBezTo>
                  <a:cubicBezTo>
                    <a:pt x="581750" y="627928"/>
                    <a:pt x="593776" y="625624"/>
                    <a:pt x="604851" y="622015"/>
                  </a:cubicBezTo>
                  <a:cubicBezTo>
                    <a:pt x="610513" y="620161"/>
                    <a:pt x="613470" y="616002"/>
                    <a:pt x="613169" y="610340"/>
                  </a:cubicBezTo>
                  <a:cubicBezTo>
                    <a:pt x="612267" y="593353"/>
                    <a:pt x="615324" y="577568"/>
                    <a:pt x="622489" y="562084"/>
                  </a:cubicBezTo>
                  <a:cubicBezTo>
                    <a:pt x="613069" y="550759"/>
                    <a:pt x="613219" y="537079"/>
                    <a:pt x="613369" y="52600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24" name="Полилиния: фигура 123">
              <a:extLst>
                <a:ext uri="{FF2B5EF4-FFF2-40B4-BE49-F238E27FC236}">
                  <a16:creationId xmlns:a16="http://schemas.microsoft.com/office/drawing/2014/main" id="{C4254050-C696-4FB7-87CF-2BAAC8D64DD7}"/>
                </a:ext>
              </a:extLst>
            </p:cNvPr>
            <p:cNvSpPr/>
            <p:nvPr/>
          </p:nvSpPr>
          <p:spPr>
            <a:xfrm>
              <a:off x="3268267" y="1839526"/>
              <a:ext cx="1348298" cy="847804"/>
            </a:xfrm>
            <a:custGeom>
              <a:avLst/>
              <a:gdLst>
                <a:gd name="connsiteX0" fmla="*/ 12212 w 1081127"/>
                <a:gd name="connsiteY0" fmla="*/ 273802 h 679808"/>
                <a:gd name="connsiteX1" fmla="*/ 58514 w 1081127"/>
                <a:gd name="connsiteY1" fmla="*/ 353978 h 679808"/>
                <a:gd name="connsiteX2" fmla="*/ 64978 w 1081127"/>
                <a:gd name="connsiteY2" fmla="*/ 366956 h 679808"/>
                <a:gd name="connsiteX3" fmla="*/ 70139 w 1081127"/>
                <a:gd name="connsiteY3" fmla="*/ 377179 h 679808"/>
                <a:gd name="connsiteX4" fmla="*/ 86926 w 1081127"/>
                <a:gd name="connsiteY4" fmla="*/ 398526 h 679808"/>
                <a:gd name="connsiteX5" fmla="*/ 87728 w 1081127"/>
                <a:gd name="connsiteY5" fmla="*/ 398275 h 679808"/>
                <a:gd name="connsiteX6" fmla="*/ 89782 w 1081127"/>
                <a:gd name="connsiteY6" fmla="*/ 397524 h 679808"/>
                <a:gd name="connsiteX7" fmla="*/ 162593 w 1081127"/>
                <a:gd name="connsiteY7" fmla="*/ 399728 h 679808"/>
                <a:gd name="connsiteX8" fmla="*/ 192659 w 1081127"/>
                <a:gd name="connsiteY8" fmla="*/ 410352 h 679808"/>
                <a:gd name="connsiteX9" fmla="*/ 277996 w 1081127"/>
                <a:gd name="connsiteY9" fmla="*/ 415764 h 679808"/>
                <a:gd name="connsiteX10" fmla="*/ 340233 w 1081127"/>
                <a:gd name="connsiteY10" fmla="*/ 402685 h 679808"/>
                <a:gd name="connsiteX11" fmla="*/ 342338 w 1081127"/>
                <a:gd name="connsiteY11" fmla="*/ 401382 h 679808"/>
                <a:gd name="connsiteX12" fmla="*/ 343791 w 1081127"/>
                <a:gd name="connsiteY12" fmla="*/ 403386 h 679808"/>
                <a:gd name="connsiteX13" fmla="*/ 369547 w 1081127"/>
                <a:gd name="connsiteY13" fmla="*/ 410352 h 679808"/>
                <a:gd name="connsiteX14" fmla="*/ 370950 w 1081127"/>
                <a:gd name="connsiteY14" fmla="*/ 410352 h 679808"/>
                <a:gd name="connsiteX15" fmla="*/ 373306 w 1081127"/>
                <a:gd name="connsiteY15" fmla="*/ 410201 h 679808"/>
                <a:gd name="connsiteX16" fmla="*/ 402971 w 1081127"/>
                <a:gd name="connsiteY16" fmla="*/ 421727 h 679808"/>
                <a:gd name="connsiteX17" fmla="*/ 436444 w 1081127"/>
                <a:gd name="connsiteY17" fmla="*/ 449187 h 679808"/>
                <a:gd name="connsiteX18" fmla="*/ 472423 w 1081127"/>
                <a:gd name="connsiteY18" fmla="*/ 478802 h 679808"/>
                <a:gd name="connsiteX19" fmla="*/ 518324 w 1081127"/>
                <a:gd name="connsiteY19" fmla="*/ 511273 h 679808"/>
                <a:gd name="connsiteX20" fmla="*/ 755595 w 1081127"/>
                <a:gd name="connsiteY20" fmla="*/ 653636 h 679808"/>
                <a:gd name="connsiteX21" fmla="*/ 782605 w 1081127"/>
                <a:gd name="connsiteY21" fmla="*/ 673380 h 679808"/>
                <a:gd name="connsiteX22" fmla="*/ 804052 w 1081127"/>
                <a:gd name="connsiteY22" fmla="*/ 679443 h 679808"/>
                <a:gd name="connsiteX23" fmla="*/ 893298 w 1081127"/>
                <a:gd name="connsiteY23" fmla="*/ 658697 h 679808"/>
                <a:gd name="connsiteX24" fmla="*/ 905926 w 1081127"/>
                <a:gd name="connsiteY24" fmla="*/ 646270 h 679808"/>
                <a:gd name="connsiteX25" fmla="*/ 906477 w 1081127"/>
                <a:gd name="connsiteY25" fmla="*/ 644717 h 679808"/>
                <a:gd name="connsiteX26" fmla="*/ 919305 w 1081127"/>
                <a:gd name="connsiteY26" fmla="*/ 628030 h 679808"/>
                <a:gd name="connsiteX27" fmla="*/ 920157 w 1081127"/>
                <a:gd name="connsiteY27" fmla="*/ 627679 h 679808"/>
                <a:gd name="connsiteX28" fmla="*/ 921059 w 1081127"/>
                <a:gd name="connsiteY28" fmla="*/ 627930 h 679808"/>
                <a:gd name="connsiteX29" fmla="*/ 928074 w 1081127"/>
                <a:gd name="connsiteY29" fmla="*/ 631237 h 679808"/>
                <a:gd name="connsiteX30" fmla="*/ 940853 w 1081127"/>
                <a:gd name="connsiteY30" fmla="*/ 633141 h 679808"/>
                <a:gd name="connsiteX31" fmla="*/ 970217 w 1081127"/>
                <a:gd name="connsiteY31" fmla="*/ 617707 h 679808"/>
                <a:gd name="connsiteX32" fmla="*/ 1013813 w 1081127"/>
                <a:gd name="connsiteY32" fmla="*/ 594456 h 679808"/>
                <a:gd name="connsiteX33" fmla="*/ 1035260 w 1081127"/>
                <a:gd name="connsiteY33" fmla="*/ 588744 h 679808"/>
                <a:gd name="connsiteX34" fmla="*/ 1048539 w 1081127"/>
                <a:gd name="connsiteY34" fmla="*/ 590497 h 679808"/>
                <a:gd name="connsiteX35" fmla="*/ 1053650 w 1081127"/>
                <a:gd name="connsiteY35" fmla="*/ 591299 h 679808"/>
                <a:gd name="connsiteX36" fmla="*/ 1056958 w 1081127"/>
                <a:gd name="connsiteY36" fmla="*/ 588393 h 679808"/>
                <a:gd name="connsiteX37" fmla="*/ 1065877 w 1081127"/>
                <a:gd name="connsiteY37" fmla="*/ 579924 h 679808"/>
                <a:gd name="connsiteX38" fmla="*/ 1066729 w 1081127"/>
                <a:gd name="connsiteY38" fmla="*/ 555320 h 679808"/>
                <a:gd name="connsiteX39" fmla="*/ 1060465 w 1081127"/>
                <a:gd name="connsiteY39" fmla="*/ 546451 h 679808"/>
                <a:gd name="connsiteX40" fmla="*/ 1050594 w 1081127"/>
                <a:gd name="connsiteY40" fmla="*/ 531819 h 679808"/>
                <a:gd name="connsiteX41" fmla="*/ 1045683 w 1081127"/>
                <a:gd name="connsiteY41" fmla="*/ 519692 h 679808"/>
                <a:gd name="connsiteX42" fmla="*/ 1044029 w 1081127"/>
                <a:gd name="connsiteY42" fmla="*/ 514731 h 679808"/>
                <a:gd name="connsiteX43" fmla="*/ 1043428 w 1081127"/>
                <a:gd name="connsiteY43" fmla="*/ 513178 h 679808"/>
                <a:gd name="connsiteX44" fmla="*/ 1049541 w 1081127"/>
                <a:gd name="connsiteY44" fmla="*/ 506713 h 679808"/>
                <a:gd name="connsiteX45" fmla="*/ 1061417 w 1081127"/>
                <a:gd name="connsiteY45" fmla="*/ 494336 h 679808"/>
                <a:gd name="connsiteX46" fmla="*/ 1063372 w 1081127"/>
                <a:gd name="connsiteY46" fmla="*/ 492282 h 679808"/>
                <a:gd name="connsiteX47" fmla="*/ 1071540 w 1081127"/>
                <a:gd name="connsiteY47" fmla="*/ 484314 h 679808"/>
                <a:gd name="connsiteX48" fmla="*/ 1078104 w 1081127"/>
                <a:gd name="connsiteY48" fmla="*/ 461664 h 679808"/>
                <a:gd name="connsiteX49" fmla="*/ 1075598 w 1081127"/>
                <a:gd name="connsiteY49" fmla="*/ 457104 h 679808"/>
                <a:gd name="connsiteX50" fmla="*/ 1044480 w 1081127"/>
                <a:gd name="connsiteY50" fmla="*/ 411404 h 679808"/>
                <a:gd name="connsiteX51" fmla="*/ 990211 w 1081127"/>
                <a:gd name="connsiteY51" fmla="*/ 362747 h 679808"/>
                <a:gd name="connsiteX52" fmla="*/ 966409 w 1081127"/>
                <a:gd name="connsiteY52" fmla="*/ 343405 h 679808"/>
                <a:gd name="connsiteX53" fmla="*/ 957038 w 1081127"/>
                <a:gd name="connsiteY53" fmla="*/ 335638 h 679808"/>
                <a:gd name="connsiteX54" fmla="*/ 956888 w 1081127"/>
                <a:gd name="connsiteY54" fmla="*/ 335738 h 679808"/>
                <a:gd name="connsiteX55" fmla="*/ 950423 w 1081127"/>
                <a:gd name="connsiteY55" fmla="*/ 340448 h 679808"/>
                <a:gd name="connsiteX56" fmla="*/ 943157 w 1081127"/>
                <a:gd name="connsiteY56" fmla="*/ 345960 h 679808"/>
                <a:gd name="connsiteX57" fmla="*/ 940502 w 1081127"/>
                <a:gd name="connsiteY57" fmla="*/ 347965 h 679808"/>
                <a:gd name="connsiteX58" fmla="*/ 939099 w 1081127"/>
                <a:gd name="connsiteY58" fmla="*/ 347413 h 679808"/>
                <a:gd name="connsiteX59" fmla="*/ 920157 w 1081127"/>
                <a:gd name="connsiteY59" fmla="*/ 343405 h 679808"/>
                <a:gd name="connsiteX60" fmla="*/ 917702 w 1081127"/>
                <a:gd name="connsiteY60" fmla="*/ 360993 h 679808"/>
                <a:gd name="connsiteX61" fmla="*/ 909083 w 1081127"/>
                <a:gd name="connsiteY61" fmla="*/ 446030 h 679808"/>
                <a:gd name="connsiteX62" fmla="*/ 906828 w 1081127"/>
                <a:gd name="connsiteY62" fmla="*/ 453847 h 679808"/>
                <a:gd name="connsiteX63" fmla="*/ 905825 w 1081127"/>
                <a:gd name="connsiteY63" fmla="*/ 456904 h 679808"/>
                <a:gd name="connsiteX64" fmla="*/ 905074 w 1081127"/>
                <a:gd name="connsiteY64" fmla="*/ 459309 h 679808"/>
                <a:gd name="connsiteX65" fmla="*/ 902619 w 1081127"/>
                <a:gd name="connsiteY65" fmla="*/ 458708 h 679808"/>
                <a:gd name="connsiteX66" fmla="*/ 895252 w 1081127"/>
                <a:gd name="connsiteY66" fmla="*/ 456603 h 679808"/>
                <a:gd name="connsiteX67" fmla="*/ 882424 w 1081127"/>
                <a:gd name="connsiteY67" fmla="*/ 454098 h 679808"/>
                <a:gd name="connsiteX68" fmla="*/ 869746 w 1081127"/>
                <a:gd name="connsiteY68" fmla="*/ 458207 h 679808"/>
                <a:gd name="connsiteX69" fmla="*/ 864685 w 1081127"/>
                <a:gd name="connsiteY69" fmla="*/ 460412 h 679808"/>
                <a:gd name="connsiteX70" fmla="*/ 863783 w 1081127"/>
                <a:gd name="connsiteY70" fmla="*/ 460762 h 679808"/>
                <a:gd name="connsiteX71" fmla="*/ 862881 w 1081127"/>
                <a:gd name="connsiteY71" fmla="*/ 460462 h 679808"/>
                <a:gd name="connsiteX72" fmla="*/ 846695 w 1081127"/>
                <a:gd name="connsiteY72" fmla="*/ 455250 h 679808"/>
                <a:gd name="connsiteX73" fmla="*/ 840732 w 1081127"/>
                <a:gd name="connsiteY73" fmla="*/ 453346 h 679808"/>
                <a:gd name="connsiteX74" fmla="*/ 796185 w 1081127"/>
                <a:gd name="connsiteY74" fmla="*/ 479002 h 679808"/>
                <a:gd name="connsiteX75" fmla="*/ 794431 w 1081127"/>
                <a:gd name="connsiteY75" fmla="*/ 479153 h 679808"/>
                <a:gd name="connsiteX76" fmla="*/ 783657 w 1081127"/>
                <a:gd name="connsiteY76" fmla="*/ 458908 h 679808"/>
                <a:gd name="connsiteX77" fmla="*/ 783657 w 1081127"/>
                <a:gd name="connsiteY77" fmla="*/ 458157 h 679808"/>
                <a:gd name="connsiteX78" fmla="*/ 811218 w 1081127"/>
                <a:gd name="connsiteY78" fmla="*/ 422077 h 679808"/>
                <a:gd name="connsiteX79" fmla="*/ 817431 w 1081127"/>
                <a:gd name="connsiteY79" fmla="*/ 418570 h 679808"/>
                <a:gd name="connsiteX80" fmla="*/ 813222 w 1081127"/>
                <a:gd name="connsiteY80" fmla="*/ 398576 h 679808"/>
                <a:gd name="connsiteX81" fmla="*/ 801196 w 1081127"/>
                <a:gd name="connsiteY81" fmla="*/ 392913 h 679808"/>
                <a:gd name="connsiteX82" fmla="*/ 798189 w 1081127"/>
                <a:gd name="connsiteY82" fmla="*/ 392362 h 679808"/>
                <a:gd name="connsiteX83" fmla="*/ 731342 w 1081127"/>
                <a:gd name="connsiteY83" fmla="*/ 391661 h 679808"/>
                <a:gd name="connsiteX84" fmla="*/ 729689 w 1081127"/>
                <a:gd name="connsiteY84" fmla="*/ 392062 h 679808"/>
                <a:gd name="connsiteX85" fmla="*/ 700875 w 1081127"/>
                <a:gd name="connsiteY85" fmla="*/ 393364 h 679808"/>
                <a:gd name="connsiteX86" fmla="*/ 699973 w 1081127"/>
                <a:gd name="connsiteY86" fmla="*/ 393114 h 679808"/>
                <a:gd name="connsiteX87" fmla="*/ 699422 w 1081127"/>
                <a:gd name="connsiteY87" fmla="*/ 392362 h 679808"/>
                <a:gd name="connsiteX88" fmla="*/ 696365 w 1081127"/>
                <a:gd name="connsiteY88" fmla="*/ 388454 h 679808"/>
                <a:gd name="connsiteX89" fmla="*/ 688749 w 1081127"/>
                <a:gd name="connsiteY89" fmla="*/ 377780 h 679808"/>
                <a:gd name="connsiteX90" fmla="*/ 668203 w 1081127"/>
                <a:gd name="connsiteY90" fmla="*/ 362547 h 679808"/>
                <a:gd name="connsiteX91" fmla="*/ 657229 w 1081127"/>
                <a:gd name="connsiteY91" fmla="*/ 358788 h 679808"/>
                <a:gd name="connsiteX92" fmla="*/ 639190 w 1081127"/>
                <a:gd name="connsiteY92" fmla="*/ 353226 h 679808"/>
                <a:gd name="connsiteX93" fmla="*/ 594391 w 1081127"/>
                <a:gd name="connsiteY93" fmla="*/ 367958 h 679808"/>
                <a:gd name="connsiteX94" fmla="*/ 587526 w 1081127"/>
                <a:gd name="connsiteY94" fmla="*/ 373571 h 679808"/>
                <a:gd name="connsiteX95" fmla="*/ 583818 w 1081127"/>
                <a:gd name="connsiteY95" fmla="*/ 375876 h 679808"/>
                <a:gd name="connsiteX96" fmla="*/ 581663 w 1081127"/>
                <a:gd name="connsiteY96" fmla="*/ 377429 h 679808"/>
                <a:gd name="connsiteX97" fmla="*/ 580110 w 1081127"/>
                <a:gd name="connsiteY97" fmla="*/ 375325 h 679808"/>
                <a:gd name="connsiteX98" fmla="*/ 577003 w 1081127"/>
                <a:gd name="connsiteY98" fmla="*/ 371015 h 679808"/>
                <a:gd name="connsiteX99" fmla="*/ 571240 w 1081127"/>
                <a:gd name="connsiteY99" fmla="*/ 363449 h 679808"/>
                <a:gd name="connsiteX100" fmla="*/ 557510 w 1081127"/>
                <a:gd name="connsiteY100" fmla="*/ 360442 h 679808"/>
                <a:gd name="connsiteX101" fmla="*/ 553401 w 1081127"/>
                <a:gd name="connsiteY101" fmla="*/ 362847 h 679808"/>
                <a:gd name="connsiteX102" fmla="*/ 546987 w 1081127"/>
                <a:gd name="connsiteY102" fmla="*/ 366205 h 679808"/>
                <a:gd name="connsiteX103" fmla="*/ 531102 w 1081127"/>
                <a:gd name="connsiteY103" fmla="*/ 361695 h 679808"/>
                <a:gd name="connsiteX104" fmla="*/ 530250 w 1081127"/>
                <a:gd name="connsiteY104" fmla="*/ 360242 h 679808"/>
                <a:gd name="connsiteX105" fmla="*/ 531202 w 1081127"/>
                <a:gd name="connsiteY105" fmla="*/ 358839 h 679808"/>
                <a:gd name="connsiteX106" fmla="*/ 532706 w 1081127"/>
                <a:gd name="connsiteY106" fmla="*/ 356684 h 679808"/>
                <a:gd name="connsiteX107" fmla="*/ 535863 w 1081127"/>
                <a:gd name="connsiteY107" fmla="*/ 351773 h 679808"/>
                <a:gd name="connsiteX108" fmla="*/ 537817 w 1081127"/>
                <a:gd name="connsiteY108" fmla="*/ 339546 h 679808"/>
                <a:gd name="connsiteX109" fmla="*/ 529298 w 1081127"/>
                <a:gd name="connsiteY109" fmla="*/ 333182 h 679808"/>
                <a:gd name="connsiteX110" fmla="*/ 513914 w 1081127"/>
                <a:gd name="connsiteY110" fmla="*/ 329324 h 679808"/>
                <a:gd name="connsiteX111" fmla="*/ 505646 w 1081127"/>
                <a:gd name="connsiteY111" fmla="*/ 327520 h 679808"/>
                <a:gd name="connsiteX112" fmla="*/ 502389 w 1081127"/>
                <a:gd name="connsiteY112" fmla="*/ 326768 h 679808"/>
                <a:gd name="connsiteX113" fmla="*/ 514115 w 1081127"/>
                <a:gd name="connsiteY113" fmla="*/ 302214 h 679808"/>
                <a:gd name="connsiteX114" fmla="*/ 515067 w 1081127"/>
                <a:gd name="connsiteY114" fmla="*/ 301813 h 679808"/>
                <a:gd name="connsiteX115" fmla="*/ 543780 w 1081127"/>
                <a:gd name="connsiteY115" fmla="*/ 301763 h 679808"/>
                <a:gd name="connsiteX116" fmla="*/ 550595 w 1081127"/>
                <a:gd name="connsiteY116" fmla="*/ 303266 h 679808"/>
                <a:gd name="connsiteX117" fmla="*/ 562571 w 1081127"/>
                <a:gd name="connsiteY117" fmla="*/ 284024 h 679808"/>
                <a:gd name="connsiteX118" fmla="*/ 562922 w 1081127"/>
                <a:gd name="connsiteY118" fmla="*/ 283122 h 679808"/>
                <a:gd name="connsiteX119" fmla="*/ 574999 w 1081127"/>
                <a:gd name="connsiteY119" fmla="*/ 271647 h 679808"/>
                <a:gd name="connsiteX120" fmla="*/ 582866 w 1081127"/>
                <a:gd name="connsiteY120" fmla="*/ 266335 h 679808"/>
                <a:gd name="connsiteX121" fmla="*/ 580060 w 1081127"/>
                <a:gd name="connsiteY121" fmla="*/ 254660 h 679808"/>
                <a:gd name="connsiteX122" fmla="*/ 524437 w 1081127"/>
                <a:gd name="connsiteY122" fmla="*/ 254409 h 679808"/>
                <a:gd name="connsiteX123" fmla="*/ 524488 w 1081127"/>
                <a:gd name="connsiteY123" fmla="*/ 257065 h 679808"/>
                <a:gd name="connsiteX124" fmla="*/ 524287 w 1081127"/>
                <a:gd name="connsiteY124" fmla="*/ 267187 h 679808"/>
                <a:gd name="connsiteX125" fmla="*/ 522182 w 1081127"/>
                <a:gd name="connsiteY125" fmla="*/ 276558 h 679808"/>
                <a:gd name="connsiteX126" fmla="*/ 521230 w 1081127"/>
                <a:gd name="connsiteY126" fmla="*/ 280166 h 679808"/>
                <a:gd name="connsiteX127" fmla="*/ 520779 w 1081127"/>
                <a:gd name="connsiteY127" fmla="*/ 282020 h 679808"/>
                <a:gd name="connsiteX128" fmla="*/ 518875 w 1081127"/>
                <a:gd name="connsiteY128" fmla="*/ 282220 h 679808"/>
                <a:gd name="connsiteX129" fmla="*/ 491014 w 1081127"/>
                <a:gd name="connsiteY129" fmla="*/ 278963 h 679808"/>
                <a:gd name="connsiteX130" fmla="*/ 481994 w 1081127"/>
                <a:gd name="connsiteY130" fmla="*/ 251853 h 679808"/>
                <a:gd name="connsiteX131" fmla="*/ 459796 w 1081127"/>
                <a:gd name="connsiteY131" fmla="*/ 247043 h 679808"/>
                <a:gd name="connsiteX132" fmla="*/ 455235 w 1081127"/>
                <a:gd name="connsiteY132" fmla="*/ 246893 h 679808"/>
                <a:gd name="connsiteX133" fmla="*/ 449172 w 1081127"/>
                <a:gd name="connsiteY133" fmla="*/ 246893 h 679808"/>
                <a:gd name="connsiteX134" fmla="*/ 430882 w 1081127"/>
                <a:gd name="connsiteY134" fmla="*/ 244036 h 679808"/>
                <a:gd name="connsiteX135" fmla="*/ 401016 w 1081127"/>
                <a:gd name="connsiteY135" fmla="*/ 241130 h 679808"/>
                <a:gd name="connsiteX136" fmla="*/ 331965 w 1081127"/>
                <a:gd name="connsiteY136" fmla="*/ 240779 h 679808"/>
                <a:gd name="connsiteX137" fmla="*/ 309014 w 1081127"/>
                <a:gd name="connsiteY137" fmla="*/ 238223 h 679808"/>
                <a:gd name="connsiteX138" fmla="*/ 304354 w 1081127"/>
                <a:gd name="connsiteY138" fmla="*/ 237973 h 679808"/>
                <a:gd name="connsiteX139" fmla="*/ 304354 w 1081127"/>
                <a:gd name="connsiteY139" fmla="*/ 237973 h 679808"/>
                <a:gd name="connsiteX140" fmla="*/ 301949 w 1081127"/>
                <a:gd name="connsiteY140" fmla="*/ 239276 h 679808"/>
                <a:gd name="connsiteX141" fmla="*/ 300846 w 1081127"/>
                <a:gd name="connsiteY141" fmla="*/ 239977 h 679808"/>
                <a:gd name="connsiteX142" fmla="*/ 299243 w 1081127"/>
                <a:gd name="connsiteY142" fmla="*/ 246241 h 679808"/>
                <a:gd name="connsiteX143" fmla="*/ 291175 w 1081127"/>
                <a:gd name="connsiteY143" fmla="*/ 261324 h 679808"/>
                <a:gd name="connsiteX144" fmla="*/ 288369 w 1081127"/>
                <a:gd name="connsiteY144" fmla="*/ 263279 h 679808"/>
                <a:gd name="connsiteX145" fmla="*/ 287116 w 1081127"/>
                <a:gd name="connsiteY145" fmla="*/ 260122 h 679808"/>
                <a:gd name="connsiteX146" fmla="*/ 257451 w 1081127"/>
                <a:gd name="connsiteY146" fmla="*/ 233764 h 679808"/>
                <a:gd name="connsiteX147" fmla="*/ 253993 w 1081127"/>
                <a:gd name="connsiteY147" fmla="*/ 232010 h 679808"/>
                <a:gd name="connsiteX148" fmla="*/ 214507 w 1081127"/>
                <a:gd name="connsiteY148" fmla="*/ 262226 h 679808"/>
                <a:gd name="connsiteX149" fmla="*/ 190905 w 1081127"/>
                <a:gd name="connsiteY149" fmla="*/ 285477 h 679808"/>
                <a:gd name="connsiteX150" fmla="*/ 173216 w 1081127"/>
                <a:gd name="connsiteY150" fmla="*/ 290438 h 679808"/>
                <a:gd name="connsiteX151" fmla="*/ 90684 w 1081127"/>
                <a:gd name="connsiteY151" fmla="*/ 241380 h 679808"/>
                <a:gd name="connsiteX152" fmla="*/ 89582 w 1081127"/>
                <a:gd name="connsiteY152" fmla="*/ 240178 h 679808"/>
                <a:gd name="connsiteX153" fmla="*/ 90083 w 1081127"/>
                <a:gd name="connsiteY153" fmla="*/ 238674 h 679808"/>
                <a:gd name="connsiteX154" fmla="*/ 93290 w 1081127"/>
                <a:gd name="connsiteY154" fmla="*/ 228652 h 679808"/>
                <a:gd name="connsiteX155" fmla="*/ 101809 w 1081127"/>
                <a:gd name="connsiteY155" fmla="*/ 205351 h 679808"/>
                <a:gd name="connsiteX156" fmla="*/ 100656 w 1081127"/>
                <a:gd name="connsiteY156" fmla="*/ 178793 h 679808"/>
                <a:gd name="connsiteX157" fmla="*/ 98251 w 1081127"/>
                <a:gd name="connsiteY157" fmla="*/ 174584 h 679808"/>
                <a:gd name="connsiteX158" fmla="*/ 92037 w 1081127"/>
                <a:gd name="connsiteY158" fmla="*/ 152635 h 679808"/>
                <a:gd name="connsiteX159" fmla="*/ 92238 w 1081127"/>
                <a:gd name="connsiteY159" fmla="*/ 151383 h 679808"/>
                <a:gd name="connsiteX160" fmla="*/ 93340 w 1081127"/>
                <a:gd name="connsiteY160" fmla="*/ 150731 h 679808"/>
                <a:gd name="connsiteX161" fmla="*/ 147108 w 1081127"/>
                <a:gd name="connsiteY161" fmla="*/ 125376 h 679808"/>
                <a:gd name="connsiteX162" fmla="*/ 176222 w 1081127"/>
                <a:gd name="connsiteY162" fmla="*/ 128382 h 679808"/>
                <a:gd name="connsiteX163" fmla="*/ 198672 w 1081127"/>
                <a:gd name="connsiteY163" fmla="*/ 141461 h 679808"/>
                <a:gd name="connsiteX164" fmla="*/ 208143 w 1081127"/>
                <a:gd name="connsiteY164" fmla="*/ 146722 h 679808"/>
                <a:gd name="connsiteX165" fmla="*/ 209546 w 1081127"/>
                <a:gd name="connsiteY165" fmla="*/ 145069 h 679808"/>
                <a:gd name="connsiteX166" fmla="*/ 230291 w 1081127"/>
                <a:gd name="connsiteY166" fmla="*/ 103026 h 679808"/>
                <a:gd name="connsiteX167" fmla="*/ 230241 w 1081127"/>
                <a:gd name="connsiteY167" fmla="*/ 94758 h 679808"/>
                <a:gd name="connsiteX168" fmla="*/ 229840 w 1081127"/>
                <a:gd name="connsiteY168" fmla="*/ 81930 h 679808"/>
                <a:gd name="connsiteX169" fmla="*/ 226383 w 1081127"/>
                <a:gd name="connsiteY169" fmla="*/ 69954 h 679808"/>
                <a:gd name="connsiteX170" fmla="*/ 198471 w 1081127"/>
                <a:gd name="connsiteY170" fmla="*/ 35278 h 679808"/>
                <a:gd name="connsiteX171" fmla="*/ 189201 w 1081127"/>
                <a:gd name="connsiteY171" fmla="*/ 27761 h 679808"/>
                <a:gd name="connsiteX172" fmla="*/ 183939 w 1081127"/>
                <a:gd name="connsiteY172" fmla="*/ 24003 h 679808"/>
                <a:gd name="connsiteX173" fmla="*/ 177325 w 1081127"/>
                <a:gd name="connsiteY173" fmla="*/ 18741 h 679808"/>
                <a:gd name="connsiteX174" fmla="*/ 169157 w 1081127"/>
                <a:gd name="connsiteY174" fmla="*/ 12277 h 679808"/>
                <a:gd name="connsiteX175" fmla="*/ 164246 w 1081127"/>
                <a:gd name="connsiteY175" fmla="*/ 5312 h 679808"/>
                <a:gd name="connsiteX176" fmla="*/ 160739 w 1081127"/>
                <a:gd name="connsiteY176" fmla="*/ 0 h 679808"/>
                <a:gd name="connsiteX177" fmla="*/ 159786 w 1081127"/>
                <a:gd name="connsiteY177" fmla="*/ 3708 h 679808"/>
                <a:gd name="connsiteX178" fmla="*/ 160037 w 1081127"/>
                <a:gd name="connsiteY178" fmla="*/ 18190 h 679808"/>
                <a:gd name="connsiteX179" fmla="*/ 155577 w 1081127"/>
                <a:gd name="connsiteY179" fmla="*/ 46602 h 679808"/>
                <a:gd name="connsiteX180" fmla="*/ 132627 w 1081127"/>
                <a:gd name="connsiteY180" fmla="*/ 68701 h 679808"/>
                <a:gd name="connsiteX181" fmla="*/ 122254 w 1081127"/>
                <a:gd name="connsiteY181" fmla="*/ 77270 h 679808"/>
                <a:gd name="connsiteX182" fmla="*/ 116441 w 1081127"/>
                <a:gd name="connsiteY182" fmla="*/ 82131 h 679808"/>
                <a:gd name="connsiteX183" fmla="*/ 114938 w 1081127"/>
                <a:gd name="connsiteY183" fmla="*/ 83383 h 679808"/>
                <a:gd name="connsiteX184" fmla="*/ 100255 w 1081127"/>
                <a:gd name="connsiteY184" fmla="*/ 95360 h 679808"/>
                <a:gd name="connsiteX185" fmla="*/ 65279 w 1081127"/>
                <a:gd name="connsiteY185" fmla="*/ 123572 h 679808"/>
                <a:gd name="connsiteX186" fmla="*/ 56610 w 1081127"/>
                <a:gd name="connsiteY186" fmla="*/ 141661 h 679808"/>
                <a:gd name="connsiteX187" fmla="*/ 56559 w 1081127"/>
                <a:gd name="connsiteY187" fmla="*/ 152886 h 679808"/>
                <a:gd name="connsiteX188" fmla="*/ 56710 w 1081127"/>
                <a:gd name="connsiteY188" fmla="*/ 167568 h 679808"/>
                <a:gd name="connsiteX189" fmla="*/ 42078 w 1081127"/>
                <a:gd name="connsiteY189" fmla="*/ 198035 h 679808"/>
                <a:gd name="connsiteX190" fmla="*/ 9406 w 1081127"/>
                <a:gd name="connsiteY190" fmla="*/ 224594 h 679808"/>
                <a:gd name="connsiteX191" fmla="*/ 4345 w 1081127"/>
                <a:gd name="connsiteY191" fmla="*/ 262226 h 679808"/>
                <a:gd name="connsiteX192" fmla="*/ 11861 w 1081127"/>
                <a:gd name="connsiteY192" fmla="*/ 273902 h 679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1081127" h="679808">
                  <a:moveTo>
                    <a:pt x="12212" y="273802"/>
                  </a:moveTo>
                  <a:cubicBezTo>
                    <a:pt x="29199" y="297504"/>
                    <a:pt x="44333" y="323711"/>
                    <a:pt x="58514" y="353978"/>
                  </a:cubicBezTo>
                  <a:cubicBezTo>
                    <a:pt x="60568" y="358337"/>
                    <a:pt x="62773" y="362647"/>
                    <a:pt x="64978" y="366956"/>
                  </a:cubicBezTo>
                  <a:cubicBezTo>
                    <a:pt x="66732" y="370364"/>
                    <a:pt x="68486" y="373721"/>
                    <a:pt x="70139" y="377179"/>
                  </a:cubicBezTo>
                  <a:cubicBezTo>
                    <a:pt x="73697" y="384545"/>
                    <a:pt x="79059" y="391360"/>
                    <a:pt x="86926" y="398526"/>
                  </a:cubicBezTo>
                  <a:cubicBezTo>
                    <a:pt x="87227" y="398426"/>
                    <a:pt x="87477" y="398375"/>
                    <a:pt x="87728" y="398275"/>
                  </a:cubicBezTo>
                  <a:cubicBezTo>
                    <a:pt x="88630" y="398025"/>
                    <a:pt x="89432" y="397774"/>
                    <a:pt x="89782" y="397524"/>
                  </a:cubicBezTo>
                  <a:cubicBezTo>
                    <a:pt x="118496" y="376628"/>
                    <a:pt x="138239" y="377229"/>
                    <a:pt x="162593" y="399728"/>
                  </a:cubicBezTo>
                  <a:cubicBezTo>
                    <a:pt x="171161" y="407646"/>
                    <a:pt x="180181" y="410803"/>
                    <a:pt x="192659" y="410352"/>
                  </a:cubicBezTo>
                  <a:cubicBezTo>
                    <a:pt x="218465" y="409349"/>
                    <a:pt x="246377" y="411154"/>
                    <a:pt x="277996" y="415764"/>
                  </a:cubicBezTo>
                  <a:cubicBezTo>
                    <a:pt x="300180" y="419006"/>
                    <a:pt x="320925" y="414646"/>
                    <a:pt x="340233" y="402685"/>
                  </a:cubicBezTo>
                  <a:lnTo>
                    <a:pt x="342338" y="401382"/>
                  </a:lnTo>
                  <a:lnTo>
                    <a:pt x="343791" y="403386"/>
                  </a:lnTo>
                  <a:cubicBezTo>
                    <a:pt x="349754" y="411404"/>
                    <a:pt x="359375" y="410853"/>
                    <a:pt x="369547" y="410352"/>
                  </a:cubicBezTo>
                  <a:lnTo>
                    <a:pt x="370950" y="410352"/>
                  </a:lnTo>
                  <a:cubicBezTo>
                    <a:pt x="371752" y="410251"/>
                    <a:pt x="372554" y="410201"/>
                    <a:pt x="373306" y="410201"/>
                  </a:cubicBezTo>
                  <a:cubicBezTo>
                    <a:pt x="384179" y="410201"/>
                    <a:pt x="393650" y="413910"/>
                    <a:pt x="402971" y="421727"/>
                  </a:cubicBezTo>
                  <a:cubicBezTo>
                    <a:pt x="414045" y="430997"/>
                    <a:pt x="425420" y="440267"/>
                    <a:pt x="436444" y="449187"/>
                  </a:cubicBezTo>
                  <a:cubicBezTo>
                    <a:pt x="448320" y="458808"/>
                    <a:pt x="460547" y="468780"/>
                    <a:pt x="472423" y="478802"/>
                  </a:cubicBezTo>
                  <a:cubicBezTo>
                    <a:pt x="486003" y="490327"/>
                    <a:pt x="501036" y="500951"/>
                    <a:pt x="518324" y="511273"/>
                  </a:cubicBezTo>
                  <a:cubicBezTo>
                    <a:pt x="606768" y="564140"/>
                    <a:pt x="684389" y="610692"/>
                    <a:pt x="755595" y="653636"/>
                  </a:cubicBezTo>
                  <a:cubicBezTo>
                    <a:pt x="766569" y="660251"/>
                    <a:pt x="775439" y="666715"/>
                    <a:pt x="782605" y="673380"/>
                  </a:cubicBezTo>
                  <a:cubicBezTo>
                    <a:pt x="788568" y="678942"/>
                    <a:pt x="794631" y="680646"/>
                    <a:pt x="804052" y="679443"/>
                  </a:cubicBezTo>
                  <a:cubicBezTo>
                    <a:pt x="834318" y="675635"/>
                    <a:pt x="863533" y="667417"/>
                    <a:pt x="893298" y="658697"/>
                  </a:cubicBezTo>
                  <a:cubicBezTo>
                    <a:pt x="899712" y="656793"/>
                    <a:pt x="903470" y="653085"/>
                    <a:pt x="905926" y="646270"/>
                  </a:cubicBezTo>
                  <a:lnTo>
                    <a:pt x="906477" y="644717"/>
                  </a:lnTo>
                  <a:cubicBezTo>
                    <a:pt x="908582" y="638704"/>
                    <a:pt x="911187" y="631287"/>
                    <a:pt x="919305" y="628030"/>
                  </a:cubicBezTo>
                  <a:lnTo>
                    <a:pt x="920157" y="627679"/>
                  </a:lnTo>
                  <a:lnTo>
                    <a:pt x="921059" y="627930"/>
                  </a:lnTo>
                  <a:cubicBezTo>
                    <a:pt x="923615" y="628682"/>
                    <a:pt x="925869" y="629984"/>
                    <a:pt x="928074" y="631237"/>
                  </a:cubicBezTo>
                  <a:cubicBezTo>
                    <a:pt x="932935" y="634043"/>
                    <a:pt x="936192" y="635647"/>
                    <a:pt x="940853" y="633141"/>
                  </a:cubicBezTo>
                  <a:cubicBezTo>
                    <a:pt x="950574" y="627880"/>
                    <a:pt x="960395" y="622819"/>
                    <a:pt x="970217" y="617707"/>
                  </a:cubicBezTo>
                  <a:cubicBezTo>
                    <a:pt x="984599" y="610241"/>
                    <a:pt x="999481" y="602524"/>
                    <a:pt x="1013813" y="594456"/>
                  </a:cubicBezTo>
                  <a:cubicBezTo>
                    <a:pt x="1019575" y="591249"/>
                    <a:pt x="1026591" y="587992"/>
                    <a:pt x="1035260" y="588744"/>
                  </a:cubicBezTo>
                  <a:cubicBezTo>
                    <a:pt x="1039619" y="589145"/>
                    <a:pt x="1043979" y="589796"/>
                    <a:pt x="1048539" y="590497"/>
                  </a:cubicBezTo>
                  <a:cubicBezTo>
                    <a:pt x="1050193" y="590748"/>
                    <a:pt x="1051896" y="590999"/>
                    <a:pt x="1053650" y="591299"/>
                  </a:cubicBezTo>
                  <a:cubicBezTo>
                    <a:pt x="1054753" y="590297"/>
                    <a:pt x="1055855" y="589345"/>
                    <a:pt x="1056958" y="588393"/>
                  </a:cubicBezTo>
                  <a:cubicBezTo>
                    <a:pt x="1060014" y="585737"/>
                    <a:pt x="1063171" y="582981"/>
                    <a:pt x="1065877" y="579924"/>
                  </a:cubicBezTo>
                  <a:cubicBezTo>
                    <a:pt x="1072842" y="572007"/>
                    <a:pt x="1073093" y="564841"/>
                    <a:pt x="1066729" y="555320"/>
                  </a:cubicBezTo>
                  <a:cubicBezTo>
                    <a:pt x="1064725" y="552314"/>
                    <a:pt x="1062620" y="549357"/>
                    <a:pt x="1060465" y="546451"/>
                  </a:cubicBezTo>
                  <a:cubicBezTo>
                    <a:pt x="1057108" y="541790"/>
                    <a:pt x="1053600" y="536930"/>
                    <a:pt x="1050594" y="531819"/>
                  </a:cubicBezTo>
                  <a:cubicBezTo>
                    <a:pt x="1048338" y="527960"/>
                    <a:pt x="1046986" y="523751"/>
                    <a:pt x="1045683" y="519692"/>
                  </a:cubicBezTo>
                  <a:cubicBezTo>
                    <a:pt x="1045132" y="517988"/>
                    <a:pt x="1044630" y="516335"/>
                    <a:pt x="1044029" y="514731"/>
                  </a:cubicBezTo>
                  <a:lnTo>
                    <a:pt x="1043428" y="513178"/>
                  </a:lnTo>
                  <a:lnTo>
                    <a:pt x="1049541" y="506713"/>
                  </a:lnTo>
                  <a:cubicBezTo>
                    <a:pt x="1054202" y="501803"/>
                    <a:pt x="1057809" y="498044"/>
                    <a:pt x="1061417" y="494336"/>
                  </a:cubicBezTo>
                  <a:lnTo>
                    <a:pt x="1063372" y="492282"/>
                  </a:lnTo>
                  <a:cubicBezTo>
                    <a:pt x="1065927" y="489576"/>
                    <a:pt x="1068583" y="486820"/>
                    <a:pt x="1071540" y="484314"/>
                  </a:cubicBezTo>
                  <a:cubicBezTo>
                    <a:pt x="1082113" y="475395"/>
                    <a:pt x="1083366" y="471185"/>
                    <a:pt x="1078104" y="461664"/>
                  </a:cubicBezTo>
                  <a:lnTo>
                    <a:pt x="1075598" y="457104"/>
                  </a:lnTo>
                  <a:cubicBezTo>
                    <a:pt x="1066879" y="441169"/>
                    <a:pt x="1057860" y="424683"/>
                    <a:pt x="1044480" y="411404"/>
                  </a:cubicBezTo>
                  <a:cubicBezTo>
                    <a:pt x="1028094" y="395218"/>
                    <a:pt x="1010205" y="378131"/>
                    <a:pt x="990211" y="362747"/>
                  </a:cubicBezTo>
                  <a:cubicBezTo>
                    <a:pt x="982093" y="356533"/>
                    <a:pt x="974125" y="349869"/>
                    <a:pt x="966409" y="343405"/>
                  </a:cubicBezTo>
                  <a:cubicBezTo>
                    <a:pt x="963302" y="340799"/>
                    <a:pt x="960195" y="338193"/>
                    <a:pt x="957038" y="335638"/>
                  </a:cubicBezTo>
                  <a:lnTo>
                    <a:pt x="956888" y="335738"/>
                  </a:lnTo>
                  <a:cubicBezTo>
                    <a:pt x="954432" y="337492"/>
                    <a:pt x="952428" y="338945"/>
                    <a:pt x="950423" y="340448"/>
                  </a:cubicBezTo>
                  <a:cubicBezTo>
                    <a:pt x="947918" y="342352"/>
                    <a:pt x="945412" y="344256"/>
                    <a:pt x="943157" y="345960"/>
                  </a:cubicBezTo>
                  <a:lnTo>
                    <a:pt x="940502" y="347965"/>
                  </a:lnTo>
                  <a:lnTo>
                    <a:pt x="939099" y="347413"/>
                  </a:lnTo>
                  <a:cubicBezTo>
                    <a:pt x="930981" y="344357"/>
                    <a:pt x="922863" y="341500"/>
                    <a:pt x="920157" y="343405"/>
                  </a:cubicBezTo>
                  <a:cubicBezTo>
                    <a:pt x="917652" y="345209"/>
                    <a:pt x="917501" y="352925"/>
                    <a:pt x="917702" y="360993"/>
                  </a:cubicBezTo>
                  <a:cubicBezTo>
                    <a:pt x="918554" y="392713"/>
                    <a:pt x="913542" y="423130"/>
                    <a:pt x="909083" y="446030"/>
                  </a:cubicBezTo>
                  <a:cubicBezTo>
                    <a:pt x="908531" y="448736"/>
                    <a:pt x="907680" y="451342"/>
                    <a:pt x="906828" y="453847"/>
                  </a:cubicBezTo>
                  <a:cubicBezTo>
                    <a:pt x="906477" y="454900"/>
                    <a:pt x="906126" y="455902"/>
                    <a:pt x="905825" y="456904"/>
                  </a:cubicBezTo>
                  <a:lnTo>
                    <a:pt x="905074" y="459309"/>
                  </a:lnTo>
                  <a:lnTo>
                    <a:pt x="902619" y="458708"/>
                  </a:lnTo>
                  <a:cubicBezTo>
                    <a:pt x="900013" y="458056"/>
                    <a:pt x="897608" y="457305"/>
                    <a:pt x="895252" y="456603"/>
                  </a:cubicBezTo>
                  <a:cubicBezTo>
                    <a:pt x="890442" y="455100"/>
                    <a:pt x="886333" y="453797"/>
                    <a:pt x="882424" y="454098"/>
                  </a:cubicBezTo>
                  <a:cubicBezTo>
                    <a:pt x="878115" y="454398"/>
                    <a:pt x="873855" y="456353"/>
                    <a:pt x="869746" y="458207"/>
                  </a:cubicBezTo>
                  <a:cubicBezTo>
                    <a:pt x="867992" y="459009"/>
                    <a:pt x="866289" y="459810"/>
                    <a:pt x="864685" y="460412"/>
                  </a:cubicBezTo>
                  <a:lnTo>
                    <a:pt x="863783" y="460762"/>
                  </a:lnTo>
                  <a:lnTo>
                    <a:pt x="862881" y="460462"/>
                  </a:lnTo>
                  <a:cubicBezTo>
                    <a:pt x="857068" y="458558"/>
                    <a:pt x="851857" y="456904"/>
                    <a:pt x="846695" y="455250"/>
                  </a:cubicBezTo>
                  <a:lnTo>
                    <a:pt x="840732" y="453346"/>
                  </a:lnTo>
                  <a:cubicBezTo>
                    <a:pt x="830460" y="473390"/>
                    <a:pt x="812520" y="477549"/>
                    <a:pt x="796185" y="479002"/>
                  </a:cubicBezTo>
                  <a:lnTo>
                    <a:pt x="794431" y="479153"/>
                  </a:lnTo>
                  <a:lnTo>
                    <a:pt x="783657" y="458908"/>
                  </a:lnTo>
                  <a:lnTo>
                    <a:pt x="783657" y="458157"/>
                  </a:lnTo>
                  <a:cubicBezTo>
                    <a:pt x="784910" y="436509"/>
                    <a:pt x="798891" y="428842"/>
                    <a:pt x="811218" y="422077"/>
                  </a:cubicBezTo>
                  <a:cubicBezTo>
                    <a:pt x="813322" y="420925"/>
                    <a:pt x="815427" y="419772"/>
                    <a:pt x="817431" y="418570"/>
                  </a:cubicBezTo>
                  <a:cubicBezTo>
                    <a:pt x="820338" y="410652"/>
                    <a:pt x="817281" y="404840"/>
                    <a:pt x="813222" y="398576"/>
                  </a:cubicBezTo>
                  <a:cubicBezTo>
                    <a:pt x="810566" y="394467"/>
                    <a:pt x="806257" y="393715"/>
                    <a:pt x="801196" y="392913"/>
                  </a:cubicBezTo>
                  <a:cubicBezTo>
                    <a:pt x="800193" y="392763"/>
                    <a:pt x="799191" y="392563"/>
                    <a:pt x="798189" y="392362"/>
                  </a:cubicBezTo>
                  <a:cubicBezTo>
                    <a:pt x="772783" y="387201"/>
                    <a:pt x="751536" y="386950"/>
                    <a:pt x="731342" y="391661"/>
                  </a:cubicBezTo>
                  <a:lnTo>
                    <a:pt x="729689" y="392062"/>
                  </a:lnTo>
                  <a:cubicBezTo>
                    <a:pt x="720819" y="394166"/>
                    <a:pt x="711699" y="396321"/>
                    <a:pt x="700875" y="393364"/>
                  </a:cubicBezTo>
                  <a:lnTo>
                    <a:pt x="699973" y="393114"/>
                  </a:lnTo>
                  <a:lnTo>
                    <a:pt x="699422" y="392362"/>
                  </a:lnTo>
                  <a:cubicBezTo>
                    <a:pt x="698470" y="391109"/>
                    <a:pt x="697418" y="389807"/>
                    <a:pt x="696365" y="388454"/>
                  </a:cubicBezTo>
                  <a:cubicBezTo>
                    <a:pt x="693860" y="385297"/>
                    <a:pt x="691003" y="381689"/>
                    <a:pt x="688749" y="377780"/>
                  </a:cubicBezTo>
                  <a:cubicBezTo>
                    <a:pt x="684439" y="370364"/>
                    <a:pt x="677925" y="365553"/>
                    <a:pt x="668203" y="362547"/>
                  </a:cubicBezTo>
                  <a:cubicBezTo>
                    <a:pt x="664545" y="361444"/>
                    <a:pt x="660887" y="360141"/>
                    <a:pt x="657229" y="358788"/>
                  </a:cubicBezTo>
                  <a:cubicBezTo>
                    <a:pt x="651316" y="356684"/>
                    <a:pt x="645253" y="354479"/>
                    <a:pt x="639190" y="353226"/>
                  </a:cubicBezTo>
                  <a:cubicBezTo>
                    <a:pt x="617041" y="348716"/>
                    <a:pt x="603662" y="353126"/>
                    <a:pt x="594391" y="367958"/>
                  </a:cubicBezTo>
                  <a:cubicBezTo>
                    <a:pt x="592838" y="370464"/>
                    <a:pt x="590282" y="371967"/>
                    <a:pt x="587526" y="373571"/>
                  </a:cubicBezTo>
                  <a:cubicBezTo>
                    <a:pt x="586324" y="374272"/>
                    <a:pt x="585071" y="375024"/>
                    <a:pt x="583818" y="375876"/>
                  </a:cubicBezTo>
                  <a:lnTo>
                    <a:pt x="581663" y="377429"/>
                  </a:lnTo>
                  <a:lnTo>
                    <a:pt x="580110" y="375325"/>
                  </a:lnTo>
                  <a:cubicBezTo>
                    <a:pt x="579007" y="373821"/>
                    <a:pt x="578005" y="372418"/>
                    <a:pt x="577003" y="371015"/>
                  </a:cubicBezTo>
                  <a:cubicBezTo>
                    <a:pt x="574999" y="368159"/>
                    <a:pt x="573245" y="365704"/>
                    <a:pt x="571240" y="363449"/>
                  </a:cubicBezTo>
                  <a:cubicBezTo>
                    <a:pt x="566981" y="358588"/>
                    <a:pt x="563473" y="357836"/>
                    <a:pt x="557510" y="360442"/>
                  </a:cubicBezTo>
                  <a:cubicBezTo>
                    <a:pt x="556157" y="361043"/>
                    <a:pt x="554804" y="361895"/>
                    <a:pt x="553401" y="362847"/>
                  </a:cubicBezTo>
                  <a:cubicBezTo>
                    <a:pt x="551447" y="364100"/>
                    <a:pt x="549392" y="365453"/>
                    <a:pt x="546987" y="366205"/>
                  </a:cubicBezTo>
                  <a:cubicBezTo>
                    <a:pt x="542828" y="367508"/>
                    <a:pt x="535813" y="369763"/>
                    <a:pt x="531102" y="361695"/>
                  </a:cubicBezTo>
                  <a:lnTo>
                    <a:pt x="530250" y="360242"/>
                  </a:lnTo>
                  <a:lnTo>
                    <a:pt x="531202" y="358839"/>
                  </a:lnTo>
                  <a:cubicBezTo>
                    <a:pt x="531653" y="358137"/>
                    <a:pt x="532204" y="357385"/>
                    <a:pt x="532706" y="356684"/>
                  </a:cubicBezTo>
                  <a:cubicBezTo>
                    <a:pt x="533858" y="355080"/>
                    <a:pt x="535011" y="353477"/>
                    <a:pt x="535863" y="351773"/>
                  </a:cubicBezTo>
                  <a:cubicBezTo>
                    <a:pt x="538368" y="346612"/>
                    <a:pt x="539070" y="342503"/>
                    <a:pt x="537817" y="339546"/>
                  </a:cubicBezTo>
                  <a:cubicBezTo>
                    <a:pt x="536714" y="336840"/>
                    <a:pt x="533908" y="334786"/>
                    <a:pt x="529298" y="333182"/>
                  </a:cubicBezTo>
                  <a:cubicBezTo>
                    <a:pt x="524488" y="331528"/>
                    <a:pt x="519376" y="330476"/>
                    <a:pt x="513914" y="329324"/>
                  </a:cubicBezTo>
                  <a:cubicBezTo>
                    <a:pt x="511258" y="328772"/>
                    <a:pt x="508502" y="328171"/>
                    <a:pt x="505646" y="327520"/>
                  </a:cubicBezTo>
                  <a:lnTo>
                    <a:pt x="502389" y="326768"/>
                  </a:lnTo>
                  <a:lnTo>
                    <a:pt x="514115" y="302214"/>
                  </a:lnTo>
                  <a:lnTo>
                    <a:pt x="515067" y="301813"/>
                  </a:lnTo>
                  <a:cubicBezTo>
                    <a:pt x="525590" y="297353"/>
                    <a:pt x="535261" y="299709"/>
                    <a:pt x="543780" y="301763"/>
                  </a:cubicBezTo>
                  <a:cubicBezTo>
                    <a:pt x="546085" y="302314"/>
                    <a:pt x="548340" y="302865"/>
                    <a:pt x="550595" y="303266"/>
                  </a:cubicBezTo>
                  <a:cubicBezTo>
                    <a:pt x="557210" y="298305"/>
                    <a:pt x="559915" y="291090"/>
                    <a:pt x="562571" y="284024"/>
                  </a:cubicBezTo>
                  <a:lnTo>
                    <a:pt x="562922" y="283122"/>
                  </a:lnTo>
                  <a:cubicBezTo>
                    <a:pt x="565327" y="276708"/>
                    <a:pt x="570438" y="274002"/>
                    <a:pt x="574999" y="271647"/>
                  </a:cubicBezTo>
                  <a:cubicBezTo>
                    <a:pt x="577905" y="270093"/>
                    <a:pt x="580661" y="268640"/>
                    <a:pt x="582866" y="266335"/>
                  </a:cubicBezTo>
                  <a:lnTo>
                    <a:pt x="580060" y="254660"/>
                  </a:lnTo>
                  <a:cubicBezTo>
                    <a:pt x="562671" y="246041"/>
                    <a:pt x="544933" y="245990"/>
                    <a:pt x="524437" y="254409"/>
                  </a:cubicBezTo>
                  <a:cubicBezTo>
                    <a:pt x="524437" y="255311"/>
                    <a:pt x="524437" y="256213"/>
                    <a:pt x="524488" y="257065"/>
                  </a:cubicBezTo>
                  <a:cubicBezTo>
                    <a:pt x="524588" y="260573"/>
                    <a:pt x="524638" y="263830"/>
                    <a:pt x="524287" y="267187"/>
                  </a:cubicBezTo>
                  <a:cubicBezTo>
                    <a:pt x="523886" y="270444"/>
                    <a:pt x="523035" y="273551"/>
                    <a:pt x="522182" y="276558"/>
                  </a:cubicBezTo>
                  <a:cubicBezTo>
                    <a:pt x="521832" y="277810"/>
                    <a:pt x="521531" y="279013"/>
                    <a:pt x="521230" y="280166"/>
                  </a:cubicBezTo>
                  <a:lnTo>
                    <a:pt x="520779" y="282020"/>
                  </a:lnTo>
                  <a:lnTo>
                    <a:pt x="518875" y="282220"/>
                  </a:lnTo>
                  <a:cubicBezTo>
                    <a:pt x="505195" y="283673"/>
                    <a:pt x="496727" y="283623"/>
                    <a:pt x="491014" y="278963"/>
                  </a:cubicBezTo>
                  <a:cubicBezTo>
                    <a:pt x="485352" y="274353"/>
                    <a:pt x="483397" y="265834"/>
                    <a:pt x="481994" y="251853"/>
                  </a:cubicBezTo>
                  <a:cubicBezTo>
                    <a:pt x="475530" y="247394"/>
                    <a:pt x="467863" y="247193"/>
                    <a:pt x="459796" y="247043"/>
                  </a:cubicBezTo>
                  <a:cubicBezTo>
                    <a:pt x="458292" y="247043"/>
                    <a:pt x="456739" y="246993"/>
                    <a:pt x="455235" y="246893"/>
                  </a:cubicBezTo>
                  <a:cubicBezTo>
                    <a:pt x="453281" y="246792"/>
                    <a:pt x="451227" y="246842"/>
                    <a:pt x="449172" y="246893"/>
                  </a:cubicBezTo>
                  <a:cubicBezTo>
                    <a:pt x="442708" y="246993"/>
                    <a:pt x="436093" y="247093"/>
                    <a:pt x="430882" y="244036"/>
                  </a:cubicBezTo>
                  <a:cubicBezTo>
                    <a:pt x="420108" y="237823"/>
                    <a:pt x="410186" y="238975"/>
                    <a:pt x="401016" y="241130"/>
                  </a:cubicBezTo>
                  <a:cubicBezTo>
                    <a:pt x="378717" y="246391"/>
                    <a:pt x="356118" y="246291"/>
                    <a:pt x="331965" y="240779"/>
                  </a:cubicBezTo>
                  <a:cubicBezTo>
                    <a:pt x="324598" y="239125"/>
                    <a:pt x="316681" y="238674"/>
                    <a:pt x="309014" y="238223"/>
                  </a:cubicBezTo>
                  <a:lnTo>
                    <a:pt x="304354" y="237973"/>
                  </a:lnTo>
                  <a:lnTo>
                    <a:pt x="304354" y="237973"/>
                  </a:lnTo>
                  <a:cubicBezTo>
                    <a:pt x="303853" y="237973"/>
                    <a:pt x="302600" y="238825"/>
                    <a:pt x="301949" y="239276"/>
                  </a:cubicBezTo>
                  <a:cubicBezTo>
                    <a:pt x="301548" y="239526"/>
                    <a:pt x="301197" y="239777"/>
                    <a:pt x="300846" y="239977"/>
                  </a:cubicBezTo>
                  <a:cubicBezTo>
                    <a:pt x="299894" y="241731"/>
                    <a:pt x="299593" y="243836"/>
                    <a:pt x="299243" y="246241"/>
                  </a:cubicBezTo>
                  <a:cubicBezTo>
                    <a:pt x="298591" y="250901"/>
                    <a:pt x="297790" y="256764"/>
                    <a:pt x="291175" y="261324"/>
                  </a:cubicBezTo>
                  <a:lnTo>
                    <a:pt x="288369" y="263279"/>
                  </a:lnTo>
                  <a:lnTo>
                    <a:pt x="287116" y="260122"/>
                  </a:lnTo>
                  <a:cubicBezTo>
                    <a:pt x="281554" y="245890"/>
                    <a:pt x="269878" y="240027"/>
                    <a:pt x="257451" y="233764"/>
                  </a:cubicBezTo>
                  <a:cubicBezTo>
                    <a:pt x="256298" y="233162"/>
                    <a:pt x="255146" y="232611"/>
                    <a:pt x="253993" y="232010"/>
                  </a:cubicBezTo>
                  <a:cubicBezTo>
                    <a:pt x="239010" y="240879"/>
                    <a:pt x="226132" y="250801"/>
                    <a:pt x="214507" y="262226"/>
                  </a:cubicBezTo>
                  <a:cubicBezTo>
                    <a:pt x="206639" y="269993"/>
                    <a:pt x="198772" y="277710"/>
                    <a:pt x="190905" y="285477"/>
                  </a:cubicBezTo>
                  <a:cubicBezTo>
                    <a:pt x="185543" y="290789"/>
                    <a:pt x="179580" y="292443"/>
                    <a:pt x="173216" y="290438"/>
                  </a:cubicBezTo>
                  <a:cubicBezTo>
                    <a:pt x="137938" y="279364"/>
                    <a:pt x="111731" y="263780"/>
                    <a:pt x="90684" y="241380"/>
                  </a:cubicBezTo>
                  <a:lnTo>
                    <a:pt x="89582" y="240178"/>
                  </a:lnTo>
                  <a:lnTo>
                    <a:pt x="90083" y="238674"/>
                  </a:lnTo>
                  <a:cubicBezTo>
                    <a:pt x="91236" y="235367"/>
                    <a:pt x="92238" y="232010"/>
                    <a:pt x="93290" y="228652"/>
                  </a:cubicBezTo>
                  <a:cubicBezTo>
                    <a:pt x="95695" y="220885"/>
                    <a:pt x="98201" y="212818"/>
                    <a:pt x="101809" y="205351"/>
                  </a:cubicBezTo>
                  <a:cubicBezTo>
                    <a:pt x="106219" y="196382"/>
                    <a:pt x="105868" y="188665"/>
                    <a:pt x="100656" y="178793"/>
                  </a:cubicBezTo>
                  <a:cubicBezTo>
                    <a:pt x="99905" y="177390"/>
                    <a:pt x="99103" y="175987"/>
                    <a:pt x="98251" y="174584"/>
                  </a:cubicBezTo>
                  <a:cubicBezTo>
                    <a:pt x="94693" y="168570"/>
                    <a:pt x="90684" y="161705"/>
                    <a:pt x="92037" y="152635"/>
                  </a:cubicBezTo>
                  <a:lnTo>
                    <a:pt x="92238" y="151383"/>
                  </a:lnTo>
                  <a:lnTo>
                    <a:pt x="93340" y="150731"/>
                  </a:lnTo>
                  <a:cubicBezTo>
                    <a:pt x="111029" y="140158"/>
                    <a:pt x="128618" y="131890"/>
                    <a:pt x="147108" y="125376"/>
                  </a:cubicBezTo>
                  <a:cubicBezTo>
                    <a:pt x="158032" y="121517"/>
                    <a:pt x="167052" y="122469"/>
                    <a:pt x="176222" y="128382"/>
                  </a:cubicBezTo>
                  <a:cubicBezTo>
                    <a:pt x="183288" y="132942"/>
                    <a:pt x="190754" y="137101"/>
                    <a:pt x="198672" y="141461"/>
                  </a:cubicBezTo>
                  <a:cubicBezTo>
                    <a:pt x="201729" y="143165"/>
                    <a:pt x="204886" y="144918"/>
                    <a:pt x="208143" y="146722"/>
                  </a:cubicBezTo>
                  <a:lnTo>
                    <a:pt x="209546" y="145069"/>
                  </a:lnTo>
                  <a:cubicBezTo>
                    <a:pt x="221021" y="131840"/>
                    <a:pt x="230943" y="120415"/>
                    <a:pt x="230291" y="103026"/>
                  </a:cubicBezTo>
                  <a:cubicBezTo>
                    <a:pt x="230191" y="100270"/>
                    <a:pt x="230191" y="97514"/>
                    <a:pt x="230241" y="94758"/>
                  </a:cubicBezTo>
                  <a:cubicBezTo>
                    <a:pt x="230241" y="90499"/>
                    <a:pt x="230291" y="86139"/>
                    <a:pt x="229840" y="81930"/>
                  </a:cubicBezTo>
                  <a:cubicBezTo>
                    <a:pt x="229489" y="78322"/>
                    <a:pt x="228738" y="73161"/>
                    <a:pt x="226383" y="69954"/>
                  </a:cubicBezTo>
                  <a:cubicBezTo>
                    <a:pt x="217413" y="57827"/>
                    <a:pt x="208042" y="46152"/>
                    <a:pt x="198471" y="35278"/>
                  </a:cubicBezTo>
                  <a:cubicBezTo>
                    <a:pt x="195966" y="32421"/>
                    <a:pt x="192659" y="30166"/>
                    <a:pt x="189201" y="27761"/>
                  </a:cubicBezTo>
                  <a:cubicBezTo>
                    <a:pt x="187397" y="26558"/>
                    <a:pt x="185643" y="25306"/>
                    <a:pt x="183939" y="24003"/>
                  </a:cubicBezTo>
                  <a:cubicBezTo>
                    <a:pt x="181734" y="22299"/>
                    <a:pt x="179530" y="20495"/>
                    <a:pt x="177325" y="18741"/>
                  </a:cubicBezTo>
                  <a:cubicBezTo>
                    <a:pt x="174619" y="16586"/>
                    <a:pt x="171913" y="14382"/>
                    <a:pt x="169157" y="12277"/>
                  </a:cubicBezTo>
                  <a:cubicBezTo>
                    <a:pt x="166701" y="10373"/>
                    <a:pt x="165399" y="7667"/>
                    <a:pt x="164246" y="5312"/>
                  </a:cubicBezTo>
                  <a:cubicBezTo>
                    <a:pt x="163094" y="2956"/>
                    <a:pt x="162192" y="1153"/>
                    <a:pt x="160739" y="0"/>
                  </a:cubicBezTo>
                  <a:cubicBezTo>
                    <a:pt x="160287" y="1403"/>
                    <a:pt x="159886" y="2606"/>
                    <a:pt x="159786" y="3708"/>
                  </a:cubicBezTo>
                  <a:cubicBezTo>
                    <a:pt x="159285" y="8318"/>
                    <a:pt x="159636" y="13329"/>
                    <a:pt x="160037" y="18190"/>
                  </a:cubicBezTo>
                  <a:cubicBezTo>
                    <a:pt x="160739" y="28012"/>
                    <a:pt x="161490" y="38184"/>
                    <a:pt x="155577" y="46602"/>
                  </a:cubicBezTo>
                  <a:cubicBezTo>
                    <a:pt x="149514" y="55221"/>
                    <a:pt x="140945" y="62086"/>
                    <a:pt x="132627" y="68701"/>
                  </a:cubicBezTo>
                  <a:cubicBezTo>
                    <a:pt x="129169" y="71457"/>
                    <a:pt x="125561" y="74313"/>
                    <a:pt x="122254" y="77270"/>
                  </a:cubicBezTo>
                  <a:cubicBezTo>
                    <a:pt x="120350" y="78923"/>
                    <a:pt x="118395" y="80577"/>
                    <a:pt x="116441" y="82131"/>
                  </a:cubicBezTo>
                  <a:lnTo>
                    <a:pt x="114938" y="83383"/>
                  </a:lnTo>
                  <a:cubicBezTo>
                    <a:pt x="110027" y="87392"/>
                    <a:pt x="105116" y="91351"/>
                    <a:pt x="100255" y="95360"/>
                  </a:cubicBezTo>
                  <a:cubicBezTo>
                    <a:pt x="88830" y="104680"/>
                    <a:pt x="77054" y="114301"/>
                    <a:pt x="65279" y="123572"/>
                  </a:cubicBezTo>
                  <a:cubicBezTo>
                    <a:pt x="59015" y="128482"/>
                    <a:pt x="56359" y="134045"/>
                    <a:pt x="56610" y="141661"/>
                  </a:cubicBezTo>
                  <a:cubicBezTo>
                    <a:pt x="56710" y="145369"/>
                    <a:pt x="56610" y="149128"/>
                    <a:pt x="56559" y="152886"/>
                  </a:cubicBezTo>
                  <a:cubicBezTo>
                    <a:pt x="56459" y="157747"/>
                    <a:pt x="56309" y="162758"/>
                    <a:pt x="56710" y="167568"/>
                  </a:cubicBezTo>
                  <a:cubicBezTo>
                    <a:pt x="57762" y="180647"/>
                    <a:pt x="53102" y="190318"/>
                    <a:pt x="42078" y="198035"/>
                  </a:cubicBezTo>
                  <a:cubicBezTo>
                    <a:pt x="30853" y="205902"/>
                    <a:pt x="19829" y="214822"/>
                    <a:pt x="9406" y="224594"/>
                  </a:cubicBezTo>
                  <a:cubicBezTo>
                    <a:pt x="-967" y="234315"/>
                    <a:pt x="-2921" y="248747"/>
                    <a:pt x="4345" y="262226"/>
                  </a:cubicBezTo>
                  <a:cubicBezTo>
                    <a:pt x="6550" y="266335"/>
                    <a:pt x="9255" y="270244"/>
                    <a:pt x="11861" y="27390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25" name="Полилиния: фигура 124">
              <a:extLst>
                <a:ext uri="{FF2B5EF4-FFF2-40B4-BE49-F238E27FC236}">
                  <a16:creationId xmlns:a16="http://schemas.microsoft.com/office/drawing/2014/main" id="{CF069AF0-BED2-46C9-A21B-B2DBFB1732D7}"/>
                </a:ext>
              </a:extLst>
            </p:cNvPr>
            <p:cNvSpPr/>
            <p:nvPr/>
          </p:nvSpPr>
          <p:spPr>
            <a:xfrm>
              <a:off x="5533479" y="5472974"/>
              <a:ext cx="923869" cy="583545"/>
            </a:xfrm>
            <a:custGeom>
              <a:avLst/>
              <a:gdLst>
                <a:gd name="connsiteX0" fmla="*/ 726822 w 740801"/>
                <a:gd name="connsiteY0" fmla="*/ 148411 h 467913"/>
                <a:gd name="connsiteX1" fmla="*/ 733487 w 740801"/>
                <a:gd name="connsiteY1" fmla="*/ 117043 h 467913"/>
                <a:gd name="connsiteX2" fmla="*/ 733637 w 740801"/>
                <a:gd name="connsiteY2" fmla="*/ 110979 h 467913"/>
                <a:gd name="connsiteX3" fmla="*/ 733737 w 740801"/>
                <a:gd name="connsiteY3" fmla="*/ 107772 h 467913"/>
                <a:gd name="connsiteX4" fmla="*/ 737846 w 740801"/>
                <a:gd name="connsiteY4" fmla="*/ 89281 h 467913"/>
                <a:gd name="connsiteX5" fmla="*/ 740352 w 740801"/>
                <a:gd name="connsiteY5" fmla="*/ 79259 h 467913"/>
                <a:gd name="connsiteX6" fmla="*/ 730279 w 740801"/>
                <a:gd name="connsiteY6" fmla="*/ 75000 h 467913"/>
                <a:gd name="connsiteX7" fmla="*/ 721410 w 740801"/>
                <a:gd name="connsiteY7" fmla="*/ 74800 h 467913"/>
                <a:gd name="connsiteX8" fmla="*/ 682976 w 740801"/>
                <a:gd name="connsiteY8" fmla="*/ 61070 h 467913"/>
                <a:gd name="connsiteX9" fmla="*/ 645493 w 740801"/>
                <a:gd name="connsiteY9" fmla="*/ 30151 h 467913"/>
                <a:gd name="connsiteX10" fmla="*/ 617281 w 740801"/>
                <a:gd name="connsiteY10" fmla="*/ 7051 h 467913"/>
                <a:gd name="connsiteX11" fmla="*/ 589069 w 740801"/>
                <a:gd name="connsiteY11" fmla="*/ 1939 h 467913"/>
                <a:gd name="connsiteX12" fmla="*/ 562812 w 740801"/>
                <a:gd name="connsiteY12" fmla="*/ 12162 h 467913"/>
                <a:gd name="connsiteX13" fmla="*/ 528787 w 740801"/>
                <a:gd name="connsiteY13" fmla="*/ 14467 h 467913"/>
                <a:gd name="connsiteX14" fmla="*/ 515007 w 740801"/>
                <a:gd name="connsiteY14" fmla="*/ 14668 h 467913"/>
                <a:gd name="connsiteX15" fmla="*/ 483287 w 740801"/>
                <a:gd name="connsiteY15" fmla="*/ 15971 h 467913"/>
                <a:gd name="connsiteX16" fmla="*/ 448962 w 740801"/>
                <a:gd name="connsiteY16" fmla="*/ 19879 h 467913"/>
                <a:gd name="connsiteX17" fmla="*/ 447358 w 740801"/>
                <a:gd name="connsiteY17" fmla="*/ 21382 h 467913"/>
                <a:gd name="connsiteX18" fmla="*/ 442297 w 740801"/>
                <a:gd name="connsiteY18" fmla="*/ 27295 h 467913"/>
                <a:gd name="connsiteX19" fmla="*/ 433828 w 740801"/>
                <a:gd name="connsiteY19" fmla="*/ 48742 h 467913"/>
                <a:gd name="connsiteX20" fmla="*/ 414185 w 740801"/>
                <a:gd name="connsiteY20" fmla="*/ 70791 h 467913"/>
                <a:gd name="connsiteX21" fmla="*/ 411529 w 740801"/>
                <a:gd name="connsiteY21" fmla="*/ 72144 h 467913"/>
                <a:gd name="connsiteX22" fmla="*/ 407771 w 740801"/>
                <a:gd name="connsiteY22" fmla="*/ 73998 h 467913"/>
                <a:gd name="connsiteX23" fmla="*/ 377605 w 740801"/>
                <a:gd name="connsiteY23" fmla="*/ 100255 h 467913"/>
                <a:gd name="connsiteX24" fmla="*/ 351297 w 740801"/>
                <a:gd name="connsiteY24" fmla="*/ 136936 h 467913"/>
                <a:gd name="connsiteX25" fmla="*/ 335613 w 740801"/>
                <a:gd name="connsiteY25" fmla="*/ 152270 h 467913"/>
                <a:gd name="connsiteX26" fmla="*/ 301588 w 740801"/>
                <a:gd name="connsiteY26" fmla="*/ 172113 h 467913"/>
                <a:gd name="connsiteX27" fmla="*/ 284400 w 740801"/>
                <a:gd name="connsiteY27" fmla="*/ 181935 h 467913"/>
                <a:gd name="connsiteX28" fmla="*/ 262251 w 740801"/>
                <a:gd name="connsiteY28" fmla="*/ 185944 h 467913"/>
                <a:gd name="connsiteX29" fmla="*/ 250626 w 740801"/>
                <a:gd name="connsiteY29" fmla="*/ 184240 h 467913"/>
                <a:gd name="connsiteX30" fmla="*/ 171803 w 740801"/>
                <a:gd name="connsiteY30" fmla="*/ 166501 h 467913"/>
                <a:gd name="connsiteX31" fmla="*/ 167794 w 740801"/>
                <a:gd name="connsiteY31" fmla="*/ 164998 h 467913"/>
                <a:gd name="connsiteX32" fmla="*/ 136926 w 740801"/>
                <a:gd name="connsiteY32" fmla="*/ 141697 h 467913"/>
                <a:gd name="connsiteX33" fmla="*/ 115729 w 740801"/>
                <a:gd name="connsiteY33" fmla="*/ 134431 h 467913"/>
                <a:gd name="connsiteX34" fmla="*/ 104705 w 740801"/>
                <a:gd name="connsiteY34" fmla="*/ 137938 h 467913"/>
                <a:gd name="connsiteX35" fmla="*/ 78047 w 740801"/>
                <a:gd name="connsiteY35" fmla="*/ 148161 h 467913"/>
                <a:gd name="connsiteX36" fmla="*/ 75591 w 740801"/>
                <a:gd name="connsiteY36" fmla="*/ 167153 h 467913"/>
                <a:gd name="connsiteX37" fmla="*/ 75240 w 740801"/>
                <a:gd name="connsiteY37" fmla="*/ 177926 h 467913"/>
                <a:gd name="connsiteX38" fmla="*/ 72685 w 740801"/>
                <a:gd name="connsiteY38" fmla="*/ 188850 h 467913"/>
                <a:gd name="connsiteX39" fmla="*/ 71632 w 740801"/>
                <a:gd name="connsiteY39" fmla="*/ 192558 h 467913"/>
                <a:gd name="connsiteX40" fmla="*/ 71232 w 740801"/>
                <a:gd name="connsiteY40" fmla="*/ 194062 h 467913"/>
                <a:gd name="connsiteX41" fmla="*/ 69728 w 740801"/>
                <a:gd name="connsiteY41" fmla="*/ 194463 h 467913"/>
                <a:gd name="connsiteX42" fmla="*/ 21773 w 740801"/>
                <a:gd name="connsiteY42" fmla="*/ 194663 h 467913"/>
                <a:gd name="connsiteX43" fmla="*/ 1578 w 740801"/>
                <a:gd name="connsiteY43" fmla="*/ 192458 h 467913"/>
                <a:gd name="connsiteX44" fmla="*/ 2180 w 740801"/>
                <a:gd name="connsiteY44" fmla="*/ 242618 h 467913"/>
                <a:gd name="connsiteX45" fmla="*/ 18065 w 740801"/>
                <a:gd name="connsiteY45" fmla="*/ 253693 h 467913"/>
                <a:gd name="connsiteX46" fmla="*/ 19969 w 740801"/>
                <a:gd name="connsiteY46" fmla="*/ 284611 h 467913"/>
                <a:gd name="connsiteX47" fmla="*/ 32496 w 740801"/>
                <a:gd name="connsiteY47" fmla="*/ 325300 h 467913"/>
                <a:gd name="connsiteX48" fmla="*/ 31895 w 740801"/>
                <a:gd name="connsiteY48" fmla="*/ 326803 h 467913"/>
                <a:gd name="connsiteX49" fmla="*/ 30291 w 740801"/>
                <a:gd name="connsiteY49" fmla="*/ 327004 h 467913"/>
                <a:gd name="connsiteX50" fmla="*/ 25531 w 740801"/>
                <a:gd name="connsiteY50" fmla="*/ 327455 h 467913"/>
                <a:gd name="connsiteX51" fmla="*/ 677 w 740801"/>
                <a:gd name="connsiteY51" fmla="*/ 337226 h 467913"/>
                <a:gd name="connsiteX52" fmla="*/ 16060 w 740801"/>
                <a:gd name="connsiteY52" fmla="*/ 365538 h 467913"/>
                <a:gd name="connsiteX53" fmla="*/ 76243 w 740801"/>
                <a:gd name="connsiteY53" fmla="*/ 356769 h 467913"/>
                <a:gd name="connsiteX54" fmla="*/ 77295 w 740801"/>
                <a:gd name="connsiteY54" fmla="*/ 353161 h 467913"/>
                <a:gd name="connsiteX55" fmla="*/ 81053 w 740801"/>
                <a:gd name="connsiteY55" fmla="*/ 342037 h 467913"/>
                <a:gd name="connsiteX56" fmla="*/ 87267 w 740801"/>
                <a:gd name="connsiteY56" fmla="*/ 330261 h 467913"/>
                <a:gd name="connsiteX57" fmla="*/ 90173 w 740801"/>
                <a:gd name="connsiteY57" fmla="*/ 325150 h 467913"/>
                <a:gd name="connsiteX58" fmla="*/ 90875 w 740801"/>
                <a:gd name="connsiteY58" fmla="*/ 323897 h 467913"/>
                <a:gd name="connsiteX59" fmla="*/ 92278 w 740801"/>
                <a:gd name="connsiteY59" fmla="*/ 323747 h 467913"/>
                <a:gd name="connsiteX60" fmla="*/ 121843 w 740801"/>
                <a:gd name="connsiteY60" fmla="*/ 327254 h 467913"/>
                <a:gd name="connsiteX61" fmla="*/ 158072 w 740801"/>
                <a:gd name="connsiteY61" fmla="*/ 322444 h 467913"/>
                <a:gd name="connsiteX62" fmla="*/ 200265 w 740801"/>
                <a:gd name="connsiteY62" fmla="*/ 311871 h 467913"/>
                <a:gd name="connsiteX63" fmla="*/ 205727 w 740801"/>
                <a:gd name="connsiteY63" fmla="*/ 311069 h 467913"/>
                <a:gd name="connsiteX64" fmla="*/ 207381 w 740801"/>
                <a:gd name="connsiteY64" fmla="*/ 310668 h 467913"/>
                <a:gd name="connsiteX65" fmla="*/ 210187 w 740801"/>
                <a:gd name="connsiteY65" fmla="*/ 307561 h 467913"/>
                <a:gd name="connsiteX66" fmla="*/ 217253 w 740801"/>
                <a:gd name="connsiteY66" fmla="*/ 300295 h 467913"/>
                <a:gd name="connsiteX67" fmla="*/ 243210 w 740801"/>
                <a:gd name="connsiteY67" fmla="*/ 300496 h 467913"/>
                <a:gd name="connsiteX68" fmla="*/ 251728 w 740801"/>
                <a:gd name="connsiteY68" fmla="*/ 307511 h 467913"/>
                <a:gd name="connsiteX69" fmla="*/ 254685 w 740801"/>
                <a:gd name="connsiteY69" fmla="*/ 309916 h 467913"/>
                <a:gd name="connsiteX70" fmla="*/ 278086 w 740801"/>
                <a:gd name="connsiteY70" fmla="*/ 302901 h 467913"/>
                <a:gd name="connsiteX71" fmla="*/ 279189 w 740801"/>
                <a:gd name="connsiteY71" fmla="*/ 311520 h 467913"/>
                <a:gd name="connsiteX72" fmla="*/ 280792 w 740801"/>
                <a:gd name="connsiteY72" fmla="*/ 323145 h 467913"/>
                <a:gd name="connsiteX73" fmla="*/ 299683 w 740801"/>
                <a:gd name="connsiteY73" fmla="*/ 340032 h 467913"/>
                <a:gd name="connsiteX74" fmla="*/ 346136 w 740801"/>
                <a:gd name="connsiteY74" fmla="*/ 345895 h 467913"/>
                <a:gd name="connsiteX75" fmla="*/ 358613 w 740801"/>
                <a:gd name="connsiteY75" fmla="*/ 348300 h 467913"/>
                <a:gd name="connsiteX76" fmla="*/ 376903 w 740801"/>
                <a:gd name="connsiteY76" fmla="*/ 365088 h 467913"/>
                <a:gd name="connsiteX77" fmla="*/ 382616 w 740801"/>
                <a:gd name="connsiteY77" fmla="*/ 384731 h 467913"/>
                <a:gd name="connsiteX78" fmla="*/ 389381 w 740801"/>
                <a:gd name="connsiteY78" fmla="*/ 408232 h 467913"/>
                <a:gd name="connsiteX79" fmla="*/ 400004 w 740801"/>
                <a:gd name="connsiteY79" fmla="*/ 418956 h 467913"/>
                <a:gd name="connsiteX80" fmla="*/ 413233 w 740801"/>
                <a:gd name="connsiteY80" fmla="*/ 422063 h 467913"/>
                <a:gd name="connsiteX81" fmla="*/ 443700 w 740801"/>
                <a:gd name="connsiteY81" fmla="*/ 430080 h 467913"/>
                <a:gd name="connsiteX82" fmla="*/ 478276 w 740801"/>
                <a:gd name="connsiteY82" fmla="*/ 425971 h 467913"/>
                <a:gd name="connsiteX83" fmla="*/ 479478 w 740801"/>
                <a:gd name="connsiteY83" fmla="*/ 424969 h 467913"/>
                <a:gd name="connsiteX84" fmla="*/ 480932 w 740801"/>
                <a:gd name="connsiteY84" fmla="*/ 425520 h 467913"/>
                <a:gd name="connsiteX85" fmla="*/ 492156 w 740801"/>
                <a:gd name="connsiteY85" fmla="*/ 429729 h 467913"/>
                <a:gd name="connsiteX86" fmla="*/ 515207 w 740801"/>
                <a:gd name="connsiteY86" fmla="*/ 439050 h 467913"/>
                <a:gd name="connsiteX87" fmla="*/ 535552 w 740801"/>
                <a:gd name="connsiteY87" fmla="*/ 443209 h 467913"/>
                <a:gd name="connsiteX88" fmla="*/ 549332 w 740801"/>
                <a:gd name="connsiteY88" fmla="*/ 445013 h 467913"/>
                <a:gd name="connsiteX89" fmla="*/ 551737 w 740801"/>
                <a:gd name="connsiteY89" fmla="*/ 445765 h 467913"/>
                <a:gd name="connsiteX90" fmla="*/ 553742 w 740801"/>
                <a:gd name="connsiteY90" fmla="*/ 446366 h 467913"/>
                <a:gd name="connsiteX91" fmla="*/ 592126 w 740801"/>
                <a:gd name="connsiteY91" fmla="*/ 467913 h 467913"/>
                <a:gd name="connsiteX92" fmla="*/ 611669 w 740801"/>
                <a:gd name="connsiteY92" fmla="*/ 458843 h 467913"/>
                <a:gd name="connsiteX93" fmla="*/ 618183 w 740801"/>
                <a:gd name="connsiteY93" fmla="*/ 454935 h 467913"/>
                <a:gd name="connsiteX94" fmla="*/ 662882 w 740801"/>
                <a:gd name="connsiteY94" fmla="*/ 397058 h 467913"/>
                <a:gd name="connsiteX95" fmla="*/ 662932 w 740801"/>
                <a:gd name="connsiteY95" fmla="*/ 395805 h 467913"/>
                <a:gd name="connsiteX96" fmla="*/ 662932 w 740801"/>
                <a:gd name="connsiteY96" fmla="*/ 394853 h 467913"/>
                <a:gd name="connsiteX97" fmla="*/ 660777 w 740801"/>
                <a:gd name="connsiteY97" fmla="*/ 391095 h 467913"/>
                <a:gd name="connsiteX98" fmla="*/ 654714 w 740801"/>
                <a:gd name="connsiteY98" fmla="*/ 379219 h 467913"/>
                <a:gd name="connsiteX99" fmla="*/ 649653 w 740801"/>
                <a:gd name="connsiteY99" fmla="*/ 357972 h 467913"/>
                <a:gd name="connsiteX100" fmla="*/ 640532 w 740801"/>
                <a:gd name="connsiteY100" fmla="*/ 330361 h 467913"/>
                <a:gd name="connsiteX101" fmla="*/ 639630 w 740801"/>
                <a:gd name="connsiteY101" fmla="*/ 329159 h 467913"/>
                <a:gd name="connsiteX102" fmla="*/ 640182 w 740801"/>
                <a:gd name="connsiteY102" fmla="*/ 327755 h 467913"/>
                <a:gd name="connsiteX103" fmla="*/ 644090 w 740801"/>
                <a:gd name="connsiteY103" fmla="*/ 317884 h 467913"/>
                <a:gd name="connsiteX104" fmla="*/ 651106 w 740801"/>
                <a:gd name="connsiteY104" fmla="*/ 299293 h 467913"/>
                <a:gd name="connsiteX105" fmla="*/ 681923 w 740801"/>
                <a:gd name="connsiteY105" fmla="*/ 249333 h 467913"/>
                <a:gd name="connsiteX106" fmla="*/ 684028 w 740801"/>
                <a:gd name="connsiteY106" fmla="*/ 246677 h 467913"/>
                <a:gd name="connsiteX107" fmla="*/ 695954 w 740801"/>
                <a:gd name="connsiteY107" fmla="*/ 238209 h 467913"/>
                <a:gd name="connsiteX108" fmla="*/ 727173 w 740801"/>
                <a:gd name="connsiteY108" fmla="*/ 208293 h 467913"/>
                <a:gd name="connsiteX109" fmla="*/ 728977 w 740801"/>
                <a:gd name="connsiteY109" fmla="*/ 178277 h 467913"/>
                <a:gd name="connsiteX110" fmla="*/ 726972 w 740801"/>
                <a:gd name="connsiteY110" fmla="*/ 148361 h 467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740801" h="467913">
                  <a:moveTo>
                    <a:pt x="726822" y="148411"/>
                  </a:moveTo>
                  <a:cubicBezTo>
                    <a:pt x="732986" y="138389"/>
                    <a:pt x="733236" y="128017"/>
                    <a:pt x="733487" y="117043"/>
                  </a:cubicBezTo>
                  <a:cubicBezTo>
                    <a:pt x="733487" y="115038"/>
                    <a:pt x="733587" y="112984"/>
                    <a:pt x="733637" y="110979"/>
                  </a:cubicBezTo>
                  <a:cubicBezTo>
                    <a:pt x="733637" y="109927"/>
                    <a:pt x="733687" y="108875"/>
                    <a:pt x="733737" y="107772"/>
                  </a:cubicBezTo>
                  <a:cubicBezTo>
                    <a:pt x="733837" y="101809"/>
                    <a:pt x="733938" y="95595"/>
                    <a:pt x="737846" y="89281"/>
                  </a:cubicBezTo>
                  <a:cubicBezTo>
                    <a:pt x="739750" y="86225"/>
                    <a:pt x="741705" y="82016"/>
                    <a:pt x="740352" y="79259"/>
                  </a:cubicBezTo>
                  <a:cubicBezTo>
                    <a:pt x="739249" y="77005"/>
                    <a:pt x="735742" y="75501"/>
                    <a:pt x="730279" y="75000"/>
                  </a:cubicBezTo>
                  <a:cubicBezTo>
                    <a:pt x="727223" y="74699"/>
                    <a:pt x="724216" y="74449"/>
                    <a:pt x="721410" y="74800"/>
                  </a:cubicBezTo>
                  <a:cubicBezTo>
                    <a:pt x="704322" y="77155"/>
                    <a:pt x="691895" y="68686"/>
                    <a:pt x="682976" y="61070"/>
                  </a:cubicBezTo>
                  <a:cubicBezTo>
                    <a:pt x="670649" y="50546"/>
                    <a:pt x="657871" y="40173"/>
                    <a:pt x="645493" y="30151"/>
                  </a:cubicBezTo>
                  <a:cubicBezTo>
                    <a:pt x="636022" y="22485"/>
                    <a:pt x="626602" y="14818"/>
                    <a:pt x="617281" y="7051"/>
                  </a:cubicBezTo>
                  <a:cubicBezTo>
                    <a:pt x="608662" y="-115"/>
                    <a:pt x="599442" y="-1819"/>
                    <a:pt x="589069" y="1939"/>
                  </a:cubicBezTo>
                  <a:cubicBezTo>
                    <a:pt x="580150" y="5147"/>
                    <a:pt x="571431" y="8354"/>
                    <a:pt x="562812" y="12162"/>
                  </a:cubicBezTo>
                  <a:cubicBezTo>
                    <a:pt x="553491" y="16221"/>
                    <a:pt x="542216" y="19679"/>
                    <a:pt x="528787" y="14467"/>
                  </a:cubicBezTo>
                  <a:cubicBezTo>
                    <a:pt x="524878" y="12964"/>
                    <a:pt x="518965" y="13014"/>
                    <a:pt x="515007" y="14668"/>
                  </a:cubicBezTo>
                  <a:cubicBezTo>
                    <a:pt x="504584" y="19027"/>
                    <a:pt x="494211" y="19478"/>
                    <a:pt x="483287" y="15971"/>
                  </a:cubicBezTo>
                  <a:cubicBezTo>
                    <a:pt x="481533" y="16020"/>
                    <a:pt x="453521" y="18877"/>
                    <a:pt x="448962" y="19879"/>
                  </a:cubicBezTo>
                  <a:cubicBezTo>
                    <a:pt x="448460" y="20380"/>
                    <a:pt x="447909" y="20881"/>
                    <a:pt x="447358" y="21382"/>
                  </a:cubicBezTo>
                  <a:cubicBezTo>
                    <a:pt x="445303" y="23337"/>
                    <a:pt x="443299" y="25241"/>
                    <a:pt x="442297" y="27295"/>
                  </a:cubicBezTo>
                  <a:cubicBezTo>
                    <a:pt x="439240" y="33609"/>
                    <a:pt x="435783" y="41075"/>
                    <a:pt x="433828" y="48742"/>
                  </a:cubicBezTo>
                  <a:cubicBezTo>
                    <a:pt x="431022" y="59316"/>
                    <a:pt x="424608" y="66531"/>
                    <a:pt x="414185" y="70791"/>
                  </a:cubicBezTo>
                  <a:cubicBezTo>
                    <a:pt x="413283" y="71141"/>
                    <a:pt x="412431" y="71643"/>
                    <a:pt x="411529" y="72144"/>
                  </a:cubicBezTo>
                  <a:cubicBezTo>
                    <a:pt x="410327" y="72795"/>
                    <a:pt x="409124" y="73497"/>
                    <a:pt x="407771" y="73998"/>
                  </a:cubicBezTo>
                  <a:cubicBezTo>
                    <a:pt x="396196" y="78157"/>
                    <a:pt x="386875" y="86225"/>
                    <a:pt x="377605" y="100255"/>
                  </a:cubicBezTo>
                  <a:cubicBezTo>
                    <a:pt x="369738" y="112232"/>
                    <a:pt x="360868" y="124559"/>
                    <a:pt x="351297" y="136936"/>
                  </a:cubicBezTo>
                  <a:cubicBezTo>
                    <a:pt x="347489" y="141897"/>
                    <a:pt x="342227" y="148161"/>
                    <a:pt x="335613" y="152270"/>
                  </a:cubicBezTo>
                  <a:cubicBezTo>
                    <a:pt x="324438" y="159185"/>
                    <a:pt x="312812" y="165749"/>
                    <a:pt x="301588" y="172113"/>
                  </a:cubicBezTo>
                  <a:cubicBezTo>
                    <a:pt x="295825" y="175371"/>
                    <a:pt x="290113" y="178628"/>
                    <a:pt x="284400" y="181935"/>
                  </a:cubicBezTo>
                  <a:cubicBezTo>
                    <a:pt x="277535" y="185894"/>
                    <a:pt x="270319" y="187247"/>
                    <a:pt x="262251" y="185944"/>
                  </a:cubicBezTo>
                  <a:cubicBezTo>
                    <a:pt x="258393" y="185343"/>
                    <a:pt x="254534" y="184791"/>
                    <a:pt x="250626" y="184240"/>
                  </a:cubicBezTo>
                  <a:cubicBezTo>
                    <a:pt x="224468" y="180432"/>
                    <a:pt x="197409" y="176473"/>
                    <a:pt x="171803" y="166501"/>
                  </a:cubicBezTo>
                  <a:lnTo>
                    <a:pt x="167794" y="164998"/>
                  </a:lnTo>
                  <a:cubicBezTo>
                    <a:pt x="156018" y="160538"/>
                    <a:pt x="143791" y="155978"/>
                    <a:pt x="136926" y="141697"/>
                  </a:cubicBezTo>
                  <a:cubicBezTo>
                    <a:pt x="133318" y="134130"/>
                    <a:pt x="125000" y="131274"/>
                    <a:pt x="115729" y="134431"/>
                  </a:cubicBezTo>
                  <a:cubicBezTo>
                    <a:pt x="112071" y="135683"/>
                    <a:pt x="108363" y="136786"/>
                    <a:pt x="104705" y="137938"/>
                  </a:cubicBezTo>
                  <a:cubicBezTo>
                    <a:pt x="95134" y="140895"/>
                    <a:pt x="86114" y="143651"/>
                    <a:pt x="78047" y="148161"/>
                  </a:cubicBezTo>
                  <a:cubicBezTo>
                    <a:pt x="75391" y="154475"/>
                    <a:pt x="75491" y="160638"/>
                    <a:pt x="75591" y="167153"/>
                  </a:cubicBezTo>
                  <a:cubicBezTo>
                    <a:pt x="75591" y="170660"/>
                    <a:pt x="75692" y="174318"/>
                    <a:pt x="75240" y="177926"/>
                  </a:cubicBezTo>
                  <a:cubicBezTo>
                    <a:pt x="74739" y="181835"/>
                    <a:pt x="73637" y="185543"/>
                    <a:pt x="72685" y="188850"/>
                  </a:cubicBezTo>
                  <a:cubicBezTo>
                    <a:pt x="72284" y="190153"/>
                    <a:pt x="71933" y="191406"/>
                    <a:pt x="71632" y="192558"/>
                  </a:cubicBezTo>
                  <a:lnTo>
                    <a:pt x="71232" y="194062"/>
                  </a:lnTo>
                  <a:lnTo>
                    <a:pt x="69728" y="194463"/>
                  </a:lnTo>
                  <a:cubicBezTo>
                    <a:pt x="52991" y="198922"/>
                    <a:pt x="37157" y="196768"/>
                    <a:pt x="21773" y="194663"/>
                  </a:cubicBezTo>
                  <a:cubicBezTo>
                    <a:pt x="15158" y="193761"/>
                    <a:pt x="8393" y="192809"/>
                    <a:pt x="1578" y="192458"/>
                  </a:cubicBezTo>
                  <a:cubicBezTo>
                    <a:pt x="-326" y="211249"/>
                    <a:pt x="-927" y="227134"/>
                    <a:pt x="2180" y="242618"/>
                  </a:cubicBezTo>
                  <a:lnTo>
                    <a:pt x="18065" y="253693"/>
                  </a:lnTo>
                  <a:lnTo>
                    <a:pt x="19969" y="284611"/>
                  </a:lnTo>
                  <a:cubicBezTo>
                    <a:pt x="40364" y="303101"/>
                    <a:pt x="40614" y="304454"/>
                    <a:pt x="32496" y="325300"/>
                  </a:cubicBezTo>
                  <a:lnTo>
                    <a:pt x="31895" y="326803"/>
                  </a:lnTo>
                  <a:lnTo>
                    <a:pt x="30291" y="327004"/>
                  </a:lnTo>
                  <a:cubicBezTo>
                    <a:pt x="28738" y="327154"/>
                    <a:pt x="27135" y="327304"/>
                    <a:pt x="25531" y="327455"/>
                  </a:cubicBezTo>
                  <a:cubicBezTo>
                    <a:pt x="15309" y="328357"/>
                    <a:pt x="5637" y="329159"/>
                    <a:pt x="677" y="337226"/>
                  </a:cubicBezTo>
                  <a:lnTo>
                    <a:pt x="16060" y="365538"/>
                  </a:lnTo>
                  <a:lnTo>
                    <a:pt x="76243" y="356769"/>
                  </a:lnTo>
                  <a:cubicBezTo>
                    <a:pt x="76593" y="355566"/>
                    <a:pt x="76944" y="354364"/>
                    <a:pt x="77295" y="353161"/>
                  </a:cubicBezTo>
                  <a:cubicBezTo>
                    <a:pt x="78397" y="349303"/>
                    <a:pt x="79500" y="345595"/>
                    <a:pt x="81053" y="342037"/>
                  </a:cubicBezTo>
                  <a:cubicBezTo>
                    <a:pt x="82857" y="337978"/>
                    <a:pt x="85012" y="334220"/>
                    <a:pt x="87267" y="330261"/>
                  </a:cubicBezTo>
                  <a:cubicBezTo>
                    <a:pt x="88219" y="328607"/>
                    <a:pt x="89221" y="326904"/>
                    <a:pt x="90173" y="325150"/>
                  </a:cubicBezTo>
                  <a:lnTo>
                    <a:pt x="90875" y="323897"/>
                  </a:lnTo>
                  <a:lnTo>
                    <a:pt x="92278" y="323747"/>
                  </a:lnTo>
                  <a:cubicBezTo>
                    <a:pt x="101498" y="322895"/>
                    <a:pt x="110618" y="323997"/>
                    <a:pt x="121843" y="327254"/>
                  </a:cubicBezTo>
                  <a:cubicBezTo>
                    <a:pt x="134921" y="331113"/>
                    <a:pt x="146797" y="329509"/>
                    <a:pt x="158072" y="322444"/>
                  </a:cubicBezTo>
                  <a:cubicBezTo>
                    <a:pt x="170650" y="314526"/>
                    <a:pt x="184831" y="311019"/>
                    <a:pt x="200265" y="311871"/>
                  </a:cubicBezTo>
                  <a:cubicBezTo>
                    <a:pt x="201969" y="312021"/>
                    <a:pt x="203873" y="311520"/>
                    <a:pt x="205727" y="311069"/>
                  </a:cubicBezTo>
                  <a:cubicBezTo>
                    <a:pt x="206278" y="310919"/>
                    <a:pt x="206830" y="310818"/>
                    <a:pt x="207381" y="310668"/>
                  </a:cubicBezTo>
                  <a:cubicBezTo>
                    <a:pt x="208383" y="309616"/>
                    <a:pt x="209285" y="308563"/>
                    <a:pt x="210187" y="307561"/>
                  </a:cubicBezTo>
                  <a:cubicBezTo>
                    <a:pt x="212542" y="304955"/>
                    <a:pt x="214747" y="302500"/>
                    <a:pt x="217253" y="300295"/>
                  </a:cubicBezTo>
                  <a:cubicBezTo>
                    <a:pt x="226924" y="292027"/>
                    <a:pt x="232987" y="292077"/>
                    <a:pt x="243210" y="300496"/>
                  </a:cubicBezTo>
                  <a:cubicBezTo>
                    <a:pt x="246066" y="302851"/>
                    <a:pt x="248872" y="305156"/>
                    <a:pt x="251728" y="307511"/>
                  </a:cubicBezTo>
                  <a:lnTo>
                    <a:pt x="254685" y="309916"/>
                  </a:lnTo>
                  <a:lnTo>
                    <a:pt x="278086" y="302901"/>
                  </a:lnTo>
                  <a:lnTo>
                    <a:pt x="279189" y="311520"/>
                  </a:lnTo>
                  <a:cubicBezTo>
                    <a:pt x="279740" y="315729"/>
                    <a:pt x="280191" y="319437"/>
                    <a:pt x="280792" y="323145"/>
                  </a:cubicBezTo>
                  <a:cubicBezTo>
                    <a:pt x="283197" y="337477"/>
                    <a:pt x="286104" y="340183"/>
                    <a:pt x="299683" y="340032"/>
                  </a:cubicBezTo>
                  <a:cubicBezTo>
                    <a:pt x="315618" y="339932"/>
                    <a:pt x="331103" y="342939"/>
                    <a:pt x="346136" y="345895"/>
                  </a:cubicBezTo>
                  <a:cubicBezTo>
                    <a:pt x="350295" y="346697"/>
                    <a:pt x="354404" y="347549"/>
                    <a:pt x="358613" y="348300"/>
                  </a:cubicBezTo>
                  <a:cubicBezTo>
                    <a:pt x="368384" y="350105"/>
                    <a:pt x="374197" y="355416"/>
                    <a:pt x="376903" y="365088"/>
                  </a:cubicBezTo>
                  <a:cubicBezTo>
                    <a:pt x="378757" y="371652"/>
                    <a:pt x="380662" y="378216"/>
                    <a:pt x="382616" y="384731"/>
                  </a:cubicBezTo>
                  <a:cubicBezTo>
                    <a:pt x="384921" y="392548"/>
                    <a:pt x="387226" y="400365"/>
                    <a:pt x="389381" y="408232"/>
                  </a:cubicBezTo>
                  <a:cubicBezTo>
                    <a:pt x="390984" y="414195"/>
                    <a:pt x="394291" y="417503"/>
                    <a:pt x="400004" y="418956"/>
                  </a:cubicBezTo>
                  <a:cubicBezTo>
                    <a:pt x="404414" y="420058"/>
                    <a:pt x="408823" y="421060"/>
                    <a:pt x="413233" y="422063"/>
                  </a:cubicBezTo>
                  <a:cubicBezTo>
                    <a:pt x="423305" y="424368"/>
                    <a:pt x="433728" y="426773"/>
                    <a:pt x="443700" y="430080"/>
                  </a:cubicBezTo>
                  <a:cubicBezTo>
                    <a:pt x="457931" y="434841"/>
                    <a:pt x="468905" y="433488"/>
                    <a:pt x="478276" y="425971"/>
                  </a:cubicBezTo>
                  <a:lnTo>
                    <a:pt x="479478" y="424969"/>
                  </a:lnTo>
                  <a:lnTo>
                    <a:pt x="480932" y="425520"/>
                  </a:lnTo>
                  <a:cubicBezTo>
                    <a:pt x="484790" y="427024"/>
                    <a:pt x="488498" y="428377"/>
                    <a:pt x="492156" y="429729"/>
                  </a:cubicBezTo>
                  <a:cubicBezTo>
                    <a:pt x="500224" y="432686"/>
                    <a:pt x="507791" y="435542"/>
                    <a:pt x="515207" y="439050"/>
                  </a:cubicBezTo>
                  <a:cubicBezTo>
                    <a:pt x="521621" y="442107"/>
                    <a:pt x="528386" y="442658"/>
                    <a:pt x="535552" y="443209"/>
                  </a:cubicBezTo>
                  <a:cubicBezTo>
                    <a:pt x="540062" y="443560"/>
                    <a:pt x="544722" y="443961"/>
                    <a:pt x="549332" y="445013"/>
                  </a:cubicBezTo>
                  <a:cubicBezTo>
                    <a:pt x="550134" y="445214"/>
                    <a:pt x="550936" y="445464"/>
                    <a:pt x="551737" y="445765"/>
                  </a:cubicBezTo>
                  <a:cubicBezTo>
                    <a:pt x="552389" y="446015"/>
                    <a:pt x="553040" y="446266"/>
                    <a:pt x="553742" y="446366"/>
                  </a:cubicBezTo>
                  <a:cubicBezTo>
                    <a:pt x="569527" y="449172"/>
                    <a:pt x="581403" y="458493"/>
                    <a:pt x="592126" y="467913"/>
                  </a:cubicBezTo>
                  <a:cubicBezTo>
                    <a:pt x="599593" y="466360"/>
                    <a:pt x="605706" y="462552"/>
                    <a:pt x="611669" y="458843"/>
                  </a:cubicBezTo>
                  <a:cubicBezTo>
                    <a:pt x="613824" y="457491"/>
                    <a:pt x="615978" y="456138"/>
                    <a:pt x="618183" y="454935"/>
                  </a:cubicBezTo>
                  <a:cubicBezTo>
                    <a:pt x="641299" y="441906"/>
                    <a:pt x="656202" y="422614"/>
                    <a:pt x="662882" y="397058"/>
                  </a:cubicBezTo>
                  <a:cubicBezTo>
                    <a:pt x="662982" y="396607"/>
                    <a:pt x="662982" y="396156"/>
                    <a:pt x="662932" y="395805"/>
                  </a:cubicBezTo>
                  <a:cubicBezTo>
                    <a:pt x="662932" y="395504"/>
                    <a:pt x="662932" y="395204"/>
                    <a:pt x="662932" y="394853"/>
                  </a:cubicBezTo>
                  <a:cubicBezTo>
                    <a:pt x="662230" y="393650"/>
                    <a:pt x="661529" y="392347"/>
                    <a:pt x="660777" y="391095"/>
                  </a:cubicBezTo>
                  <a:cubicBezTo>
                    <a:pt x="658672" y="387537"/>
                    <a:pt x="656317" y="383528"/>
                    <a:pt x="654714" y="379219"/>
                  </a:cubicBezTo>
                  <a:cubicBezTo>
                    <a:pt x="652058" y="372053"/>
                    <a:pt x="649703" y="365037"/>
                    <a:pt x="649653" y="357972"/>
                  </a:cubicBezTo>
                  <a:cubicBezTo>
                    <a:pt x="649602" y="347399"/>
                    <a:pt x="646696" y="338629"/>
                    <a:pt x="640532" y="330361"/>
                  </a:cubicBezTo>
                  <a:lnTo>
                    <a:pt x="639630" y="329159"/>
                  </a:lnTo>
                  <a:lnTo>
                    <a:pt x="640182" y="327755"/>
                  </a:lnTo>
                  <a:cubicBezTo>
                    <a:pt x="641535" y="324248"/>
                    <a:pt x="642838" y="320991"/>
                    <a:pt x="644090" y="317884"/>
                  </a:cubicBezTo>
                  <a:cubicBezTo>
                    <a:pt x="646796" y="311119"/>
                    <a:pt x="649151" y="305306"/>
                    <a:pt x="651106" y="299293"/>
                  </a:cubicBezTo>
                  <a:cubicBezTo>
                    <a:pt x="657369" y="279900"/>
                    <a:pt x="669847" y="264366"/>
                    <a:pt x="681923" y="249333"/>
                  </a:cubicBezTo>
                  <a:lnTo>
                    <a:pt x="684028" y="246677"/>
                  </a:lnTo>
                  <a:cubicBezTo>
                    <a:pt x="687085" y="242869"/>
                    <a:pt x="691795" y="240363"/>
                    <a:pt x="695954" y="238209"/>
                  </a:cubicBezTo>
                  <a:cubicBezTo>
                    <a:pt x="708031" y="231845"/>
                    <a:pt x="718153" y="222073"/>
                    <a:pt x="727173" y="208293"/>
                  </a:cubicBezTo>
                  <a:cubicBezTo>
                    <a:pt x="734790" y="196567"/>
                    <a:pt x="735341" y="187297"/>
                    <a:pt x="728977" y="178277"/>
                  </a:cubicBezTo>
                  <a:cubicBezTo>
                    <a:pt x="722362" y="168906"/>
                    <a:pt x="721560" y="157181"/>
                    <a:pt x="726972" y="14836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26" name="Полилиния: фигура 125">
              <a:extLst>
                <a:ext uri="{FF2B5EF4-FFF2-40B4-BE49-F238E27FC236}">
                  <a16:creationId xmlns:a16="http://schemas.microsoft.com/office/drawing/2014/main" id="{E741186C-22E6-4480-8496-33C72A19D9BF}"/>
                </a:ext>
              </a:extLst>
            </p:cNvPr>
            <p:cNvSpPr/>
            <p:nvPr/>
          </p:nvSpPr>
          <p:spPr>
            <a:xfrm>
              <a:off x="4602610" y="5117923"/>
              <a:ext cx="775479" cy="603655"/>
            </a:xfrm>
            <a:custGeom>
              <a:avLst/>
              <a:gdLst>
                <a:gd name="connsiteX0" fmla="*/ 365302 w 621815"/>
                <a:gd name="connsiteY0" fmla="*/ 477105 h 484038"/>
                <a:gd name="connsiteX1" fmla="*/ 356031 w 621815"/>
                <a:gd name="connsiteY1" fmla="*/ 447439 h 484038"/>
                <a:gd name="connsiteX2" fmla="*/ 329573 w 621815"/>
                <a:gd name="connsiteY2" fmla="*/ 418927 h 484038"/>
                <a:gd name="connsiteX3" fmla="*/ 328421 w 621815"/>
                <a:gd name="connsiteY3" fmla="*/ 417123 h 484038"/>
                <a:gd name="connsiteX4" fmla="*/ 329924 w 621815"/>
                <a:gd name="connsiteY4" fmla="*/ 415570 h 484038"/>
                <a:gd name="connsiteX5" fmla="*/ 357334 w 621815"/>
                <a:gd name="connsiteY5" fmla="*/ 402591 h 484038"/>
                <a:gd name="connsiteX6" fmla="*/ 390457 w 621815"/>
                <a:gd name="connsiteY6" fmla="*/ 396728 h 484038"/>
                <a:gd name="connsiteX7" fmla="*/ 413959 w 621815"/>
                <a:gd name="connsiteY7" fmla="*/ 391968 h 484038"/>
                <a:gd name="connsiteX8" fmla="*/ 445027 w 621815"/>
                <a:gd name="connsiteY8" fmla="*/ 391567 h 484038"/>
                <a:gd name="connsiteX9" fmla="*/ 454297 w 621815"/>
                <a:gd name="connsiteY9" fmla="*/ 391617 h 484038"/>
                <a:gd name="connsiteX10" fmla="*/ 469230 w 621815"/>
                <a:gd name="connsiteY10" fmla="*/ 386205 h 484038"/>
                <a:gd name="connsiteX11" fmla="*/ 499797 w 621815"/>
                <a:gd name="connsiteY11" fmla="*/ 370971 h 484038"/>
                <a:gd name="connsiteX12" fmla="*/ 508616 w 621815"/>
                <a:gd name="connsiteY12" fmla="*/ 355989 h 484038"/>
                <a:gd name="connsiteX13" fmla="*/ 521595 w 621815"/>
                <a:gd name="connsiteY13" fmla="*/ 336496 h 484038"/>
                <a:gd name="connsiteX14" fmla="*/ 523249 w 621815"/>
                <a:gd name="connsiteY14" fmla="*/ 335043 h 484038"/>
                <a:gd name="connsiteX15" fmla="*/ 525002 w 621815"/>
                <a:gd name="connsiteY15" fmla="*/ 336345 h 484038"/>
                <a:gd name="connsiteX16" fmla="*/ 532519 w 621815"/>
                <a:gd name="connsiteY16" fmla="*/ 342358 h 484038"/>
                <a:gd name="connsiteX17" fmla="*/ 547753 w 621815"/>
                <a:gd name="connsiteY17" fmla="*/ 352681 h 484038"/>
                <a:gd name="connsiteX18" fmla="*/ 564990 w 621815"/>
                <a:gd name="connsiteY18" fmla="*/ 355437 h 484038"/>
                <a:gd name="connsiteX19" fmla="*/ 574962 w 621815"/>
                <a:gd name="connsiteY19" fmla="*/ 356289 h 484038"/>
                <a:gd name="connsiteX20" fmla="*/ 585285 w 621815"/>
                <a:gd name="connsiteY20" fmla="*/ 353934 h 484038"/>
                <a:gd name="connsiteX21" fmla="*/ 586037 w 621815"/>
                <a:gd name="connsiteY21" fmla="*/ 345365 h 484038"/>
                <a:gd name="connsiteX22" fmla="*/ 586938 w 621815"/>
                <a:gd name="connsiteY22" fmla="*/ 320861 h 484038"/>
                <a:gd name="connsiteX23" fmla="*/ 607784 w 621815"/>
                <a:gd name="connsiteY23" fmla="*/ 303473 h 484038"/>
                <a:gd name="connsiteX24" fmla="*/ 615602 w 621815"/>
                <a:gd name="connsiteY24" fmla="*/ 299414 h 484038"/>
                <a:gd name="connsiteX25" fmla="*/ 617706 w 621815"/>
                <a:gd name="connsiteY25" fmla="*/ 298162 h 484038"/>
                <a:gd name="connsiteX26" fmla="*/ 612846 w 621815"/>
                <a:gd name="connsiteY26" fmla="*/ 265941 h 484038"/>
                <a:gd name="connsiteX27" fmla="*/ 611593 w 621815"/>
                <a:gd name="connsiteY27" fmla="*/ 260479 h 484038"/>
                <a:gd name="connsiteX28" fmla="*/ 611292 w 621815"/>
                <a:gd name="connsiteY28" fmla="*/ 258574 h 484038"/>
                <a:gd name="connsiteX29" fmla="*/ 611092 w 621815"/>
                <a:gd name="connsiteY29" fmla="*/ 257673 h 484038"/>
                <a:gd name="connsiteX30" fmla="*/ 611543 w 621815"/>
                <a:gd name="connsiteY30" fmla="*/ 256821 h 484038"/>
                <a:gd name="connsiteX31" fmla="*/ 617756 w 621815"/>
                <a:gd name="connsiteY31" fmla="*/ 244944 h 484038"/>
                <a:gd name="connsiteX32" fmla="*/ 610941 w 621815"/>
                <a:gd name="connsiteY32" fmla="*/ 230112 h 484038"/>
                <a:gd name="connsiteX33" fmla="*/ 611142 w 621815"/>
                <a:gd name="connsiteY33" fmla="*/ 229260 h 484038"/>
                <a:gd name="connsiteX34" fmla="*/ 617055 w 621815"/>
                <a:gd name="connsiteY34" fmla="*/ 214528 h 484038"/>
                <a:gd name="connsiteX35" fmla="*/ 621815 w 621815"/>
                <a:gd name="connsiteY35" fmla="*/ 201198 h 484038"/>
                <a:gd name="connsiteX36" fmla="*/ 621314 w 621815"/>
                <a:gd name="connsiteY36" fmla="*/ 200497 h 484038"/>
                <a:gd name="connsiteX37" fmla="*/ 620713 w 621815"/>
                <a:gd name="connsiteY37" fmla="*/ 199645 h 484038"/>
                <a:gd name="connsiteX38" fmla="*/ 620111 w 621815"/>
                <a:gd name="connsiteY38" fmla="*/ 199144 h 484038"/>
                <a:gd name="connsiteX39" fmla="*/ 617606 w 621815"/>
                <a:gd name="connsiteY39" fmla="*/ 197290 h 484038"/>
                <a:gd name="connsiteX40" fmla="*/ 591348 w 621815"/>
                <a:gd name="connsiteY40" fmla="*/ 152992 h 484038"/>
                <a:gd name="connsiteX41" fmla="*/ 581076 w 621815"/>
                <a:gd name="connsiteY41" fmla="*/ 130192 h 484038"/>
                <a:gd name="connsiteX42" fmla="*/ 578470 w 621815"/>
                <a:gd name="connsiteY42" fmla="*/ 127687 h 484038"/>
                <a:gd name="connsiteX43" fmla="*/ 561433 w 621815"/>
                <a:gd name="connsiteY43" fmla="*/ 99625 h 484038"/>
                <a:gd name="connsiteX44" fmla="*/ 560881 w 621815"/>
                <a:gd name="connsiteY44" fmla="*/ 99275 h 484038"/>
                <a:gd name="connsiteX45" fmla="*/ 537731 w 621815"/>
                <a:gd name="connsiteY45" fmla="*/ 85444 h 484038"/>
                <a:gd name="connsiteX46" fmla="*/ 536678 w 621815"/>
                <a:gd name="connsiteY46" fmla="*/ 84843 h 484038"/>
                <a:gd name="connsiteX47" fmla="*/ 536478 w 621815"/>
                <a:gd name="connsiteY47" fmla="*/ 83640 h 484038"/>
                <a:gd name="connsiteX48" fmla="*/ 535626 w 621815"/>
                <a:gd name="connsiteY48" fmla="*/ 78378 h 484038"/>
                <a:gd name="connsiteX49" fmla="*/ 520192 w 621815"/>
                <a:gd name="connsiteY49" fmla="*/ 55328 h 484038"/>
                <a:gd name="connsiteX50" fmla="*/ 514379 w 621815"/>
                <a:gd name="connsiteY50" fmla="*/ 59036 h 484038"/>
                <a:gd name="connsiteX51" fmla="*/ 498995 w 621815"/>
                <a:gd name="connsiteY51" fmla="*/ 70060 h 484038"/>
                <a:gd name="connsiteX52" fmla="*/ 470633 w 621815"/>
                <a:gd name="connsiteY52" fmla="*/ 78679 h 484038"/>
                <a:gd name="connsiteX53" fmla="*/ 439916 w 621815"/>
                <a:gd name="connsiteY53" fmla="*/ 78930 h 484038"/>
                <a:gd name="connsiteX54" fmla="*/ 421525 w 621815"/>
                <a:gd name="connsiteY54" fmla="*/ 80433 h 484038"/>
                <a:gd name="connsiteX55" fmla="*/ 420874 w 621815"/>
                <a:gd name="connsiteY55" fmla="*/ 81936 h 484038"/>
                <a:gd name="connsiteX56" fmla="*/ 418118 w 621815"/>
                <a:gd name="connsiteY56" fmla="*/ 88000 h 484038"/>
                <a:gd name="connsiteX57" fmla="*/ 408296 w 621815"/>
                <a:gd name="connsiteY57" fmla="*/ 97320 h 484038"/>
                <a:gd name="connsiteX58" fmla="*/ 395769 w 621815"/>
                <a:gd name="connsiteY58" fmla="*/ 92359 h 484038"/>
                <a:gd name="connsiteX59" fmla="*/ 389004 w 621815"/>
                <a:gd name="connsiteY59" fmla="*/ 86196 h 484038"/>
                <a:gd name="connsiteX60" fmla="*/ 387149 w 621815"/>
                <a:gd name="connsiteY60" fmla="*/ 84442 h 484038"/>
                <a:gd name="connsiteX61" fmla="*/ 334634 w 621815"/>
                <a:gd name="connsiteY61" fmla="*/ 121123 h 484038"/>
                <a:gd name="connsiteX62" fmla="*/ 332930 w 621815"/>
                <a:gd name="connsiteY62" fmla="*/ 123077 h 484038"/>
                <a:gd name="connsiteX63" fmla="*/ 314690 w 621815"/>
                <a:gd name="connsiteY63" fmla="*/ 133850 h 484038"/>
                <a:gd name="connsiteX64" fmla="*/ 313137 w 621815"/>
                <a:gd name="connsiteY64" fmla="*/ 133951 h 484038"/>
                <a:gd name="connsiteX65" fmla="*/ 305520 w 621815"/>
                <a:gd name="connsiteY65" fmla="*/ 122576 h 484038"/>
                <a:gd name="connsiteX66" fmla="*/ 282369 w 621815"/>
                <a:gd name="connsiteY66" fmla="*/ 87899 h 484038"/>
                <a:gd name="connsiteX67" fmla="*/ 281217 w 621815"/>
                <a:gd name="connsiteY67" fmla="*/ 86196 h 484038"/>
                <a:gd name="connsiteX68" fmla="*/ 275755 w 621815"/>
                <a:gd name="connsiteY68" fmla="*/ 64298 h 484038"/>
                <a:gd name="connsiteX69" fmla="*/ 272448 w 621815"/>
                <a:gd name="connsiteY69" fmla="*/ 60539 h 484038"/>
                <a:gd name="connsiteX70" fmla="*/ 264430 w 621815"/>
                <a:gd name="connsiteY70" fmla="*/ 49665 h 484038"/>
                <a:gd name="connsiteX71" fmla="*/ 253506 w 621815"/>
                <a:gd name="connsiteY71" fmla="*/ 21103 h 484038"/>
                <a:gd name="connsiteX72" fmla="*/ 244486 w 621815"/>
                <a:gd name="connsiteY72" fmla="*/ 858 h 484038"/>
                <a:gd name="connsiteX73" fmla="*/ 242933 w 621815"/>
                <a:gd name="connsiteY73" fmla="*/ 457 h 484038"/>
                <a:gd name="connsiteX74" fmla="*/ 240778 w 621815"/>
                <a:gd name="connsiteY74" fmla="*/ 6 h 484038"/>
                <a:gd name="connsiteX75" fmla="*/ 229754 w 621815"/>
                <a:gd name="connsiteY75" fmla="*/ 2862 h 484038"/>
                <a:gd name="connsiteX76" fmla="*/ 126727 w 621815"/>
                <a:gd name="connsiteY76" fmla="*/ 47511 h 484038"/>
                <a:gd name="connsiteX77" fmla="*/ 114300 w 621815"/>
                <a:gd name="connsiteY77" fmla="*/ 50818 h 484038"/>
                <a:gd name="connsiteX78" fmla="*/ 78371 w 621815"/>
                <a:gd name="connsiteY78" fmla="*/ 46559 h 484038"/>
                <a:gd name="connsiteX79" fmla="*/ 37632 w 621815"/>
                <a:gd name="connsiteY79" fmla="*/ 48864 h 484038"/>
                <a:gd name="connsiteX80" fmla="*/ 35126 w 621815"/>
                <a:gd name="connsiteY80" fmla="*/ 50016 h 484038"/>
                <a:gd name="connsiteX81" fmla="*/ 21747 w 621815"/>
                <a:gd name="connsiteY81" fmla="*/ 33931 h 484038"/>
                <a:gd name="connsiteX82" fmla="*/ 18690 w 621815"/>
                <a:gd name="connsiteY82" fmla="*/ 36637 h 484038"/>
                <a:gd name="connsiteX83" fmla="*/ 7315 w 621815"/>
                <a:gd name="connsiteY83" fmla="*/ 46508 h 484038"/>
                <a:gd name="connsiteX84" fmla="*/ 751 w 621815"/>
                <a:gd name="connsiteY84" fmla="*/ 67104 h 484038"/>
                <a:gd name="connsiteX85" fmla="*/ 2655 w 621815"/>
                <a:gd name="connsiteY85" fmla="*/ 76274 h 484038"/>
                <a:gd name="connsiteX86" fmla="*/ 16535 w 621815"/>
                <a:gd name="connsiteY86" fmla="*/ 147881 h 484038"/>
                <a:gd name="connsiteX87" fmla="*/ 57175 w 621815"/>
                <a:gd name="connsiteY87" fmla="*/ 357091 h 484038"/>
                <a:gd name="connsiteX88" fmla="*/ 60833 w 621815"/>
                <a:gd name="connsiteY88" fmla="*/ 372375 h 484038"/>
                <a:gd name="connsiteX89" fmla="*/ 62386 w 621815"/>
                <a:gd name="connsiteY89" fmla="*/ 378288 h 484038"/>
                <a:gd name="connsiteX90" fmla="*/ 83833 w 621815"/>
                <a:gd name="connsiteY90" fmla="*/ 372926 h 484038"/>
                <a:gd name="connsiteX91" fmla="*/ 89446 w 621815"/>
                <a:gd name="connsiteY91" fmla="*/ 353884 h 484038"/>
                <a:gd name="connsiteX92" fmla="*/ 92051 w 621815"/>
                <a:gd name="connsiteY92" fmla="*/ 354686 h 484038"/>
                <a:gd name="connsiteX93" fmla="*/ 107034 w 621815"/>
                <a:gd name="connsiteY93" fmla="*/ 347570 h 484038"/>
                <a:gd name="connsiteX94" fmla="*/ 121767 w 621815"/>
                <a:gd name="connsiteY94" fmla="*/ 337147 h 484038"/>
                <a:gd name="connsiteX95" fmla="*/ 122769 w 621815"/>
                <a:gd name="connsiteY95" fmla="*/ 336997 h 484038"/>
                <a:gd name="connsiteX96" fmla="*/ 123621 w 621815"/>
                <a:gd name="connsiteY96" fmla="*/ 337548 h 484038"/>
                <a:gd name="connsiteX97" fmla="*/ 133542 w 621815"/>
                <a:gd name="connsiteY97" fmla="*/ 353082 h 484038"/>
                <a:gd name="connsiteX98" fmla="*/ 135647 w 621815"/>
                <a:gd name="connsiteY98" fmla="*/ 358544 h 484038"/>
                <a:gd name="connsiteX99" fmla="*/ 157595 w 621815"/>
                <a:gd name="connsiteY99" fmla="*/ 408304 h 484038"/>
                <a:gd name="connsiteX100" fmla="*/ 176537 w 621815"/>
                <a:gd name="connsiteY100" fmla="*/ 424038 h 484038"/>
                <a:gd name="connsiteX101" fmla="*/ 198736 w 621815"/>
                <a:gd name="connsiteY101" fmla="*/ 431104 h 484038"/>
                <a:gd name="connsiteX102" fmla="*/ 210311 w 621815"/>
                <a:gd name="connsiteY102" fmla="*/ 435012 h 484038"/>
                <a:gd name="connsiteX103" fmla="*/ 247843 w 621815"/>
                <a:gd name="connsiteY103" fmla="*/ 432657 h 484038"/>
                <a:gd name="connsiteX104" fmla="*/ 258667 w 621815"/>
                <a:gd name="connsiteY104" fmla="*/ 429650 h 484038"/>
                <a:gd name="connsiteX105" fmla="*/ 289836 w 621815"/>
                <a:gd name="connsiteY105" fmla="*/ 420881 h 484038"/>
                <a:gd name="connsiteX106" fmla="*/ 291289 w 621815"/>
                <a:gd name="connsiteY106" fmla="*/ 420029 h 484038"/>
                <a:gd name="connsiteX107" fmla="*/ 298555 w 621815"/>
                <a:gd name="connsiteY107" fmla="*/ 424940 h 484038"/>
                <a:gd name="connsiteX108" fmla="*/ 307324 w 621815"/>
                <a:gd name="connsiteY108" fmla="*/ 430853 h 484038"/>
                <a:gd name="connsiteX109" fmla="*/ 345157 w 621815"/>
                <a:gd name="connsiteY109" fmla="*/ 473897 h 484038"/>
                <a:gd name="connsiteX110" fmla="*/ 350469 w 621815"/>
                <a:gd name="connsiteY110" fmla="*/ 481965 h 484038"/>
                <a:gd name="connsiteX111" fmla="*/ 361543 w 621815"/>
                <a:gd name="connsiteY111" fmla="*/ 483719 h 484038"/>
                <a:gd name="connsiteX112" fmla="*/ 365352 w 621815"/>
                <a:gd name="connsiteY112" fmla="*/ 477054 h 48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621815" h="484038">
                  <a:moveTo>
                    <a:pt x="365302" y="477105"/>
                  </a:moveTo>
                  <a:cubicBezTo>
                    <a:pt x="367306" y="464026"/>
                    <a:pt x="364450" y="454856"/>
                    <a:pt x="356031" y="447439"/>
                  </a:cubicBezTo>
                  <a:cubicBezTo>
                    <a:pt x="347212" y="439672"/>
                    <a:pt x="337190" y="430853"/>
                    <a:pt x="329573" y="418927"/>
                  </a:cubicBezTo>
                  <a:lnTo>
                    <a:pt x="328421" y="417123"/>
                  </a:lnTo>
                  <a:lnTo>
                    <a:pt x="329924" y="415570"/>
                  </a:lnTo>
                  <a:cubicBezTo>
                    <a:pt x="335987" y="409456"/>
                    <a:pt x="345458" y="401438"/>
                    <a:pt x="357334" y="402591"/>
                  </a:cubicBezTo>
                  <a:cubicBezTo>
                    <a:pt x="368759" y="403793"/>
                    <a:pt x="378631" y="400737"/>
                    <a:pt x="390457" y="396728"/>
                  </a:cubicBezTo>
                  <a:cubicBezTo>
                    <a:pt x="398274" y="394022"/>
                    <a:pt x="406392" y="392419"/>
                    <a:pt x="413959" y="391968"/>
                  </a:cubicBezTo>
                  <a:cubicBezTo>
                    <a:pt x="424331" y="391366"/>
                    <a:pt x="434854" y="391467"/>
                    <a:pt x="445027" y="391567"/>
                  </a:cubicBezTo>
                  <a:cubicBezTo>
                    <a:pt x="448134" y="391567"/>
                    <a:pt x="451190" y="391617"/>
                    <a:pt x="454297" y="391617"/>
                  </a:cubicBezTo>
                  <a:cubicBezTo>
                    <a:pt x="461814" y="391617"/>
                    <a:pt x="466324" y="390013"/>
                    <a:pt x="469230" y="386205"/>
                  </a:cubicBezTo>
                  <a:cubicBezTo>
                    <a:pt x="477448" y="375431"/>
                    <a:pt x="489224" y="372976"/>
                    <a:pt x="499797" y="370971"/>
                  </a:cubicBezTo>
                  <a:cubicBezTo>
                    <a:pt x="503555" y="366412"/>
                    <a:pt x="506111" y="361100"/>
                    <a:pt x="508616" y="355989"/>
                  </a:cubicBezTo>
                  <a:cubicBezTo>
                    <a:pt x="511924" y="349174"/>
                    <a:pt x="515381" y="342108"/>
                    <a:pt x="521595" y="336496"/>
                  </a:cubicBezTo>
                  <a:lnTo>
                    <a:pt x="523249" y="335043"/>
                  </a:lnTo>
                  <a:lnTo>
                    <a:pt x="525002" y="336345"/>
                  </a:lnTo>
                  <a:cubicBezTo>
                    <a:pt x="527658" y="338300"/>
                    <a:pt x="530114" y="340354"/>
                    <a:pt x="532519" y="342358"/>
                  </a:cubicBezTo>
                  <a:cubicBezTo>
                    <a:pt x="537630" y="346618"/>
                    <a:pt x="542441" y="350627"/>
                    <a:pt x="547753" y="352681"/>
                  </a:cubicBezTo>
                  <a:cubicBezTo>
                    <a:pt x="552914" y="354686"/>
                    <a:pt x="558777" y="355036"/>
                    <a:pt x="564990" y="355437"/>
                  </a:cubicBezTo>
                  <a:cubicBezTo>
                    <a:pt x="568247" y="355638"/>
                    <a:pt x="571655" y="355838"/>
                    <a:pt x="574962" y="356289"/>
                  </a:cubicBezTo>
                  <a:cubicBezTo>
                    <a:pt x="579673" y="356941"/>
                    <a:pt x="583431" y="356089"/>
                    <a:pt x="585285" y="353934"/>
                  </a:cubicBezTo>
                  <a:cubicBezTo>
                    <a:pt x="587339" y="351529"/>
                    <a:pt x="586838" y="347971"/>
                    <a:pt x="586037" y="345365"/>
                  </a:cubicBezTo>
                  <a:cubicBezTo>
                    <a:pt x="583832" y="338149"/>
                    <a:pt x="582429" y="330182"/>
                    <a:pt x="586938" y="320861"/>
                  </a:cubicBezTo>
                  <a:cubicBezTo>
                    <a:pt x="591048" y="312393"/>
                    <a:pt x="597462" y="307031"/>
                    <a:pt x="607784" y="303473"/>
                  </a:cubicBezTo>
                  <a:cubicBezTo>
                    <a:pt x="610490" y="302521"/>
                    <a:pt x="613096" y="300968"/>
                    <a:pt x="615602" y="299414"/>
                  </a:cubicBezTo>
                  <a:cubicBezTo>
                    <a:pt x="616303" y="298963"/>
                    <a:pt x="617005" y="298562"/>
                    <a:pt x="617706" y="298162"/>
                  </a:cubicBezTo>
                  <a:cubicBezTo>
                    <a:pt x="619260" y="282226"/>
                    <a:pt x="619059" y="281826"/>
                    <a:pt x="612846" y="265941"/>
                  </a:cubicBezTo>
                  <a:cubicBezTo>
                    <a:pt x="612044" y="263886"/>
                    <a:pt x="611793" y="262082"/>
                    <a:pt x="611593" y="260479"/>
                  </a:cubicBezTo>
                  <a:cubicBezTo>
                    <a:pt x="611493" y="259827"/>
                    <a:pt x="611442" y="259176"/>
                    <a:pt x="611292" y="258574"/>
                  </a:cubicBezTo>
                  <a:lnTo>
                    <a:pt x="611092" y="257673"/>
                  </a:lnTo>
                  <a:lnTo>
                    <a:pt x="611543" y="256821"/>
                  </a:lnTo>
                  <a:cubicBezTo>
                    <a:pt x="613697" y="252762"/>
                    <a:pt x="615702" y="248953"/>
                    <a:pt x="617756" y="244944"/>
                  </a:cubicBezTo>
                  <a:lnTo>
                    <a:pt x="610941" y="230112"/>
                  </a:lnTo>
                  <a:lnTo>
                    <a:pt x="611142" y="229260"/>
                  </a:lnTo>
                  <a:cubicBezTo>
                    <a:pt x="612344" y="223598"/>
                    <a:pt x="614850" y="218787"/>
                    <a:pt x="617055" y="214528"/>
                  </a:cubicBezTo>
                  <a:cubicBezTo>
                    <a:pt x="619510" y="209817"/>
                    <a:pt x="621615" y="205658"/>
                    <a:pt x="621815" y="201198"/>
                  </a:cubicBezTo>
                  <a:cubicBezTo>
                    <a:pt x="621615" y="200948"/>
                    <a:pt x="621464" y="200697"/>
                    <a:pt x="621314" y="200497"/>
                  </a:cubicBezTo>
                  <a:cubicBezTo>
                    <a:pt x="621063" y="200146"/>
                    <a:pt x="620813" y="199745"/>
                    <a:pt x="620713" y="199645"/>
                  </a:cubicBezTo>
                  <a:lnTo>
                    <a:pt x="620111" y="199144"/>
                  </a:lnTo>
                  <a:cubicBezTo>
                    <a:pt x="619260" y="198392"/>
                    <a:pt x="618408" y="197640"/>
                    <a:pt x="617606" y="197290"/>
                  </a:cubicBezTo>
                  <a:cubicBezTo>
                    <a:pt x="599266" y="189172"/>
                    <a:pt x="590396" y="174239"/>
                    <a:pt x="591348" y="152992"/>
                  </a:cubicBezTo>
                  <a:cubicBezTo>
                    <a:pt x="591749" y="144324"/>
                    <a:pt x="588642" y="137508"/>
                    <a:pt x="581076" y="130192"/>
                  </a:cubicBezTo>
                  <a:lnTo>
                    <a:pt x="578470" y="127687"/>
                  </a:lnTo>
                  <a:cubicBezTo>
                    <a:pt x="570252" y="119970"/>
                    <a:pt x="561783" y="111952"/>
                    <a:pt x="561433" y="99625"/>
                  </a:cubicBezTo>
                  <a:lnTo>
                    <a:pt x="560881" y="99275"/>
                  </a:lnTo>
                  <a:cubicBezTo>
                    <a:pt x="552463" y="94213"/>
                    <a:pt x="544996" y="89754"/>
                    <a:pt x="537731" y="85444"/>
                  </a:cubicBezTo>
                  <a:lnTo>
                    <a:pt x="536678" y="84843"/>
                  </a:lnTo>
                  <a:lnTo>
                    <a:pt x="536478" y="83640"/>
                  </a:lnTo>
                  <a:cubicBezTo>
                    <a:pt x="536177" y="81886"/>
                    <a:pt x="535876" y="80132"/>
                    <a:pt x="535626" y="78378"/>
                  </a:cubicBezTo>
                  <a:cubicBezTo>
                    <a:pt x="534123" y="68356"/>
                    <a:pt x="532820" y="59687"/>
                    <a:pt x="520192" y="55328"/>
                  </a:cubicBezTo>
                  <a:cubicBezTo>
                    <a:pt x="518288" y="56581"/>
                    <a:pt x="516333" y="57833"/>
                    <a:pt x="514379" y="59036"/>
                  </a:cubicBezTo>
                  <a:cubicBezTo>
                    <a:pt x="509067" y="62393"/>
                    <a:pt x="503505" y="65801"/>
                    <a:pt x="498995" y="70060"/>
                  </a:cubicBezTo>
                  <a:cubicBezTo>
                    <a:pt x="490527" y="78028"/>
                    <a:pt x="481006" y="80934"/>
                    <a:pt x="470633" y="78679"/>
                  </a:cubicBezTo>
                  <a:cubicBezTo>
                    <a:pt x="460361" y="76474"/>
                    <a:pt x="450439" y="77677"/>
                    <a:pt x="439916" y="78930"/>
                  </a:cubicBezTo>
                  <a:cubicBezTo>
                    <a:pt x="433952" y="79631"/>
                    <a:pt x="427789" y="80383"/>
                    <a:pt x="421525" y="80433"/>
                  </a:cubicBezTo>
                  <a:lnTo>
                    <a:pt x="420874" y="81936"/>
                  </a:lnTo>
                  <a:cubicBezTo>
                    <a:pt x="419972" y="84091"/>
                    <a:pt x="419120" y="86096"/>
                    <a:pt x="418118" y="88000"/>
                  </a:cubicBezTo>
                  <a:cubicBezTo>
                    <a:pt x="415261" y="93562"/>
                    <a:pt x="412054" y="96619"/>
                    <a:pt x="408296" y="97320"/>
                  </a:cubicBezTo>
                  <a:cubicBezTo>
                    <a:pt x="404538" y="98072"/>
                    <a:pt x="400429" y="96418"/>
                    <a:pt x="395769" y="92359"/>
                  </a:cubicBezTo>
                  <a:cubicBezTo>
                    <a:pt x="393463" y="90355"/>
                    <a:pt x="391259" y="88300"/>
                    <a:pt x="389004" y="86196"/>
                  </a:cubicBezTo>
                  <a:lnTo>
                    <a:pt x="387149" y="84442"/>
                  </a:lnTo>
                  <a:cubicBezTo>
                    <a:pt x="366905" y="95015"/>
                    <a:pt x="348966" y="105238"/>
                    <a:pt x="334634" y="121123"/>
                  </a:cubicBezTo>
                  <a:cubicBezTo>
                    <a:pt x="334083" y="121724"/>
                    <a:pt x="333532" y="122425"/>
                    <a:pt x="332930" y="123077"/>
                  </a:cubicBezTo>
                  <a:cubicBezTo>
                    <a:pt x="329022" y="127637"/>
                    <a:pt x="324161" y="133349"/>
                    <a:pt x="314690" y="133850"/>
                  </a:cubicBezTo>
                  <a:lnTo>
                    <a:pt x="313137" y="133951"/>
                  </a:lnTo>
                  <a:lnTo>
                    <a:pt x="305520" y="122576"/>
                  </a:lnTo>
                  <a:cubicBezTo>
                    <a:pt x="297853" y="111100"/>
                    <a:pt x="290086" y="99525"/>
                    <a:pt x="282369" y="87899"/>
                  </a:cubicBezTo>
                  <a:lnTo>
                    <a:pt x="281217" y="86196"/>
                  </a:lnTo>
                  <a:cubicBezTo>
                    <a:pt x="277208" y="80232"/>
                    <a:pt x="272648" y="73518"/>
                    <a:pt x="275755" y="64298"/>
                  </a:cubicBezTo>
                  <a:cubicBezTo>
                    <a:pt x="275404" y="63345"/>
                    <a:pt x="273700" y="61191"/>
                    <a:pt x="272448" y="60539"/>
                  </a:cubicBezTo>
                  <a:cubicBezTo>
                    <a:pt x="267687" y="58084"/>
                    <a:pt x="265132" y="54626"/>
                    <a:pt x="264430" y="49665"/>
                  </a:cubicBezTo>
                  <a:cubicBezTo>
                    <a:pt x="262977" y="39293"/>
                    <a:pt x="258166" y="30022"/>
                    <a:pt x="253506" y="21103"/>
                  </a:cubicBezTo>
                  <a:cubicBezTo>
                    <a:pt x="250149" y="14639"/>
                    <a:pt x="246641" y="7924"/>
                    <a:pt x="244486" y="858"/>
                  </a:cubicBezTo>
                  <a:cubicBezTo>
                    <a:pt x="243935" y="708"/>
                    <a:pt x="243434" y="608"/>
                    <a:pt x="242933" y="457"/>
                  </a:cubicBezTo>
                  <a:cubicBezTo>
                    <a:pt x="242031" y="207"/>
                    <a:pt x="241129" y="-44"/>
                    <a:pt x="240778" y="6"/>
                  </a:cubicBezTo>
                  <a:cubicBezTo>
                    <a:pt x="236920" y="758"/>
                    <a:pt x="233161" y="1760"/>
                    <a:pt x="229754" y="2862"/>
                  </a:cubicBezTo>
                  <a:cubicBezTo>
                    <a:pt x="196882" y="13887"/>
                    <a:pt x="159650" y="26414"/>
                    <a:pt x="126727" y="47511"/>
                  </a:cubicBezTo>
                  <a:cubicBezTo>
                    <a:pt x="122919" y="49966"/>
                    <a:pt x="117808" y="50567"/>
                    <a:pt x="114300" y="50818"/>
                  </a:cubicBezTo>
                  <a:cubicBezTo>
                    <a:pt x="101823" y="51770"/>
                    <a:pt x="90047" y="50367"/>
                    <a:pt x="78371" y="46559"/>
                  </a:cubicBezTo>
                  <a:cubicBezTo>
                    <a:pt x="64441" y="42014"/>
                    <a:pt x="50861" y="42785"/>
                    <a:pt x="37632" y="48864"/>
                  </a:cubicBezTo>
                  <a:lnTo>
                    <a:pt x="35126" y="50016"/>
                  </a:lnTo>
                  <a:lnTo>
                    <a:pt x="21747" y="33931"/>
                  </a:lnTo>
                  <a:lnTo>
                    <a:pt x="18690" y="36637"/>
                  </a:lnTo>
                  <a:cubicBezTo>
                    <a:pt x="14731" y="40144"/>
                    <a:pt x="11023" y="43352"/>
                    <a:pt x="7315" y="46508"/>
                  </a:cubicBezTo>
                  <a:cubicBezTo>
                    <a:pt x="851" y="51920"/>
                    <a:pt x="-1304" y="58685"/>
                    <a:pt x="751" y="67104"/>
                  </a:cubicBezTo>
                  <a:cubicBezTo>
                    <a:pt x="1452" y="70161"/>
                    <a:pt x="2053" y="73217"/>
                    <a:pt x="2655" y="76274"/>
                  </a:cubicBezTo>
                  <a:lnTo>
                    <a:pt x="16535" y="147881"/>
                  </a:lnTo>
                  <a:cubicBezTo>
                    <a:pt x="30065" y="217635"/>
                    <a:pt x="43595" y="287338"/>
                    <a:pt x="57175" y="357091"/>
                  </a:cubicBezTo>
                  <a:cubicBezTo>
                    <a:pt x="58127" y="362102"/>
                    <a:pt x="59480" y="367113"/>
                    <a:pt x="60833" y="372375"/>
                  </a:cubicBezTo>
                  <a:cubicBezTo>
                    <a:pt x="61334" y="374329"/>
                    <a:pt x="61885" y="376283"/>
                    <a:pt x="62386" y="378288"/>
                  </a:cubicBezTo>
                  <a:cubicBezTo>
                    <a:pt x="71306" y="378388"/>
                    <a:pt x="77870" y="377386"/>
                    <a:pt x="83833" y="372926"/>
                  </a:cubicBezTo>
                  <a:lnTo>
                    <a:pt x="89446" y="353884"/>
                  </a:lnTo>
                  <a:lnTo>
                    <a:pt x="92051" y="354686"/>
                  </a:lnTo>
                  <a:cubicBezTo>
                    <a:pt x="99067" y="356890"/>
                    <a:pt x="102173" y="353583"/>
                    <a:pt x="107034" y="347570"/>
                  </a:cubicBezTo>
                  <a:cubicBezTo>
                    <a:pt x="110642" y="343110"/>
                    <a:pt x="114751" y="338049"/>
                    <a:pt x="121767" y="337147"/>
                  </a:cubicBezTo>
                  <a:lnTo>
                    <a:pt x="122769" y="336997"/>
                  </a:lnTo>
                  <a:lnTo>
                    <a:pt x="123621" y="337548"/>
                  </a:lnTo>
                  <a:cubicBezTo>
                    <a:pt x="129433" y="341507"/>
                    <a:pt x="131538" y="347369"/>
                    <a:pt x="133542" y="353082"/>
                  </a:cubicBezTo>
                  <a:cubicBezTo>
                    <a:pt x="134194" y="354936"/>
                    <a:pt x="134845" y="356790"/>
                    <a:pt x="135647" y="358544"/>
                  </a:cubicBezTo>
                  <a:cubicBezTo>
                    <a:pt x="143915" y="376684"/>
                    <a:pt x="151081" y="392970"/>
                    <a:pt x="157595" y="408304"/>
                  </a:cubicBezTo>
                  <a:cubicBezTo>
                    <a:pt x="161153" y="416722"/>
                    <a:pt x="167016" y="421583"/>
                    <a:pt x="176537" y="424038"/>
                  </a:cubicBezTo>
                  <a:cubicBezTo>
                    <a:pt x="184104" y="425992"/>
                    <a:pt x="191520" y="428548"/>
                    <a:pt x="198736" y="431104"/>
                  </a:cubicBezTo>
                  <a:cubicBezTo>
                    <a:pt x="202594" y="432457"/>
                    <a:pt x="206402" y="433760"/>
                    <a:pt x="210311" y="435012"/>
                  </a:cubicBezTo>
                  <a:cubicBezTo>
                    <a:pt x="223941" y="439372"/>
                    <a:pt x="236118" y="442178"/>
                    <a:pt x="247843" y="432657"/>
                  </a:cubicBezTo>
                  <a:cubicBezTo>
                    <a:pt x="250850" y="430202"/>
                    <a:pt x="255410" y="429400"/>
                    <a:pt x="258667" y="429650"/>
                  </a:cubicBezTo>
                  <a:cubicBezTo>
                    <a:pt x="270994" y="430703"/>
                    <a:pt x="281818" y="425541"/>
                    <a:pt x="289836" y="420881"/>
                  </a:cubicBezTo>
                  <a:lnTo>
                    <a:pt x="291289" y="420029"/>
                  </a:lnTo>
                  <a:lnTo>
                    <a:pt x="298555" y="424940"/>
                  </a:lnTo>
                  <a:cubicBezTo>
                    <a:pt x="301612" y="427045"/>
                    <a:pt x="304468" y="428949"/>
                    <a:pt x="307324" y="430853"/>
                  </a:cubicBezTo>
                  <a:cubicBezTo>
                    <a:pt x="321856" y="440324"/>
                    <a:pt x="337741" y="452901"/>
                    <a:pt x="345157" y="473897"/>
                  </a:cubicBezTo>
                  <a:cubicBezTo>
                    <a:pt x="346560" y="477856"/>
                    <a:pt x="348565" y="480913"/>
                    <a:pt x="350469" y="481965"/>
                  </a:cubicBezTo>
                  <a:cubicBezTo>
                    <a:pt x="353726" y="483769"/>
                    <a:pt x="358386" y="484521"/>
                    <a:pt x="361543" y="483719"/>
                  </a:cubicBezTo>
                  <a:cubicBezTo>
                    <a:pt x="362546" y="483469"/>
                    <a:pt x="364901" y="479911"/>
                    <a:pt x="365352" y="47705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27" name="Полилиния: фигура 126">
              <a:extLst>
                <a:ext uri="{FF2B5EF4-FFF2-40B4-BE49-F238E27FC236}">
                  <a16:creationId xmlns:a16="http://schemas.microsoft.com/office/drawing/2014/main" id="{FDEC6B75-C8AD-4F8E-9511-CD9384AC347A}"/>
                </a:ext>
              </a:extLst>
            </p:cNvPr>
            <p:cNvSpPr/>
            <p:nvPr/>
          </p:nvSpPr>
          <p:spPr>
            <a:xfrm>
              <a:off x="3725082" y="3980071"/>
              <a:ext cx="879025" cy="692649"/>
            </a:xfrm>
            <a:custGeom>
              <a:avLst/>
              <a:gdLst>
                <a:gd name="connsiteX0" fmla="*/ 294391 w 704843"/>
                <a:gd name="connsiteY0" fmla="*/ 504141 h 555398"/>
                <a:gd name="connsiteX1" fmla="*/ 304764 w 704843"/>
                <a:gd name="connsiteY1" fmla="*/ 497426 h 555398"/>
                <a:gd name="connsiteX2" fmla="*/ 315989 w 704843"/>
                <a:gd name="connsiteY2" fmla="*/ 472772 h 555398"/>
                <a:gd name="connsiteX3" fmla="*/ 321000 w 704843"/>
                <a:gd name="connsiteY3" fmla="*/ 469866 h 555398"/>
                <a:gd name="connsiteX4" fmla="*/ 326913 w 704843"/>
                <a:gd name="connsiteY4" fmla="*/ 465707 h 555398"/>
                <a:gd name="connsiteX5" fmla="*/ 347358 w 704843"/>
                <a:gd name="connsiteY5" fmla="*/ 441854 h 555398"/>
                <a:gd name="connsiteX6" fmla="*/ 348310 w 704843"/>
                <a:gd name="connsiteY6" fmla="*/ 439900 h 555398"/>
                <a:gd name="connsiteX7" fmla="*/ 363844 w 704843"/>
                <a:gd name="connsiteY7" fmla="*/ 415597 h 555398"/>
                <a:gd name="connsiteX8" fmla="*/ 366500 w 704843"/>
                <a:gd name="connsiteY8" fmla="*/ 413392 h 555398"/>
                <a:gd name="connsiteX9" fmla="*/ 371160 w 704843"/>
                <a:gd name="connsiteY9" fmla="*/ 386583 h 555398"/>
                <a:gd name="connsiteX10" fmla="*/ 374016 w 704843"/>
                <a:gd name="connsiteY10" fmla="*/ 387335 h 555398"/>
                <a:gd name="connsiteX11" fmla="*/ 383036 w 704843"/>
                <a:gd name="connsiteY11" fmla="*/ 390341 h 555398"/>
                <a:gd name="connsiteX12" fmla="*/ 411599 w 704843"/>
                <a:gd name="connsiteY12" fmla="*/ 387485 h 555398"/>
                <a:gd name="connsiteX13" fmla="*/ 403681 w 704843"/>
                <a:gd name="connsiteY13" fmla="*/ 329107 h 555398"/>
                <a:gd name="connsiteX14" fmla="*/ 395163 w 704843"/>
                <a:gd name="connsiteY14" fmla="*/ 327754 h 555398"/>
                <a:gd name="connsiteX15" fmla="*/ 370058 w 704843"/>
                <a:gd name="connsiteY15" fmla="*/ 310566 h 555398"/>
                <a:gd name="connsiteX16" fmla="*/ 369857 w 704843"/>
                <a:gd name="connsiteY16" fmla="*/ 309814 h 555398"/>
                <a:gd name="connsiteX17" fmla="*/ 370108 w 704843"/>
                <a:gd name="connsiteY17" fmla="*/ 309063 h 555398"/>
                <a:gd name="connsiteX18" fmla="*/ 385241 w 704843"/>
                <a:gd name="connsiteY18" fmla="*/ 292827 h 555398"/>
                <a:gd name="connsiteX19" fmla="*/ 396215 w 704843"/>
                <a:gd name="connsiteY19" fmla="*/ 283857 h 555398"/>
                <a:gd name="connsiteX20" fmla="*/ 396315 w 704843"/>
                <a:gd name="connsiteY20" fmla="*/ 273986 h 555398"/>
                <a:gd name="connsiteX21" fmla="*/ 396065 w 704843"/>
                <a:gd name="connsiteY21" fmla="*/ 247878 h 555398"/>
                <a:gd name="connsiteX22" fmla="*/ 410146 w 704843"/>
                <a:gd name="connsiteY22" fmla="*/ 222222 h 555398"/>
                <a:gd name="connsiteX23" fmla="*/ 430240 w 704843"/>
                <a:gd name="connsiteY23" fmla="*/ 209043 h 555398"/>
                <a:gd name="connsiteX24" fmla="*/ 447678 w 704843"/>
                <a:gd name="connsiteY24" fmla="*/ 197517 h 555398"/>
                <a:gd name="connsiteX25" fmla="*/ 456598 w 704843"/>
                <a:gd name="connsiteY25" fmla="*/ 193559 h 555398"/>
                <a:gd name="connsiteX26" fmla="*/ 460055 w 704843"/>
                <a:gd name="connsiteY26" fmla="*/ 192256 h 555398"/>
                <a:gd name="connsiteX27" fmla="*/ 461558 w 704843"/>
                <a:gd name="connsiteY27" fmla="*/ 191655 h 555398"/>
                <a:gd name="connsiteX28" fmla="*/ 462811 w 704843"/>
                <a:gd name="connsiteY28" fmla="*/ 192707 h 555398"/>
                <a:gd name="connsiteX29" fmla="*/ 484910 w 704843"/>
                <a:gd name="connsiteY29" fmla="*/ 224677 h 555398"/>
                <a:gd name="connsiteX30" fmla="*/ 485110 w 704843"/>
                <a:gd name="connsiteY30" fmla="*/ 225178 h 555398"/>
                <a:gd name="connsiteX31" fmla="*/ 485110 w 704843"/>
                <a:gd name="connsiteY31" fmla="*/ 225729 h 555398"/>
                <a:gd name="connsiteX32" fmla="*/ 481553 w 704843"/>
                <a:gd name="connsiteY32" fmla="*/ 234499 h 555398"/>
                <a:gd name="connsiteX33" fmla="*/ 479348 w 704843"/>
                <a:gd name="connsiteY33" fmla="*/ 244320 h 555398"/>
                <a:gd name="connsiteX34" fmla="*/ 541935 w 704843"/>
                <a:gd name="connsiteY34" fmla="*/ 274387 h 555398"/>
                <a:gd name="connsiteX35" fmla="*/ 551757 w 704843"/>
                <a:gd name="connsiteY35" fmla="*/ 280199 h 555398"/>
                <a:gd name="connsiteX36" fmla="*/ 592246 w 704843"/>
                <a:gd name="connsiteY36" fmla="*/ 277593 h 555398"/>
                <a:gd name="connsiteX37" fmla="*/ 607930 w 704843"/>
                <a:gd name="connsiteY37" fmla="*/ 282003 h 555398"/>
                <a:gd name="connsiteX38" fmla="*/ 635491 w 704843"/>
                <a:gd name="connsiteY38" fmla="*/ 289870 h 555398"/>
                <a:gd name="connsiteX39" fmla="*/ 656788 w 704843"/>
                <a:gd name="connsiteY39" fmla="*/ 289420 h 555398"/>
                <a:gd name="connsiteX40" fmla="*/ 678185 w 704843"/>
                <a:gd name="connsiteY40" fmla="*/ 281201 h 555398"/>
                <a:gd name="connsiteX41" fmla="*/ 700884 w 704843"/>
                <a:gd name="connsiteY41" fmla="*/ 272482 h 555398"/>
                <a:gd name="connsiteX42" fmla="*/ 704342 w 704843"/>
                <a:gd name="connsiteY42" fmla="*/ 269376 h 555398"/>
                <a:gd name="connsiteX43" fmla="*/ 704843 w 704843"/>
                <a:gd name="connsiteY43" fmla="*/ 268774 h 555398"/>
                <a:gd name="connsiteX44" fmla="*/ 689910 w 704843"/>
                <a:gd name="connsiteY44" fmla="*/ 262460 h 555398"/>
                <a:gd name="connsiteX45" fmla="*/ 660546 w 704843"/>
                <a:gd name="connsiteY45" fmla="*/ 250233 h 555398"/>
                <a:gd name="connsiteX46" fmla="*/ 635741 w 704843"/>
                <a:gd name="connsiteY46" fmla="*/ 235551 h 555398"/>
                <a:gd name="connsiteX47" fmla="*/ 595753 w 704843"/>
                <a:gd name="connsiteY47" fmla="*/ 209744 h 555398"/>
                <a:gd name="connsiteX48" fmla="*/ 594751 w 704843"/>
                <a:gd name="connsiteY48" fmla="*/ 208642 h 555398"/>
                <a:gd name="connsiteX49" fmla="*/ 595102 w 704843"/>
                <a:gd name="connsiteY49" fmla="*/ 207189 h 555398"/>
                <a:gd name="connsiteX50" fmla="*/ 599261 w 704843"/>
                <a:gd name="connsiteY50" fmla="*/ 195162 h 555398"/>
                <a:gd name="connsiteX51" fmla="*/ 602268 w 704843"/>
                <a:gd name="connsiteY51" fmla="*/ 171611 h 555398"/>
                <a:gd name="connsiteX52" fmla="*/ 596605 w 704843"/>
                <a:gd name="connsiteY52" fmla="*/ 166349 h 555398"/>
                <a:gd name="connsiteX53" fmla="*/ 582474 w 704843"/>
                <a:gd name="connsiteY53" fmla="*/ 153220 h 555398"/>
                <a:gd name="connsiteX54" fmla="*/ 576411 w 704843"/>
                <a:gd name="connsiteY54" fmla="*/ 131172 h 555398"/>
                <a:gd name="connsiteX55" fmla="*/ 577814 w 704843"/>
                <a:gd name="connsiteY55" fmla="*/ 125409 h 555398"/>
                <a:gd name="connsiteX56" fmla="*/ 578015 w 704843"/>
                <a:gd name="connsiteY56" fmla="*/ 124557 h 555398"/>
                <a:gd name="connsiteX57" fmla="*/ 561779 w 704843"/>
                <a:gd name="connsiteY57" fmla="*/ 102208 h 555398"/>
                <a:gd name="connsiteX58" fmla="*/ 560426 w 704843"/>
                <a:gd name="connsiteY58" fmla="*/ 96997 h 555398"/>
                <a:gd name="connsiteX59" fmla="*/ 558772 w 704843"/>
                <a:gd name="connsiteY59" fmla="*/ 90783 h 555398"/>
                <a:gd name="connsiteX60" fmla="*/ 530510 w 704843"/>
                <a:gd name="connsiteY60" fmla="*/ 52298 h 555398"/>
                <a:gd name="connsiteX61" fmla="*/ 523194 w 704843"/>
                <a:gd name="connsiteY61" fmla="*/ 46636 h 555398"/>
                <a:gd name="connsiteX62" fmla="*/ 522442 w 704843"/>
                <a:gd name="connsiteY62" fmla="*/ 45934 h 555398"/>
                <a:gd name="connsiteX63" fmla="*/ 472483 w 704843"/>
                <a:gd name="connsiteY63" fmla="*/ 27594 h 555398"/>
                <a:gd name="connsiteX64" fmla="*/ 456698 w 704843"/>
                <a:gd name="connsiteY64" fmla="*/ 26642 h 555398"/>
                <a:gd name="connsiteX65" fmla="*/ 449833 w 704843"/>
                <a:gd name="connsiteY65" fmla="*/ 26091 h 555398"/>
                <a:gd name="connsiteX66" fmla="*/ 448179 w 704843"/>
                <a:gd name="connsiteY66" fmla="*/ 25991 h 555398"/>
                <a:gd name="connsiteX67" fmla="*/ 447528 w 704843"/>
                <a:gd name="connsiteY67" fmla="*/ 24487 h 555398"/>
                <a:gd name="connsiteX68" fmla="*/ 444671 w 704843"/>
                <a:gd name="connsiteY68" fmla="*/ 17622 h 555398"/>
                <a:gd name="connsiteX69" fmla="*/ 439360 w 704843"/>
                <a:gd name="connsiteY69" fmla="*/ 5947 h 555398"/>
                <a:gd name="connsiteX70" fmla="*/ 431643 w 704843"/>
                <a:gd name="connsiteY70" fmla="*/ 84 h 555398"/>
                <a:gd name="connsiteX71" fmla="*/ 423826 w 704843"/>
                <a:gd name="connsiteY71" fmla="*/ 2990 h 555398"/>
                <a:gd name="connsiteX72" fmla="*/ 409845 w 704843"/>
                <a:gd name="connsiteY72" fmla="*/ 20980 h 555398"/>
                <a:gd name="connsiteX73" fmla="*/ 382234 w 704843"/>
                <a:gd name="connsiteY73" fmla="*/ 40923 h 555398"/>
                <a:gd name="connsiteX74" fmla="*/ 380430 w 704843"/>
                <a:gd name="connsiteY74" fmla="*/ 41274 h 555398"/>
                <a:gd name="connsiteX75" fmla="*/ 363193 w 704843"/>
                <a:gd name="connsiteY75" fmla="*/ 46786 h 555398"/>
                <a:gd name="connsiteX76" fmla="*/ 353220 w 704843"/>
                <a:gd name="connsiteY76" fmla="*/ 57660 h 555398"/>
                <a:gd name="connsiteX77" fmla="*/ 348861 w 704843"/>
                <a:gd name="connsiteY77" fmla="*/ 63273 h 555398"/>
                <a:gd name="connsiteX78" fmla="*/ 348209 w 704843"/>
                <a:gd name="connsiteY78" fmla="*/ 64024 h 555398"/>
                <a:gd name="connsiteX79" fmla="*/ 347207 w 704843"/>
                <a:gd name="connsiteY79" fmla="*/ 64175 h 555398"/>
                <a:gd name="connsiteX80" fmla="*/ 317693 w 704843"/>
                <a:gd name="connsiteY80" fmla="*/ 60466 h 555398"/>
                <a:gd name="connsiteX81" fmla="*/ 293840 w 704843"/>
                <a:gd name="connsiteY81" fmla="*/ 55806 h 555398"/>
                <a:gd name="connsiteX82" fmla="*/ 292086 w 704843"/>
                <a:gd name="connsiteY82" fmla="*/ 55806 h 555398"/>
                <a:gd name="connsiteX83" fmla="*/ 267582 w 704843"/>
                <a:gd name="connsiteY83" fmla="*/ 55555 h 555398"/>
                <a:gd name="connsiteX84" fmla="*/ 266881 w 704843"/>
                <a:gd name="connsiteY84" fmla="*/ 55555 h 555398"/>
                <a:gd name="connsiteX85" fmla="*/ 250495 w 704843"/>
                <a:gd name="connsiteY85" fmla="*/ 51597 h 555398"/>
                <a:gd name="connsiteX86" fmla="*/ 233107 w 704843"/>
                <a:gd name="connsiteY86" fmla="*/ 55155 h 555398"/>
                <a:gd name="connsiteX87" fmla="*/ 224889 w 704843"/>
                <a:gd name="connsiteY87" fmla="*/ 66229 h 555398"/>
                <a:gd name="connsiteX88" fmla="*/ 221632 w 704843"/>
                <a:gd name="connsiteY88" fmla="*/ 71240 h 555398"/>
                <a:gd name="connsiteX89" fmla="*/ 221080 w 704843"/>
                <a:gd name="connsiteY89" fmla="*/ 72042 h 555398"/>
                <a:gd name="connsiteX90" fmla="*/ 220178 w 704843"/>
                <a:gd name="connsiteY90" fmla="*/ 72292 h 555398"/>
                <a:gd name="connsiteX91" fmla="*/ 178737 w 704843"/>
                <a:gd name="connsiteY91" fmla="*/ 72092 h 555398"/>
                <a:gd name="connsiteX92" fmla="*/ 171772 w 704843"/>
                <a:gd name="connsiteY92" fmla="*/ 70939 h 555398"/>
                <a:gd name="connsiteX93" fmla="*/ 159194 w 704843"/>
                <a:gd name="connsiteY93" fmla="*/ 112230 h 555398"/>
                <a:gd name="connsiteX94" fmla="*/ 159194 w 704843"/>
                <a:gd name="connsiteY94" fmla="*/ 112781 h 555398"/>
                <a:gd name="connsiteX95" fmla="*/ 157791 w 704843"/>
                <a:gd name="connsiteY95" fmla="*/ 122603 h 555398"/>
                <a:gd name="connsiteX96" fmla="*/ 157040 w 704843"/>
                <a:gd name="connsiteY96" fmla="*/ 126812 h 555398"/>
                <a:gd name="connsiteX97" fmla="*/ 156839 w 704843"/>
                <a:gd name="connsiteY97" fmla="*/ 128115 h 555398"/>
                <a:gd name="connsiteX98" fmla="*/ 155686 w 704843"/>
                <a:gd name="connsiteY98" fmla="*/ 128767 h 555398"/>
                <a:gd name="connsiteX99" fmla="*/ 150876 w 704843"/>
                <a:gd name="connsiteY99" fmla="*/ 131673 h 555398"/>
                <a:gd name="connsiteX100" fmla="*/ 140002 w 704843"/>
                <a:gd name="connsiteY100" fmla="*/ 137085 h 555398"/>
                <a:gd name="connsiteX101" fmla="*/ 90093 w 704843"/>
                <a:gd name="connsiteY101" fmla="*/ 135982 h 555398"/>
                <a:gd name="connsiteX102" fmla="*/ 49703 w 704843"/>
                <a:gd name="connsiteY102" fmla="*/ 147257 h 555398"/>
                <a:gd name="connsiteX103" fmla="*/ 29359 w 704843"/>
                <a:gd name="connsiteY103" fmla="*/ 215758 h 555398"/>
                <a:gd name="connsiteX104" fmla="*/ 39231 w 704843"/>
                <a:gd name="connsiteY104" fmla="*/ 226581 h 555398"/>
                <a:gd name="connsiteX105" fmla="*/ 37577 w 704843"/>
                <a:gd name="connsiteY105" fmla="*/ 228385 h 555398"/>
                <a:gd name="connsiteX106" fmla="*/ 34871 w 704843"/>
                <a:gd name="connsiteY106" fmla="*/ 231642 h 555398"/>
                <a:gd name="connsiteX107" fmla="*/ 28307 w 704843"/>
                <a:gd name="connsiteY107" fmla="*/ 237906 h 555398"/>
                <a:gd name="connsiteX108" fmla="*/ 12672 w 704843"/>
                <a:gd name="connsiteY108" fmla="*/ 244571 h 555398"/>
                <a:gd name="connsiteX109" fmla="*/ 7160 w 704843"/>
                <a:gd name="connsiteY109" fmla="*/ 246675 h 555398"/>
                <a:gd name="connsiteX110" fmla="*/ 1748 w 704843"/>
                <a:gd name="connsiteY110" fmla="*/ 286563 h 555398"/>
                <a:gd name="connsiteX111" fmla="*/ 33869 w 704843"/>
                <a:gd name="connsiteY111" fmla="*/ 305254 h 555398"/>
                <a:gd name="connsiteX112" fmla="*/ 34220 w 704843"/>
                <a:gd name="connsiteY112" fmla="*/ 306006 h 555398"/>
                <a:gd name="connsiteX113" fmla="*/ 37226 w 704843"/>
                <a:gd name="connsiteY113" fmla="*/ 323294 h 555398"/>
                <a:gd name="connsiteX114" fmla="*/ 40534 w 704843"/>
                <a:gd name="connsiteY114" fmla="*/ 338678 h 555398"/>
                <a:gd name="connsiteX115" fmla="*/ 60978 w 704843"/>
                <a:gd name="connsiteY115" fmla="*/ 341534 h 555398"/>
                <a:gd name="connsiteX116" fmla="*/ 67242 w 704843"/>
                <a:gd name="connsiteY116" fmla="*/ 351656 h 555398"/>
                <a:gd name="connsiteX117" fmla="*/ 92047 w 704843"/>
                <a:gd name="connsiteY117" fmla="*/ 362630 h 555398"/>
                <a:gd name="connsiteX118" fmla="*/ 93149 w 704843"/>
                <a:gd name="connsiteY118" fmla="*/ 364134 h 555398"/>
                <a:gd name="connsiteX119" fmla="*/ 116701 w 704843"/>
                <a:gd name="connsiteY119" fmla="*/ 406577 h 555398"/>
                <a:gd name="connsiteX120" fmla="*/ 141706 w 704843"/>
                <a:gd name="connsiteY120" fmla="*/ 432283 h 555398"/>
                <a:gd name="connsiteX121" fmla="*/ 151628 w 704843"/>
                <a:gd name="connsiteY121" fmla="*/ 435691 h 555398"/>
                <a:gd name="connsiteX122" fmla="*/ 156488 w 704843"/>
                <a:gd name="connsiteY122" fmla="*/ 437344 h 555398"/>
                <a:gd name="connsiteX123" fmla="*/ 179138 w 704843"/>
                <a:gd name="connsiteY123" fmla="*/ 489860 h 555398"/>
                <a:gd name="connsiteX124" fmla="*/ 181894 w 704843"/>
                <a:gd name="connsiteY124" fmla="*/ 489810 h 555398"/>
                <a:gd name="connsiteX125" fmla="*/ 199733 w 704843"/>
                <a:gd name="connsiteY125" fmla="*/ 498028 h 555398"/>
                <a:gd name="connsiteX126" fmla="*/ 220128 w 704843"/>
                <a:gd name="connsiteY126" fmla="*/ 514414 h 555398"/>
                <a:gd name="connsiteX127" fmla="*/ 251146 w 704843"/>
                <a:gd name="connsiteY127" fmla="*/ 541323 h 555398"/>
                <a:gd name="connsiteX128" fmla="*/ 255205 w 704843"/>
                <a:gd name="connsiteY128" fmla="*/ 547487 h 555398"/>
                <a:gd name="connsiteX129" fmla="*/ 257611 w 704843"/>
                <a:gd name="connsiteY129" fmla="*/ 551445 h 555398"/>
                <a:gd name="connsiteX130" fmla="*/ 266731 w 704843"/>
                <a:gd name="connsiteY130" fmla="*/ 554903 h 555398"/>
                <a:gd name="connsiteX131" fmla="*/ 273195 w 704843"/>
                <a:gd name="connsiteY131" fmla="*/ 548739 h 555398"/>
                <a:gd name="connsiteX132" fmla="*/ 275450 w 704843"/>
                <a:gd name="connsiteY132" fmla="*/ 538367 h 555398"/>
                <a:gd name="connsiteX133" fmla="*/ 276151 w 704843"/>
                <a:gd name="connsiteY133" fmla="*/ 533656 h 555398"/>
                <a:gd name="connsiteX134" fmla="*/ 276402 w 704843"/>
                <a:gd name="connsiteY134" fmla="*/ 532303 h 555398"/>
                <a:gd name="connsiteX135" fmla="*/ 294492 w 704843"/>
                <a:gd name="connsiteY135" fmla="*/ 523333 h 555398"/>
                <a:gd name="connsiteX136" fmla="*/ 294492 w 704843"/>
                <a:gd name="connsiteY136" fmla="*/ 504292 h 555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704843" h="555398">
                  <a:moveTo>
                    <a:pt x="294391" y="504141"/>
                  </a:moveTo>
                  <a:lnTo>
                    <a:pt x="304764" y="497426"/>
                  </a:lnTo>
                  <a:cubicBezTo>
                    <a:pt x="304413" y="483446"/>
                    <a:pt x="305415" y="480589"/>
                    <a:pt x="315989" y="472772"/>
                  </a:cubicBezTo>
                  <a:cubicBezTo>
                    <a:pt x="317592" y="471620"/>
                    <a:pt x="319346" y="470718"/>
                    <a:pt x="321000" y="469866"/>
                  </a:cubicBezTo>
                  <a:cubicBezTo>
                    <a:pt x="323505" y="468563"/>
                    <a:pt x="325861" y="467360"/>
                    <a:pt x="326913" y="465707"/>
                  </a:cubicBezTo>
                  <a:cubicBezTo>
                    <a:pt x="332375" y="457038"/>
                    <a:pt x="338087" y="448118"/>
                    <a:pt x="347358" y="441854"/>
                  </a:cubicBezTo>
                  <a:cubicBezTo>
                    <a:pt x="347708" y="441654"/>
                    <a:pt x="348260" y="440602"/>
                    <a:pt x="348310" y="439900"/>
                  </a:cubicBezTo>
                  <a:cubicBezTo>
                    <a:pt x="348861" y="427974"/>
                    <a:pt x="356829" y="421359"/>
                    <a:pt x="363844" y="415597"/>
                  </a:cubicBezTo>
                  <a:cubicBezTo>
                    <a:pt x="364746" y="414845"/>
                    <a:pt x="365648" y="414094"/>
                    <a:pt x="366500" y="413392"/>
                  </a:cubicBezTo>
                  <a:lnTo>
                    <a:pt x="371160" y="386583"/>
                  </a:lnTo>
                  <a:lnTo>
                    <a:pt x="374016" y="387335"/>
                  </a:lnTo>
                  <a:cubicBezTo>
                    <a:pt x="377123" y="388186"/>
                    <a:pt x="380130" y="389239"/>
                    <a:pt x="383036" y="390341"/>
                  </a:cubicBezTo>
                  <a:cubicBezTo>
                    <a:pt x="393960" y="394300"/>
                    <a:pt x="402679" y="397457"/>
                    <a:pt x="411599" y="387485"/>
                  </a:cubicBezTo>
                  <a:cubicBezTo>
                    <a:pt x="411198" y="364535"/>
                    <a:pt x="408692" y="345893"/>
                    <a:pt x="403681" y="329107"/>
                  </a:cubicBezTo>
                  <a:cubicBezTo>
                    <a:pt x="400975" y="328455"/>
                    <a:pt x="398019" y="328104"/>
                    <a:pt x="395163" y="327754"/>
                  </a:cubicBezTo>
                  <a:cubicBezTo>
                    <a:pt x="385091" y="326501"/>
                    <a:pt x="373665" y="325098"/>
                    <a:pt x="370058" y="310566"/>
                  </a:cubicBezTo>
                  <a:lnTo>
                    <a:pt x="369857" y="309814"/>
                  </a:lnTo>
                  <a:lnTo>
                    <a:pt x="370108" y="309063"/>
                  </a:lnTo>
                  <a:cubicBezTo>
                    <a:pt x="372864" y="300895"/>
                    <a:pt x="379177" y="296786"/>
                    <a:pt x="385241" y="292827"/>
                  </a:cubicBezTo>
                  <a:cubicBezTo>
                    <a:pt x="389350" y="290121"/>
                    <a:pt x="393259" y="287566"/>
                    <a:pt x="396215" y="283857"/>
                  </a:cubicBezTo>
                  <a:cubicBezTo>
                    <a:pt x="396215" y="280600"/>
                    <a:pt x="396215" y="277343"/>
                    <a:pt x="396315" y="273986"/>
                  </a:cubicBezTo>
                  <a:cubicBezTo>
                    <a:pt x="396415" y="265467"/>
                    <a:pt x="396516" y="256597"/>
                    <a:pt x="396065" y="247878"/>
                  </a:cubicBezTo>
                  <a:cubicBezTo>
                    <a:pt x="395463" y="236704"/>
                    <a:pt x="399923" y="228536"/>
                    <a:pt x="410146" y="222222"/>
                  </a:cubicBezTo>
                  <a:cubicBezTo>
                    <a:pt x="416910" y="218013"/>
                    <a:pt x="423675" y="213452"/>
                    <a:pt x="430240" y="209043"/>
                  </a:cubicBezTo>
                  <a:cubicBezTo>
                    <a:pt x="436002" y="205134"/>
                    <a:pt x="441815" y="201276"/>
                    <a:pt x="447678" y="197517"/>
                  </a:cubicBezTo>
                  <a:cubicBezTo>
                    <a:pt x="450534" y="195714"/>
                    <a:pt x="453791" y="194561"/>
                    <a:pt x="456598" y="193559"/>
                  </a:cubicBezTo>
                  <a:cubicBezTo>
                    <a:pt x="457800" y="193158"/>
                    <a:pt x="458953" y="192707"/>
                    <a:pt x="460055" y="192256"/>
                  </a:cubicBezTo>
                  <a:lnTo>
                    <a:pt x="461558" y="191655"/>
                  </a:lnTo>
                  <a:lnTo>
                    <a:pt x="462811" y="192707"/>
                  </a:lnTo>
                  <a:cubicBezTo>
                    <a:pt x="477393" y="205134"/>
                    <a:pt x="477594" y="205435"/>
                    <a:pt x="484910" y="224677"/>
                  </a:cubicBezTo>
                  <a:lnTo>
                    <a:pt x="485110" y="225178"/>
                  </a:lnTo>
                  <a:lnTo>
                    <a:pt x="485110" y="225729"/>
                  </a:lnTo>
                  <a:cubicBezTo>
                    <a:pt x="485010" y="229237"/>
                    <a:pt x="483156" y="232043"/>
                    <a:pt x="481553" y="234499"/>
                  </a:cubicBezTo>
                  <a:cubicBezTo>
                    <a:pt x="479348" y="237856"/>
                    <a:pt x="477744" y="240362"/>
                    <a:pt x="479348" y="244320"/>
                  </a:cubicBezTo>
                  <a:cubicBezTo>
                    <a:pt x="501647" y="250484"/>
                    <a:pt x="522092" y="262661"/>
                    <a:pt x="541935" y="274387"/>
                  </a:cubicBezTo>
                  <a:cubicBezTo>
                    <a:pt x="545192" y="276341"/>
                    <a:pt x="548500" y="278245"/>
                    <a:pt x="551757" y="280199"/>
                  </a:cubicBezTo>
                  <a:cubicBezTo>
                    <a:pt x="563833" y="273835"/>
                    <a:pt x="576361" y="273084"/>
                    <a:pt x="592246" y="277593"/>
                  </a:cubicBezTo>
                  <a:cubicBezTo>
                    <a:pt x="597457" y="279097"/>
                    <a:pt x="602719" y="280550"/>
                    <a:pt x="607930" y="282003"/>
                  </a:cubicBezTo>
                  <a:cubicBezTo>
                    <a:pt x="617100" y="284559"/>
                    <a:pt x="626320" y="287114"/>
                    <a:pt x="635491" y="289870"/>
                  </a:cubicBezTo>
                  <a:cubicBezTo>
                    <a:pt x="643308" y="292226"/>
                    <a:pt x="650073" y="292075"/>
                    <a:pt x="656788" y="289420"/>
                  </a:cubicBezTo>
                  <a:cubicBezTo>
                    <a:pt x="663903" y="286613"/>
                    <a:pt x="671019" y="283907"/>
                    <a:pt x="678185" y="281201"/>
                  </a:cubicBezTo>
                  <a:cubicBezTo>
                    <a:pt x="685751" y="278345"/>
                    <a:pt x="693368" y="275489"/>
                    <a:pt x="700884" y="272482"/>
                  </a:cubicBezTo>
                  <a:cubicBezTo>
                    <a:pt x="702037" y="272031"/>
                    <a:pt x="703190" y="270678"/>
                    <a:pt x="704342" y="269376"/>
                  </a:cubicBezTo>
                  <a:cubicBezTo>
                    <a:pt x="704492" y="269175"/>
                    <a:pt x="704693" y="268975"/>
                    <a:pt x="704843" y="268774"/>
                  </a:cubicBezTo>
                  <a:cubicBezTo>
                    <a:pt x="701536" y="262460"/>
                    <a:pt x="696324" y="262160"/>
                    <a:pt x="689910" y="262460"/>
                  </a:cubicBezTo>
                  <a:cubicBezTo>
                    <a:pt x="677483" y="263062"/>
                    <a:pt x="667812" y="259053"/>
                    <a:pt x="660546" y="250233"/>
                  </a:cubicBezTo>
                  <a:cubicBezTo>
                    <a:pt x="653981" y="242266"/>
                    <a:pt x="644711" y="238608"/>
                    <a:pt x="635741" y="235551"/>
                  </a:cubicBezTo>
                  <a:cubicBezTo>
                    <a:pt x="620257" y="230240"/>
                    <a:pt x="606828" y="221570"/>
                    <a:pt x="595753" y="209744"/>
                  </a:cubicBezTo>
                  <a:lnTo>
                    <a:pt x="594751" y="208642"/>
                  </a:lnTo>
                  <a:lnTo>
                    <a:pt x="595102" y="207189"/>
                  </a:lnTo>
                  <a:cubicBezTo>
                    <a:pt x="596205" y="202980"/>
                    <a:pt x="597758" y="199021"/>
                    <a:pt x="599261" y="195162"/>
                  </a:cubicBezTo>
                  <a:cubicBezTo>
                    <a:pt x="602669" y="186543"/>
                    <a:pt x="605625" y="179077"/>
                    <a:pt x="602268" y="171611"/>
                  </a:cubicBezTo>
                  <a:lnTo>
                    <a:pt x="596605" y="166349"/>
                  </a:lnTo>
                  <a:cubicBezTo>
                    <a:pt x="591594" y="161689"/>
                    <a:pt x="587034" y="157429"/>
                    <a:pt x="582474" y="153220"/>
                  </a:cubicBezTo>
                  <a:cubicBezTo>
                    <a:pt x="575910" y="147207"/>
                    <a:pt x="573855" y="139841"/>
                    <a:pt x="576411" y="131172"/>
                  </a:cubicBezTo>
                  <a:cubicBezTo>
                    <a:pt x="576962" y="129268"/>
                    <a:pt x="577363" y="127263"/>
                    <a:pt x="577814" y="125409"/>
                  </a:cubicBezTo>
                  <a:lnTo>
                    <a:pt x="578015" y="124557"/>
                  </a:lnTo>
                  <a:cubicBezTo>
                    <a:pt x="565687" y="115638"/>
                    <a:pt x="565236" y="114735"/>
                    <a:pt x="561779" y="102208"/>
                  </a:cubicBezTo>
                  <a:cubicBezTo>
                    <a:pt x="561278" y="100454"/>
                    <a:pt x="560877" y="98750"/>
                    <a:pt x="560426" y="96997"/>
                  </a:cubicBezTo>
                  <a:cubicBezTo>
                    <a:pt x="559875" y="94942"/>
                    <a:pt x="559373" y="92837"/>
                    <a:pt x="558772" y="90783"/>
                  </a:cubicBezTo>
                  <a:cubicBezTo>
                    <a:pt x="553009" y="70338"/>
                    <a:pt x="544541" y="58813"/>
                    <a:pt x="530510" y="52298"/>
                  </a:cubicBezTo>
                  <a:cubicBezTo>
                    <a:pt x="527654" y="50945"/>
                    <a:pt x="525248" y="48640"/>
                    <a:pt x="523194" y="46636"/>
                  </a:cubicBezTo>
                  <a:lnTo>
                    <a:pt x="522442" y="45934"/>
                  </a:lnTo>
                  <a:cubicBezTo>
                    <a:pt x="509714" y="33657"/>
                    <a:pt x="493829" y="27845"/>
                    <a:pt x="472483" y="27594"/>
                  </a:cubicBezTo>
                  <a:cubicBezTo>
                    <a:pt x="467121" y="27544"/>
                    <a:pt x="461809" y="27093"/>
                    <a:pt x="456698" y="26642"/>
                  </a:cubicBezTo>
                  <a:cubicBezTo>
                    <a:pt x="454343" y="26442"/>
                    <a:pt x="452038" y="26241"/>
                    <a:pt x="449833" y="26091"/>
                  </a:cubicBezTo>
                  <a:lnTo>
                    <a:pt x="448179" y="25991"/>
                  </a:lnTo>
                  <a:lnTo>
                    <a:pt x="447528" y="24487"/>
                  </a:lnTo>
                  <a:cubicBezTo>
                    <a:pt x="446476" y="22082"/>
                    <a:pt x="445523" y="19777"/>
                    <a:pt x="444671" y="17622"/>
                  </a:cubicBezTo>
                  <a:cubicBezTo>
                    <a:pt x="442867" y="13213"/>
                    <a:pt x="441314" y="9454"/>
                    <a:pt x="439360" y="5947"/>
                  </a:cubicBezTo>
                  <a:cubicBezTo>
                    <a:pt x="437506" y="2639"/>
                    <a:pt x="434699" y="535"/>
                    <a:pt x="431643" y="84"/>
                  </a:cubicBezTo>
                  <a:cubicBezTo>
                    <a:pt x="428887" y="-317"/>
                    <a:pt x="426081" y="735"/>
                    <a:pt x="423826" y="2990"/>
                  </a:cubicBezTo>
                  <a:cubicBezTo>
                    <a:pt x="418464" y="8352"/>
                    <a:pt x="413603" y="14565"/>
                    <a:pt x="409845" y="20980"/>
                  </a:cubicBezTo>
                  <a:cubicBezTo>
                    <a:pt x="403130" y="32305"/>
                    <a:pt x="394361" y="38618"/>
                    <a:pt x="382234" y="40923"/>
                  </a:cubicBezTo>
                  <a:lnTo>
                    <a:pt x="380430" y="41274"/>
                  </a:lnTo>
                  <a:cubicBezTo>
                    <a:pt x="374217" y="42427"/>
                    <a:pt x="367752" y="43629"/>
                    <a:pt x="363193" y="46786"/>
                  </a:cubicBezTo>
                  <a:cubicBezTo>
                    <a:pt x="359334" y="49442"/>
                    <a:pt x="356377" y="53451"/>
                    <a:pt x="353220" y="57660"/>
                  </a:cubicBezTo>
                  <a:cubicBezTo>
                    <a:pt x="351767" y="59565"/>
                    <a:pt x="350364" y="61468"/>
                    <a:pt x="348861" y="63273"/>
                  </a:cubicBezTo>
                  <a:lnTo>
                    <a:pt x="348209" y="64024"/>
                  </a:lnTo>
                  <a:lnTo>
                    <a:pt x="347207" y="64175"/>
                  </a:lnTo>
                  <a:cubicBezTo>
                    <a:pt x="335281" y="66129"/>
                    <a:pt x="325911" y="64976"/>
                    <a:pt x="317693" y="60466"/>
                  </a:cubicBezTo>
                  <a:cubicBezTo>
                    <a:pt x="311379" y="57009"/>
                    <a:pt x="304263" y="55606"/>
                    <a:pt x="293840" y="55806"/>
                  </a:cubicBezTo>
                  <a:lnTo>
                    <a:pt x="292086" y="55806"/>
                  </a:lnTo>
                  <a:cubicBezTo>
                    <a:pt x="284069" y="55956"/>
                    <a:pt x="275801" y="56057"/>
                    <a:pt x="267582" y="55555"/>
                  </a:cubicBezTo>
                  <a:lnTo>
                    <a:pt x="266881" y="55555"/>
                  </a:lnTo>
                  <a:cubicBezTo>
                    <a:pt x="261319" y="55155"/>
                    <a:pt x="255005" y="54804"/>
                    <a:pt x="250495" y="51597"/>
                  </a:cubicBezTo>
                  <a:cubicBezTo>
                    <a:pt x="243830" y="46836"/>
                    <a:pt x="239421" y="49091"/>
                    <a:pt x="233107" y="55155"/>
                  </a:cubicBezTo>
                  <a:cubicBezTo>
                    <a:pt x="229849" y="58262"/>
                    <a:pt x="227344" y="62321"/>
                    <a:pt x="224889" y="66229"/>
                  </a:cubicBezTo>
                  <a:cubicBezTo>
                    <a:pt x="223786" y="67983"/>
                    <a:pt x="222734" y="69636"/>
                    <a:pt x="221632" y="71240"/>
                  </a:cubicBezTo>
                  <a:lnTo>
                    <a:pt x="221080" y="72042"/>
                  </a:lnTo>
                  <a:lnTo>
                    <a:pt x="220178" y="72292"/>
                  </a:lnTo>
                  <a:cubicBezTo>
                    <a:pt x="205446" y="76652"/>
                    <a:pt x="191866" y="74347"/>
                    <a:pt x="178737" y="72092"/>
                  </a:cubicBezTo>
                  <a:cubicBezTo>
                    <a:pt x="176382" y="71691"/>
                    <a:pt x="174077" y="71290"/>
                    <a:pt x="171772" y="70939"/>
                  </a:cubicBezTo>
                  <a:cubicBezTo>
                    <a:pt x="160096" y="91384"/>
                    <a:pt x="160096" y="91885"/>
                    <a:pt x="159194" y="112230"/>
                  </a:cubicBezTo>
                  <a:lnTo>
                    <a:pt x="159194" y="112781"/>
                  </a:lnTo>
                  <a:cubicBezTo>
                    <a:pt x="158994" y="116139"/>
                    <a:pt x="158392" y="119446"/>
                    <a:pt x="157791" y="122603"/>
                  </a:cubicBezTo>
                  <a:cubicBezTo>
                    <a:pt x="157541" y="124006"/>
                    <a:pt x="157240" y="125409"/>
                    <a:pt x="157040" y="126812"/>
                  </a:cubicBezTo>
                  <a:lnTo>
                    <a:pt x="156839" y="128115"/>
                  </a:lnTo>
                  <a:lnTo>
                    <a:pt x="155686" y="128767"/>
                  </a:lnTo>
                  <a:cubicBezTo>
                    <a:pt x="154033" y="129669"/>
                    <a:pt x="152429" y="130671"/>
                    <a:pt x="150876" y="131673"/>
                  </a:cubicBezTo>
                  <a:cubicBezTo>
                    <a:pt x="147268" y="133928"/>
                    <a:pt x="143911" y="136032"/>
                    <a:pt x="140002" y="137085"/>
                  </a:cubicBezTo>
                  <a:cubicBezTo>
                    <a:pt x="123917" y="141344"/>
                    <a:pt x="106779" y="144150"/>
                    <a:pt x="90093" y="135982"/>
                  </a:cubicBezTo>
                  <a:cubicBezTo>
                    <a:pt x="72855" y="127564"/>
                    <a:pt x="59275" y="131322"/>
                    <a:pt x="49703" y="147257"/>
                  </a:cubicBezTo>
                  <a:cubicBezTo>
                    <a:pt x="35973" y="170258"/>
                    <a:pt x="31564" y="195814"/>
                    <a:pt x="29359" y="215758"/>
                  </a:cubicBezTo>
                  <a:lnTo>
                    <a:pt x="39231" y="226581"/>
                  </a:lnTo>
                  <a:lnTo>
                    <a:pt x="37577" y="228385"/>
                  </a:lnTo>
                  <a:cubicBezTo>
                    <a:pt x="36575" y="229438"/>
                    <a:pt x="35723" y="230590"/>
                    <a:pt x="34871" y="231642"/>
                  </a:cubicBezTo>
                  <a:cubicBezTo>
                    <a:pt x="32867" y="234148"/>
                    <a:pt x="31013" y="236503"/>
                    <a:pt x="28307" y="237906"/>
                  </a:cubicBezTo>
                  <a:cubicBezTo>
                    <a:pt x="23296" y="240512"/>
                    <a:pt x="18134" y="242516"/>
                    <a:pt x="12672" y="244571"/>
                  </a:cubicBezTo>
                  <a:cubicBezTo>
                    <a:pt x="10868" y="245273"/>
                    <a:pt x="9014" y="245974"/>
                    <a:pt x="7160" y="246675"/>
                  </a:cubicBezTo>
                  <a:cubicBezTo>
                    <a:pt x="-6" y="260105"/>
                    <a:pt x="-1759" y="272833"/>
                    <a:pt x="1748" y="286563"/>
                  </a:cubicBezTo>
                  <a:lnTo>
                    <a:pt x="33869" y="305254"/>
                  </a:lnTo>
                  <a:lnTo>
                    <a:pt x="34220" y="306006"/>
                  </a:lnTo>
                  <a:cubicBezTo>
                    <a:pt x="37026" y="311969"/>
                    <a:pt x="37126" y="317982"/>
                    <a:pt x="37226" y="323294"/>
                  </a:cubicBezTo>
                  <a:cubicBezTo>
                    <a:pt x="37326" y="329107"/>
                    <a:pt x="37427" y="334168"/>
                    <a:pt x="40534" y="338678"/>
                  </a:cubicBezTo>
                  <a:lnTo>
                    <a:pt x="60978" y="341534"/>
                  </a:lnTo>
                  <a:lnTo>
                    <a:pt x="67242" y="351656"/>
                  </a:lnTo>
                  <a:cubicBezTo>
                    <a:pt x="81223" y="351356"/>
                    <a:pt x="84079" y="351957"/>
                    <a:pt x="92047" y="362630"/>
                  </a:cubicBezTo>
                  <a:lnTo>
                    <a:pt x="93149" y="364134"/>
                  </a:lnTo>
                  <a:cubicBezTo>
                    <a:pt x="102720" y="376962"/>
                    <a:pt x="112592" y="390191"/>
                    <a:pt x="116701" y="406577"/>
                  </a:cubicBezTo>
                  <a:cubicBezTo>
                    <a:pt x="119808" y="419004"/>
                    <a:pt x="127725" y="427172"/>
                    <a:pt x="141706" y="432283"/>
                  </a:cubicBezTo>
                  <a:cubicBezTo>
                    <a:pt x="145163" y="433536"/>
                    <a:pt x="148621" y="434689"/>
                    <a:pt x="151628" y="435691"/>
                  </a:cubicBezTo>
                  <a:lnTo>
                    <a:pt x="156488" y="437344"/>
                  </a:lnTo>
                  <a:lnTo>
                    <a:pt x="179138" y="489860"/>
                  </a:lnTo>
                  <a:cubicBezTo>
                    <a:pt x="180040" y="489860"/>
                    <a:pt x="180992" y="489810"/>
                    <a:pt x="181894" y="489810"/>
                  </a:cubicBezTo>
                  <a:cubicBezTo>
                    <a:pt x="188809" y="489810"/>
                    <a:pt x="195424" y="491213"/>
                    <a:pt x="199733" y="498028"/>
                  </a:cubicBezTo>
                  <a:cubicBezTo>
                    <a:pt x="204293" y="505194"/>
                    <a:pt x="210757" y="510405"/>
                    <a:pt x="220128" y="514414"/>
                  </a:cubicBezTo>
                  <a:cubicBezTo>
                    <a:pt x="233307" y="520076"/>
                    <a:pt x="242327" y="530349"/>
                    <a:pt x="251146" y="541323"/>
                  </a:cubicBezTo>
                  <a:cubicBezTo>
                    <a:pt x="252750" y="543277"/>
                    <a:pt x="253952" y="545432"/>
                    <a:pt x="255205" y="547487"/>
                  </a:cubicBezTo>
                  <a:cubicBezTo>
                    <a:pt x="255957" y="548839"/>
                    <a:pt x="256758" y="550142"/>
                    <a:pt x="257611" y="551445"/>
                  </a:cubicBezTo>
                  <a:cubicBezTo>
                    <a:pt x="259966" y="554903"/>
                    <a:pt x="263373" y="556206"/>
                    <a:pt x="266731" y="554903"/>
                  </a:cubicBezTo>
                  <a:cubicBezTo>
                    <a:pt x="269386" y="553850"/>
                    <a:pt x="272243" y="551145"/>
                    <a:pt x="273195" y="548739"/>
                  </a:cubicBezTo>
                  <a:cubicBezTo>
                    <a:pt x="274447" y="545582"/>
                    <a:pt x="274948" y="541924"/>
                    <a:pt x="275450" y="538367"/>
                  </a:cubicBezTo>
                  <a:cubicBezTo>
                    <a:pt x="275650" y="536763"/>
                    <a:pt x="275901" y="535159"/>
                    <a:pt x="276151" y="533656"/>
                  </a:cubicBezTo>
                  <a:lnTo>
                    <a:pt x="276402" y="532303"/>
                  </a:lnTo>
                  <a:lnTo>
                    <a:pt x="294492" y="523333"/>
                  </a:lnTo>
                  <a:lnTo>
                    <a:pt x="294492" y="504292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28" name="Полилиния: фигура 127">
              <a:extLst>
                <a:ext uri="{FF2B5EF4-FFF2-40B4-BE49-F238E27FC236}">
                  <a16:creationId xmlns:a16="http://schemas.microsoft.com/office/drawing/2014/main" id="{7BB1A4EC-4028-431C-A34C-D550AE516D50}"/>
                </a:ext>
              </a:extLst>
            </p:cNvPr>
            <p:cNvSpPr/>
            <p:nvPr/>
          </p:nvSpPr>
          <p:spPr>
            <a:xfrm>
              <a:off x="4078288" y="4242086"/>
              <a:ext cx="545005" cy="802835"/>
            </a:xfrm>
            <a:custGeom>
              <a:avLst/>
              <a:gdLst>
                <a:gd name="connsiteX0" fmla="*/ 296602 w 437010"/>
                <a:gd name="connsiteY0" fmla="*/ 515934 h 643750"/>
                <a:gd name="connsiteX1" fmla="*/ 292693 w 437010"/>
                <a:gd name="connsiteY1" fmla="*/ 493885 h 643750"/>
                <a:gd name="connsiteX2" fmla="*/ 294397 w 437010"/>
                <a:gd name="connsiteY2" fmla="*/ 483863 h 643750"/>
                <a:gd name="connsiteX3" fmla="*/ 312938 w 437010"/>
                <a:gd name="connsiteY3" fmla="*/ 437912 h 643750"/>
                <a:gd name="connsiteX4" fmla="*/ 312086 w 437010"/>
                <a:gd name="connsiteY4" fmla="*/ 433753 h 643750"/>
                <a:gd name="connsiteX5" fmla="*/ 313539 w 437010"/>
                <a:gd name="connsiteY5" fmla="*/ 405741 h 643750"/>
                <a:gd name="connsiteX6" fmla="*/ 314090 w 437010"/>
                <a:gd name="connsiteY6" fmla="*/ 404689 h 643750"/>
                <a:gd name="connsiteX7" fmla="*/ 315192 w 437010"/>
                <a:gd name="connsiteY7" fmla="*/ 404389 h 643750"/>
                <a:gd name="connsiteX8" fmla="*/ 320454 w 437010"/>
                <a:gd name="connsiteY8" fmla="*/ 403186 h 643750"/>
                <a:gd name="connsiteX9" fmla="*/ 331829 w 437010"/>
                <a:gd name="connsiteY9" fmla="*/ 399678 h 643750"/>
                <a:gd name="connsiteX10" fmla="*/ 341550 w 437010"/>
                <a:gd name="connsiteY10" fmla="*/ 392112 h 643750"/>
                <a:gd name="connsiteX11" fmla="*/ 347965 w 437010"/>
                <a:gd name="connsiteY11" fmla="*/ 386649 h 643750"/>
                <a:gd name="connsiteX12" fmla="*/ 381989 w 437010"/>
                <a:gd name="connsiteY12" fmla="*/ 373871 h 643750"/>
                <a:gd name="connsiteX13" fmla="*/ 385848 w 437010"/>
                <a:gd name="connsiteY13" fmla="*/ 373972 h 643750"/>
                <a:gd name="connsiteX14" fmla="*/ 400831 w 437010"/>
                <a:gd name="connsiteY14" fmla="*/ 370965 h 643750"/>
                <a:gd name="connsiteX15" fmla="*/ 398075 w 437010"/>
                <a:gd name="connsiteY15" fmla="*/ 354228 h 643750"/>
                <a:gd name="connsiteX16" fmla="*/ 400430 w 437010"/>
                <a:gd name="connsiteY16" fmla="*/ 329073 h 643750"/>
                <a:gd name="connsiteX17" fmla="*/ 413609 w 437010"/>
                <a:gd name="connsiteY17" fmla="*/ 314541 h 643750"/>
                <a:gd name="connsiteX18" fmla="*/ 419321 w 437010"/>
                <a:gd name="connsiteY18" fmla="*/ 308678 h 643750"/>
                <a:gd name="connsiteX19" fmla="*/ 437010 w 437010"/>
                <a:gd name="connsiteY19" fmla="*/ 252304 h 643750"/>
                <a:gd name="connsiteX20" fmla="*/ 421777 w 437010"/>
                <a:gd name="connsiteY20" fmla="*/ 222339 h 643750"/>
                <a:gd name="connsiteX21" fmla="*/ 422879 w 437010"/>
                <a:gd name="connsiteY21" fmla="*/ 220985 h 643750"/>
                <a:gd name="connsiteX22" fmla="*/ 425836 w 437010"/>
                <a:gd name="connsiteY22" fmla="*/ 183654 h 643750"/>
                <a:gd name="connsiteX23" fmla="*/ 422127 w 437010"/>
                <a:gd name="connsiteY23" fmla="*/ 166315 h 643750"/>
                <a:gd name="connsiteX24" fmla="*/ 421726 w 437010"/>
                <a:gd name="connsiteY24" fmla="*/ 162156 h 643750"/>
                <a:gd name="connsiteX25" fmla="*/ 421576 w 437010"/>
                <a:gd name="connsiteY25" fmla="*/ 154740 h 643750"/>
                <a:gd name="connsiteX26" fmla="*/ 421075 w 437010"/>
                <a:gd name="connsiteY26" fmla="*/ 146021 h 643750"/>
                <a:gd name="connsiteX27" fmla="*/ 417718 w 437010"/>
                <a:gd name="connsiteY27" fmla="*/ 137552 h 643750"/>
                <a:gd name="connsiteX28" fmla="*/ 413509 w 437010"/>
                <a:gd name="connsiteY28" fmla="*/ 123622 h 643750"/>
                <a:gd name="connsiteX29" fmla="*/ 418219 w 437010"/>
                <a:gd name="connsiteY29" fmla="*/ 108839 h 643750"/>
                <a:gd name="connsiteX30" fmla="*/ 421476 w 437010"/>
                <a:gd name="connsiteY30" fmla="*/ 101473 h 643750"/>
                <a:gd name="connsiteX31" fmla="*/ 422679 w 437010"/>
                <a:gd name="connsiteY31" fmla="*/ 95760 h 643750"/>
                <a:gd name="connsiteX32" fmla="*/ 424633 w 437010"/>
                <a:gd name="connsiteY32" fmla="*/ 87693 h 643750"/>
                <a:gd name="connsiteX33" fmla="*/ 427539 w 437010"/>
                <a:gd name="connsiteY33" fmla="*/ 83433 h 643750"/>
                <a:gd name="connsiteX34" fmla="*/ 429393 w 437010"/>
                <a:gd name="connsiteY34" fmla="*/ 78021 h 643750"/>
                <a:gd name="connsiteX35" fmla="*/ 421326 w 437010"/>
                <a:gd name="connsiteY35" fmla="*/ 77470 h 643750"/>
                <a:gd name="connsiteX36" fmla="*/ 417668 w 437010"/>
                <a:gd name="connsiteY36" fmla="*/ 78823 h 643750"/>
                <a:gd name="connsiteX37" fmla="*/ 409199 w 437010"/>
                <a:gd name="connsiteY37" fmla="*/ 81880 h 643750"/>
                <a:gd name="connsiteX38" fmla="*/ 404539 w 437010"/>
                <a:gd name="connsiteY38" fmla="*/ 83684 h 643750"/>
                <a:gd name="connsiteX39" fmla="*/ 388403 w 437010"/>
                <a:gd name="connsiteY39" fmla="*/ 89747 h 643750"/>
                <a:gd name="connsiteX40" fmla="*/ 340047 w 437010"/>
                <a:gd name="connsiteY40" fmla="*/ 91852 h 643750"/>
                <a:gd name="connsiteX41" fmla="*/ 323711 w 437010"/>
                <a:gd name="connsiteY41" fmla="*/ 86991 h 643750"/>
                <a:gd name="connsiteX42" fmla="*/ 269793 w 437010"/>
                <a:gd name="connsiteY42" fmla="*/ 87192 h 643750"/>
                <a:gd name="connsiteX43" fmla="*/ 268440 w 437010"/>
                <a:gd name="connsiteY43" fmla="*/ 88043 h 643750"/>
                <a:gd name="connsiteX44" fmla="*/ 267037 w 437010"/>
                <a:gd name="connsiteY44" fmla="*/ 87242 h 643750"/>
                <a:gd name="connsiteX45" fmla="*/ 249548 w 437010"/>
                <a:gd name="connsiteY45" fmla="*/ 76668 h 643750"/>
                <a:gd name="connsiteX46" fmla="*/ 184054 w 437010"/>
                <a:gd name="connsiteY46" fmla="*/ 50110 h 643750"/>
                <a:gd name="connsiteX47" fmla="*/ 182200 w 437010"/>
                <a:gd name="connsiteY47" fmla="*/ 50010 h 643750"/>
                <a:gd name="connsiteX48" fmla="*/ 181599 w 437010"/>
                <a:gd name="connsiteY48" fmla="*/ 48256 h 643750"/>
                <a:gd name="connsiteX49" fmla="*/ 182351 w 437010"/>
                <a:gd name="connsiteY49" fmla="*/ 18140 h 643750"/>
                <a:gd name="connsiteX50" fmla="*/ 172880 w 437010"/>
                <a:gd name="connsiteY50" fmla="*/ 0 h 643750"/>
                <a:gd name="connsiteX51" fmla="*/ 164161 w 437010"/>
                <a:gd name="connsiteY51" fmla="*/ 5813 h 643750"/>
                <a:gd name="connsiteX52" fmla="*/ 139356 w 437010"/>
                <a:gd name="connsiteY52" fmla="*/ 21948 h 643750"/>
                <a:gd name="connsiteX53" fmla="*/ 127831 w 437010"/>
                <a:gd name="connsiteY53" fmla="*/ 42794 h 643750"/>
                <a:gd name="connsiteX54" fmla="*/ 127731 w 437010"/>
                <a:gd name="connsiteY54" fmla="*/ 70906 h 643750"/>
                <a:gd name="connsiteX55" fmla="*/ 127480 w 437010"/>
                <a:gd name="connsiteY55" fmla="*/ 82782 h 643750"/>
                <a:gd name="connsiteX56" fmla="*/ 127480 w 437010"/>
                <a:gd name="connsiteY56" fmla="*/ 84185 h 643750"/>
                <a:gd name="connsiteX57" fmla="*/ 126278 w 437010"/>
                <a:gd name="connsiteY57" fmla="*/ 84987 h 643750"/>
                <a:gd name="connsiteX58" fmla="*/ 120916 w 437010"/>
                <a:gd name="connsiteY58" fmla="*/ 88544 h 643750"/>
                <a:gd name="connsiteX59" fmla="*/ 110042 w 437010"/>
                <a:gd name="connsiteY59" fmla="*/ 96211 h 643750"/>
                <a:gd name="connsiteX60" fmla="*/ 107887 w 437010"/>
                <a:gd name="connsiteY60" fmla="*/ 100020 h 643750"/>
                <a:gd name="connsiteX61" fmla="*/ 107787 w 437010"/>
                <a:gd name="connsiteY61" fmla="*/ 100270 h 643750"/>
                <a:gd name="connsiteX62" fmla="*/ 135698 w 437010"/>
                <a:gd name="connsiteY62" fmla="*/ 104780 h 643750"/>
                <a:gd name="connsiteX63" fmla="*/ 138705 w 437010"/>
                <a:gd name="connsiteY63" fmla="*/ 128132 h 643750"/>
                <a:gd name="connsiteX64" fmla="*/ 145520 w 437010"/>
                <a:gd name="connsiteY64" fmla="*/ 183052 h 643750"/>
                <a:gd name="connsiteX65" fmla="*/ 144468 w 437010"/>
                <a:gd name="connsiteY65" fmla="*/ 193024 h 643750"/>
                <a:gd name="connsiteX66" fmla="*/ 143515 w 437010"/>
                <a:gd name="connsiteY66" fmla="*/ 197735 h 643750"/>
                <a:gd name="connsiteX67" fmla="*/ 143165 w 437010"/>
                <a:gd name="connsiteY67" fmla="*/ 200039 h 643750"/>
                <a:gd name="connsiteX68" fmla="*/ 101573 w 437010"/>
                <a:gd name="connsiteY68" fmla="*/ 200039 h 643750"/>
                <a:gd name="connsiteX69" fmla="*/ 101172 w 437010"/>
                <a:gd name="connsiteY69" fmla="*/ 201593 h 643750"/>
                <a:gd name="connsiteX70" fmla="*/ 97915 w 437010"/>
                <a:gd name="connsiteY70" fmla="*/ 213770 h 643750"/>
                <a:gd name="connsiteX71" fmla="*/ 97665 w 437010"/>
                <a:gd name="connsiteY71" fmla="*/ 214672 h 643750"/>
                <a:gd name="connsiteX72" fmla="*/ 96963 w 437010"/>
                <a:gd name="connsiteY72" fmla="*/ 215223 h 643750"/>
                <a:gd name="connsiteX73" fmla="*/ 91852 w 437010"/>
                <a:gd name="connsiteY73" fmla="*/ 218831 h 643750"/>
                <a:gd name="connsiteX74" fmla="*/ 83132 w 437010"/>
                <a:gd name="connsiteY74" fmla="*/ 226347 h 643750"/>
                <a:gd name="connsiteX75" fmla="*/ 79976 w 437010"/>
                <a:gd name="connsiteY75" fmla="*/ 237422 h 643750"/>
                <a:gd name="connsiteX76" fmla="*/ 79074 w 437010"/>
                <a:gd name="connsiteY76" fmla="*/ 242332 h 643750"/>
                <a:gd name="connsiteX77" fmla="*/ 78823 w 437010"/>
                <a:gd name="connsiteY77" fmla="*/ 243335 h 643750"/>
                <a:gd name="connsiteX78" fmla="*/ 77971 w 437010"/>
                <a:gd name="connsiteY78" fmla="*/ 243936 h 643750"/>
                <a:gd name="connsiteX79" fmla="*/ 72209 w 437010"/>
                <a:gd name="connsiteY79" fmla="*/ 247343 h 643750"/>
                <a:gd name="connsiteX80" fmla="*/ 65243 w 437010"/>
                <a:gd name="connsiteY80" fmla="*/ 252605 h 643750"/>
                <a:gd name="connsiteX81" fmla="*/ 46903 w 437010"/>
                <a:gd name="connsiteY81" fmla="*/ 272348 h 643750"/>
                <a:gd name="connsiteX82" fmla="*/ 42894 w 437010"/>
                <a:gd name="connsiteY82" fmla="*/ 274904 h 643750"/>
                <a:gd name="connsiteX83" fmla="*/ 41441 w 437010"/>
                <a:gd name="connsiteY83" fmla="*/ 276608 h 643750"/>
                <a:gd name="connsiteX84" fmla="*/ 40790 w 437010"/>
                <a:gd name="connsiteY84" fmla="*/ 277460 h 643750"/>
                <a:gd name="connsiteX85" fmla="*/ 42092 w 437010"/>
                <a:gd name="connsiteY85" fmla="*/ 291140 h 643750"/>
                <a:gd name="connsiteX86" fmla="*/ 30016 w 437010"/>
                <a:gd name="connsiteY86" fmla="*/ 304920 h 643750"/>
                <a:gd name="connsiteX87" fmla="*/ 32973 w 437010"/>
                <a:gd name="connsiteY87" fmla="*/ 319602 h 643750"/>
                <a:gd name="connsiteX88" fmla="*/ 8569 w 437010"/>
                <a:gd name="connsiteY88" fmla="*/ 333984 h 643750"/>
                <a:gd name="connsiteX89" fmla="*/ 14933 w 437010"/>
                <a:gd name="connsiteY89" fmla="*/ 353777 h 643750"/>
                <a:gd name="connsiteX90" fmla="*/ 16336 w 437010"/>
                <a:gd name="connsiteY90" fmla="*/ 355681 h 643750"/>
                <a:gd name="connsiteX91" fmla="*/ 22499 w 437010"/>
                <a:gd name="connsiteY91" fmla="*/ 386900 h 643750"/>
                <a:gd name="connsiteX92" fmla="*/ 17639 w 437010"/>
                <a:gd name="connsiteY92" fmla="*/ 412256 h 643750"/>
                <a:gd name="connsiteX93" fmla="*/ 24103 w 437010"/>
                <a:gd name="connsiteY93" fmla="*/ 436158 h 643750"/>
                <a:gd name="connsiteX94" fmla="*/ 25456 w 437010"/>
                <a:gd name="connsiteY94" fmla="*/ 438113 h 643750"/>
                <a:gd name="connsiteX95" fmla="*/ 0 w 437010"/>
                <a:gd name="connsiteY95" fmla="*/ 474693 h 643750"/>
                <a:gd name="connsiteX96" fmla="*/ 21096 w 437010"/>
                <a:gd name="connsiteY96" fmla="*/ 502604 h 643750"/>
                <a:gd name="connsiteX97" fmla="*/ 27009 w 437010"/>
                <a:gd name="connsiteY97" fmla="*/ 500450 h 643750"/>
                <a:gd name="connsiteX98" fmla="*/ 42443 w 437010"/>
                <a:gd name="connsiteY98" fmla="*/ 495038 h 643750"/>
                <a:gd name="connsiteX99" fmla="*/ 58879 w 437010"/>
                <a:gd name="connsiteY99" fmla="*/ 490277 h 643750"/>
                <a:gd name="connsiteX100" fmla="*/ 66747 w 437010"/>
                <a:gd name="connsiteY100" fmla="*/ 488073 h 643750"/>
                <a:gd name="connsiteX101" fmla="*/ 69553 w 437010"/>
                <a:gd name="connsiteY101" fmla="*/ 487271 h 643750"/>
                <a:gd name="connsiteX102" fmla="*/ 70154 w 437010"/>
                <a:gd name="connsiteY102" fmla="*/ 490127 h 643750"/>
                <a:gd name="connsiteX103" fmla="*/ 71758 w 437010"/>
                <a:gd name="connsiteY103" fmla="*/ 514781 h 643750"/>
                <a:gd name="connsiteX104" fmla="*/ 73963 w 437010"/>
                <a:gd name="connsiteY104" fmla="*/ 543594 h 643750"/>
                <a:gd name="connsiteX105" fmla="*/ 80727 w 437010"/>
                <a:gd name="connsiteY105" fmla="*/ 532420 h 643750"/>
                <a:gd name="connsiteX106" fmla="*/ 82682 w 437010"/>
                <a:gd name="connsiteY106" fmla="*/ 532971 h 643750"/>
                <a:gd name="connsiteX107" fmla="*/ 116606 w 437010"/>
                <a:gd name="connsiteY107" fmla="*/ 553266 h 643750"/>
                <a:gd name="connsiteX108" fmla="*/ 150180 w 437010"/>
                <a:gd name="connsiteY108" fmla="*/ 572357 h 643750"/>
                <a:gd name="connsiteX109" fmla="*/ 152335 w 437010"/>
                <a:gd name="connsiteY109" fmla="*/ 572859 h 643750"/>
                <a:gd name="connsiteX110" fmla="*/ 152936 w 437010"/>
                <a:gd name="connsiteY110" fmla="*/ 573861 h 643750"/>
                <a:gd name="connsiteX111" fmla="*/ 149929 w 437010"/>
                <a:gd name="connsiteY111" fmla="*/ 595909 h 643750"/>
                <a:gd name="connsiteX112" fmla="*/ 131439 w 437010"/>
                <a:gd name="connsiteY112" fmla="*/ 600419 h 643750"/>
                <a:gd name="connsiteX113" fmla="*/ 121868 w 437010"/>
                <a:gd name="connsiteY113" fmla="*/ 599617 h 643750"/>
                <a:gd name="connsiteX114" fmla="*/ 119763 w 437010"/>
                <a:gd name="connsiteY114" fmla="*/ 602925 h 643750"/>
                <a:gd name="connsiteX115" fmla="*/ 113399 w 437010"/>
                <a:gd name="connsiteY115" fmla="*/ 613698 h 643750"/>
                <a:gd name="connsiteX116" fmla="*/ 114552 w 437010"/>
                <a:gd name="connsiteY116" fmla="*/ 619612 h 643750"/>
                <a:gd name="connsiteX117" fmla="*/ 117809 w 437010"/>
                <a:gd name="connsiteY117" fmla="*/ 620463 h 643750"/>
                <a:gd name="connsiteX118" fmla="*/ 127680 w 437010"/>
                <a:gd name="connsiteY118" fmla="*/ 618208 h 643750"/>
                <a:gd name="connsiteX119" fmla="*/ 147023 w 437010"/>
                <a:gd name="connsiteY119" fmla="*/ 625525 h 643750"/>
                <a:gd name="connsiteX120" fmla="*/ 148777 w 437010"/>
                <a:gd name="connsiteY120" fmla="*/ 626577 h 643750"/>
                <a:gd name="connsiteX121" fmla="*/ 155993 w 437010"/>
                <a:gd name="connsiteY121" fmla="*/ 630836 h 643750"/>
                <a:gd name="connsiteX122" fmla="*/ 171176 w 437010"/>
                <a:gd name="connsiteY122" fmla="*/ 640056 h 643750"/>
                <a:gd name="connsiteX123" fmla="*/ 192724 w 437010"/>
                <a:gd name="connsiteY123" fmla="*/ 640558 h 643750"/>
                <a:gd name="connsiteX124" fmla="*/ 196582 w 437010"/>
                <a:gd name="connsiteY124" fmla="*/ 638603 h 643750"/>
                <a:gd name="connsiteX125" fmla="*/ 199137 w 437010"/>
                <a:gd name="connsiteY125" fmla="*/ 637350 h 643750"/>
                <a:gd name="connsiteX126" fmla="*/ 240929 w 437010"/>
                <a:gd name="connsiteY126" fmla="*/ 625525 h 643750"/>
                <a:gd name="connsiteX127" fmla="*/ 251603 w 437010"/>
                <a:gd name="connsiteY127" fmla="*/ 622067 h 643750"/>
                <a:gd name="connsiteX128" fmla="*/ 281569 w 437010"/>
                <a:gd name="connsiteY128" fmla="*/ 605029 h 643750"/>
                <a:gd name="connsiteX129" fmla="*/ 288434 w 437010"/>
                <a:gd name="connsiteY129" fmla="*/ 592251 h 643750"/>
                <a:gd name="connsiteX130" fmla="*/ 306273 w 437010"/>
                <a:gd name="connsiteY130" fmla="*/ 558177 h 643750"/>
                <a:gd name="connsiteX131" fmla="*/ 307676 w 437010"/>
                <a:gd name="connsiteY131" fmla="*/ 546651 h 643750"/>
                <a:gd name="connsiteX132" fmla="*/ 296652 w 437010"/>
                <a:gd name="connsiteY132" fmla="*/ 515884 h 64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437010" h="643750">
                  <a:moveTo>
                    <a:pt x="296602" y="515934"/>
                  </a:moveTo>
                  <a:cubicBezTo>
                    <a:pt x="293796" y="509219"/>
                    <a:pt x="291140" y="502003"/>
                    <a:pt x="292693" y="493885"/>
                  </a:cubicBezTo>
                  <a:cubicBezTo>
                    <a:pt x="293344" y="490528"/>
                    <a:pt x="293896" y="487220"/>
                    <a:pt x="294397" y="483863"/>
                  </a:cubicBezTo>
                  <a:cubicBezTo>
                    <a:pt x="297053" y="467477"/>
                    <a:pt x="299809" y="450540"/>
                    <a:pt x="312938" y="437912"/>
                  </a:cubicBezTo>
                  <a:cubicBezTo>
                    <a:pt x="312687" y="436509"/>
                    <a:pt x="312386" y="435106"/>
                    <a:pt x="312086" y="433753"/>
                  </a:cubicBezTo>
                  <a:cubicBezTo>
                    <a:pt x="310232" y="424833"/>
                    <a:pt x="308277" y="415563"/>
                    <a:pt x="313539" y="405741"/>
                  </a:cubicBezTo>
                  <a:lnTo>
                    <a:pt x="314090" y="404689"/>
                  </a:lnTo>
                  <a:lnTo>
                    <a:pt x="315192" y="404389"/>
                  </a:lnTo>
                  <a:cubicBezTo>
                    <a:pt x="316846" y="403937"/>
                    <a:pt x="318650" y="403537"/>
                    <a:pt x="320454" y="403186"/>
                  </a:cubicBezTo>
                  <a:cubicBezTo>
                    <a:pt x="324413" y="402334"/>
                    <a:pt x="328472" y="401482"/>
                    <a:pt x="331829" y="399678"/>
                  </a:cubicBezTo>
                  <a:cubicBezTo>
                    <a:pt x="335287" y="397774"/>
                    <a:pt x="338344" y="395018"/>
                    <a:pt x="341550" y="392112"/>
                  </a:cubicBezTo>
                  <a:cubicBezTo>
                    <a:pt x="343605" y="390258"/>
                    <a:pt x="345710" y="388353"/>
                    <a:pt x="347965" y="386649"/>
                  </a:cubicBezTo>
                  <a:cubicBezTo>
                    <a:pt x="359490" y="377930"/>
                    <a:pt x="370313" y="373871"/>
                    <a:pt x="381989" y="373871"/>
                  </a:cubicBezTo>
                  <a:cubicBezTo>
                    <a:pt x="383292" y="373871"/>
                    <a:pt x="384545" y="373871"/>
                    <a:pt x="385848" y="373972"/>
                  </a:cubicBezTo>
                  <a:cubicBezTo>
                    <a:pt x="391210" y="374172"/>
                    <a:pt x="396321" y="374373"/>
                    <a:pt x="400831" y="370965"/>
                  </a:cubicBezTo>
                  <a:cubicBezTo>
                    <a:pt x="403487" y="365353"/>
                    <a:pt x="401031" y="359841"/>
                    <a:pt x="398075" y="354228"/>
                  </a:cubicBezTo>
                  <a:cubicBezTo>
                    <a:pt x="393615" y="345810"/>
                    <a:pt x="394467" y="336890"/>
                    <a:pt x="400430" y="329073"/>
                  </a:cubicBezTo>
                  <a:cubicBezTo>
                    <a:pt x="404439" y="323862"/>
                    <a:pt x="409099" y="319151"/>
                    <a:pt x="413609" y="314541"/>
                  </a:cubicBezTo>
                  <a:cubicBezTo>
                    <a:pt x="415513" y="312637"/>
                    <a:pt x="417417" y="310683"/>
                    <a:pt x="419321" y="308678"/>
                  </a:cubicBezTo>
                  <a:lnTo>
                    <a:pt x="437010" y="252304"/>
                  </a:lnTo>
                  <a:lnTo>
                    <a:pt x="421777" y="222339"/>
                  </a:lnTo>
                  <a:lnTo>
                    <a:pt x="422879" y="220985"/>
                  </a:lnTo>
                  <a:cubicBezTo>
                    <a:pt x="431999" y="209761"/>
                    <a:pt x="432901" y="198236"/>
                    <a:pt x="425836" y="183654"/>
                  </a:cubicBezTo>
                  <a:cubicBezTo>
                    <a:pt x="423280" y="178342"/>
                    <a:pt x="422679" y="172228"/>
                    <a:pt x="422127" y="166315"/>
                  </a:cubicBezTo>
                  <a:cubicBezTo>
                    <a:pt x="421977" y="164912"/>
                    <a:pt x="421877" y="163559"/>
                    <a:pt x="421726" y="162156"/>
                  </a:cubicBezTo>
                  <a:cubicBezTo>
                    <a:pt x="421426" y="159651"/>
                    <a:pt x="421526" y="157145"/>
                    <a:pt x="421576" y="154740"/>
                  </a:cubicBezTo>
                  <a:cubicBezTo>
                    <a:pt x="421676" y="151633"/>
                    <a:pt x="421726" y="148677"/>
                    <a:pt x="421075" y="146021"/>
                  </a:cubicBezTo>
                  <a:cubicBezTo>
                    <a:pt x="420374" y="143215"/>
                    <a:pt x="419071" y="140458"/>
                    <a:pt x="417718" y="137552"/>
                  </a:cubicBezTo>
                  <a:cubicBezTo>
                    <a:pt x="415663" y="133092"/>
                    <a:pt x="413509" y="128482"/>
                    <a:pt x="413509" y="123622"/>
                  </a:cubicBezTo>
                  <a:cubicBezTo>
                    <a:pt x="413509" y="118460"/>
                    <a:pt x="415914" y="113549"/>
                    <a:pt x="418219" y="108839"/>
                  </a:cubicBezTo>
                  <a:cubicBezTo>
                    <a:pt x="419422" y="106434"/>
                    <a:pt x="420624" y="103928"/>
                    <a:pt x="421476" y="101473"/>
                  </a:cubicBezTo>
                  <a:cubicBezTo>
                    <a:pt x="422077" y="99719"/>
                    <a:pt x="422378" y="97815"/>
                    <a:pt x="422679" y="95760"/>
                  </a:cubicBezTo>
                  <a:cubicBezTo>
                    <a:pt x="423080" y="93055"/>
                    <a:pt x="423481" y="90299"/>
                    <a:pt x="424633" y="87693"/>
                  </a:cubicBezTo>
                  <a:cubicBezTo>
                    <a:pt x="425335" y="86089"/>
                    <a:pt x="426437" y="84736"/>
                    <a:pt x="427539" y="83433"/>
                  </a:cubicBezTo>
                  <a:cubicBezTo>
                    <a:pt x="429945" y="80527"/>
                    <a:pt x="430396" y="79575"/>
                    <a:pt x="429393" y="78021"/>
                  </a:cubicBezTo>
                  <a:cubicBezTo>
                    <a:pt x="427690" y="75315"/>
                    <a:pt x="426136" y="75466"/>
                    <a:pt x="421326" y="77470"/>
                  </a:cubicBezTo>
                  <a:cubicBezTo>
                    <a:pt x="420073" y="77971"/>
                    <a:pt x="418820" y="78472"/>
                    <a:pt x="417668" y="78823"/>
                  </a:cubicBezTo>
                  <a:cubicBezTo>
                    <a:pt x="414811" y="79625"/>
                    <a:pt x="412105" y="80727"/>
                    <a:pt x="409199" y="81880"/>
                  </a:cubicBezTo>
                  <a:cubicBezTo>
                    <a:pt x="407646" y="82481"/>
                    <a:pt x="406142" y="83132"/>
                    <a:pt x="404539" y="83684"/>
                  </a:cubicBezTo>
                  <a:cubicBezTo>
                    <a:pt x="398125" y="86039"/>
                    <a:pt x="392863" y="88043"/>
                    <a:pt x="388403" y="89747"/>
                  </a:cubicBezTo>
                  <a:cubicBezTo>
                    <a:pt x="364100" y="99068"/>
                    <a:pt x="363649" y="99068"/>
                    <a:pt x="340047" y="91852"/>
                  </a:cubicBezTo>
                  <a:cubicBezTo>
                    <a:pt x="335587" y="90499"/>
                    <a:pt x="330276" y="88845"/>
                    <a:pt x="323711" y="86991"/>
                  </a:cubicBezTo>
                  <a:cubicBezTo>
                    <a:pt x="304920" y="81579"/>
                    <a:pt x="287131" y="76418"/>
                    <a:pt x="269793" y="87192"/>
                  </a:cubicBezTo>
                  <a:lnTo>
                    <a:pt x="268440" y="88043"/>
                  </a:lnTo>
                  <a:lnTo>
                    <a:pt x="267037" y="87242"/>
                  </a:lnTo>
                  <a:cubicBezTo>
                    <a:pt x="261074" y="83834"/>
                    <a:pt x="255211" y="80176"/>
                    <a:pt x="249548" y="76668"/>
                  </a:cubicBezTo>
                  <a:cubicBezTo>
                    <a:pt x="228602" y="63640"/>
                    <a:pt x="208809" y="51313"/>
                    <a:pt x="184054" y="50110"/>
                  </a:cubicBezTo>
                  <a:lnTo>
                    <a:pt x="182200" y="50010"/>
                  </a:lnTo>
                  <a:lnTo>
                    <a:pt x="181599" y="48256"/>
                  </a:lnTo>
                  <a:cubicBezTo>
                    <a:pt x="178141" y="37883"/>
                    <a:pt x="178392" y="28613"/>
                    <a:pt x="182351" y="18140"/>
                  </a:cubicBezTo>
                  <a:cubicBezTo>
                    <a:pt x="185508" y="9822"/>
                    <a:pt x="185207" y="7867"/>
                    <a:pt x="172880" y="0"/>
                  </a:cubicBezTo>
                  <a:cubicBezTo>
                    <a:pt x="169973" y="1904"/>
                    <a:pt x="167067" y="3859"/>
                    <a:pt x="164161" y="5813"/>
                  </a:cubicBezTo>
                  <a:cubicBezTo>
                    <a:pt x="156143" y="11174"/>
                    <a:pt x="147825" y="16737"/>
                    <a:pt x="139356" y="21948"/>
                  </a:cubicBezTo>
                  <a:cubicBezTo>
                    <a:pt x="130888" y="27160"/>
                    <a:pt x="127430" y="33373"/>
                    <a:pt x="127831" y="42794"/>
                  </a:cubicBezTo>
                  <a:cubicBezTo>
                    <a:pt x="128232" y="52164"/>
                    <a:pt x="127981" y="61686"/>
                    <a:pt x="127731" y="70906"/>
                  </a:cubicBezTo>
                  <a:cubicBezTo>
                    <a:pt x="127630" y="74865"/>
                    <a:pt x="127530" y="78823"/>
                    <a:pt x="127480" y="82782"/>
                  </a:cubicBezTo>
                  <a:lnTo>
                    <a:pt x="127480" y="84185"/>
                  </a:lnTo>
                  <a:cubicBezTo>
                    <a:pt x="127480" y="84185"/>
                    <a:pt x="126278" y="84987"/>
                    <a:pt x="126278" y="84987"/>
                  </a:cubicBezTo>
                  <a:cubicBezTo>
                    <a:pt x="124423" y="86240"/>
                    <a:pt x="122619" y="87392"/>
                    <a:pt x="120916" y="88544"/>
                  </a:cubicBezTo>
                  <a:cubicBezTo>
                    <a:pt x="116857" y="91200"/>
                    <a:pt x="113299" y="93555"/>
                    <a:pt x="110042" y="96211"/>
                  </a:cubicBezTo>
                  <a:cubicBezTo>
                    <a:pt x="109240" y="96863"/>
                    <a:pt x="108639" y="98316"/>
                    <a:pt x="107887" y="100020"/>
                  </a:cubicBezTo>
                  <a:cubicBezTo>
                    <a:pt x="107887" y="100120"/>
                    <a:pt x="107837" y="100170"/>
                    <a:pt x="107787" y="100270"/>
                  </a:cubicBezTo>
                  <a:lnTo>
                    <a:pt x="135698" y="104780"/>
                  </a:lnTo>
                  <a:lnTo>
                    <a:pt x="138705" y="128132"/>
                  </a:lnTo>
                  <a:cubicBezTo>
                    <a:pt x="141160" y="147023"/>
                    <a:pt x="143465" y="164862"/>
                    <a:pt x="145520" y="183052"/>
                  </a:cubicBezTo>
                  <a:cubicBezTo>
                    <a:pt x="145921" y="186359"/>
                    <a:pt x="145219" y="189616"/>
                    <a:pt x="144468" y="193024"/>
                  </a:cubicBezTo>
                  <a:cubicBezTo>
                    <a:pt x="144117" y="194527"/>
                    <a:pt x="143766" y="196131"/>
                    <a:pt x="143515" y="197735"/>
                  </a:cubicBezTo>
                  <a:lnTo>
                    <a:pt x="143165" y="200039"/>
                  </a:lnTo>
                  <a:lnTo>
                    <a:pt x="101573" y="200039"/>
                  </a:lnTo>
                  <a:lnTo>
                    <a:pt x="101172" y="201593"/>
                  </a:lnTo>
                  <a:cubicBezTo>
                    <a:pt x="99970" y="206053"/>
                    <a:pt x="98917" y="210061"/>
                    <a:pt x="97915" y="213770"/>
                  </a:cubicBezTo>
                  <a:lnTo>
                    <a:pt x="97665" y="214672"/>
                  </a:lnTo>
                  <a:lnTo>
                    <a:pt x="96963" y="215223"/>
                  </a:lnTo>
                  <a:cubicBezTo>
                    <a:pt x="95310" y="216476"/>
                    <a:pt x="93606" y="217678"/>
                    <a:pt x="91852" y="218831"/>
                  </a:cubicBezTo>
                  <a:cubicBezTo>
                    <a:pt x="88294" y="221236"/>
                    <a:pt x="84937" y="223441"/>
                    <a:pt x="83132" y="226347"/>
                  </a:cubicBezTo>
                  <a:cubicBezTo>
                    <a:pt x="81178" y="229404"/>
                    <a:pt x="80577" y="233513"/>
                    <a:pt x="79976" y="237422"/>
                  </a:cubicBezTo>
                  <a:cubicBezTo>
                    <a:pt x="79725" y="239175"/>
                    <a:pt x="79424" y="240829"/>
                    <a:pt x="79074" y="242332"/>
                  </a:cubicBezTo>
                  <a:lnTo>
                    <a:pt x="78823" y="243335"/>
                  </a:lnTo>
                  <a:lnTo>
                    <a:pt x="77971" y="243936"/>
                  </a:lnTo>
                  <a:cubicBezTo>
                    <a:pt x="76117" y="245239"/>
                    <a:pt x="74113" y="246291"/>
                    <a:pt x="72209" y="247343"/>
                  </a:cubicBezTo>
                  <a:cubicBezTo>
                    <a:pt x="69052" y="249097"/>
                    <a:pt x="65795" y="250851"/>
                    <a:pt x="65243" y="252605"/>
                  </a:cubicBezTo>
                  <a:cubicBezTo>
                    <a:pt x="61886" y="262978"/>
                    <a:pt x="54269" y="267738"/>
                    <a:pt x="46903" y="272348"/>
                  </a:cubicBezTo>
                  <a:cubicBezTo>
                    <a:pt x="45550" y="273200"/>
                    <a:pt x="44197" y="274052"/>
                    <a:pt x="42894" y="274904"/>
                  </a:cubicBezTo>
                  <a:cubicBezTo>
                    <a:pt x="42493" y="275154"/>
                    <a:pt x="41992" y="275856"/>
                    <a:pt x="41441" y="276608"/>
                  </a:cubicBezTo>
                  <a:cubicBezTo>
                    <a:pt x="41241" y="276909"/>
                    <a:pt x="41040" y="277159"/>
                    <a:pt x="40790" y="277460"/>
                  </a:cubicBezTo>
                  <a:lnTo>
                    <a:pt x="42092" y="291140"/>
                  </a:lnTo>
                  <a:lnTo>
                    <a:pt x="30016" y="304920"/>
                  </a:lnTo>
                  <a:lnTo>
                    <a:pt x="32973" y="319602"/>
                  </a:lnTo>
                  <a:lnTo>
                    <a:pt x="8569" y="333984"/>
                  </a:lnTo>
                  <a:cubicBezTo>
                    <a:pt x="6364" y="342553"/>
                    <a:pt x="10523" y="348015"/>
                    <a:pt x="14933" y="353777"/>
                  </a:cubicBezTo>
                  <a:lnTo>
                    <a:pt x="16336" y="355681"/>
                  </a:lnTo>
                  <a:cubicBezTo>
                    <a:pt x="23201" y="364852"/>
                    <a:pt x="25155" y="374773"/>
                    <a:pt x="22499" y="386900"/>
                  </a:cubicBezTo>
                  <a:cubicBezTo>
                    <a:pt x="20295" y="397123"/>
                    <a:pt x="18791" y="404940"/>
                    <a:pt x="17639" y="412256"/>
                  </a:cubicBezTo>
                  <a:cubicBezTo>
                    <a:pt x="16401" y="420108"/>
                    <a:pt x="18556" y="428076"/>
                    <a:pt x="24103" y="436158"/>
                  </a:cubicBezTo>
                  <a:lnTo>
                    <a:pt x="25456" y="438113"/>
                  </a:lnTo>
                  <a:lnTo>
                    <a:pt x="0" y="474693"/>
                  </a:lnTo>
                  <a:cubicBezTo>
                    <a:pt x="3157" y="488874"/>
                    <a:pt x="12277" y="496792"/>
                    <a:pt x="21096" y="502604"/>
                  </a:cubicBezTo>
                  <a:cubicBezTo>
                    <a:pt x="23101" y="501903"/>
                    <a:pt x="25055" y="501151"/>
                    <a:pt x="27009" y="500450"/>
                  </a:cubicBezTo>
                  <a:cubicBezTo>
                    <a:pt x="32321" y="498495"/>
                    <a:pt x="37282" y="496691"/>
                    <a:pt x="42443" y="495038"/>
                  </a:cubicBezTo>
                  <a:cubicBezTo>
                    <a:pt x="47805" y="493334"/>
                    <a:pt x="53217" y="491831"/>
                    <a:pt x="58879" y="490277"/>
                  </a:cubicBezTo>
                  <a:cubicBezTo>
                    <a:pt x="61435" y="489576"/>
                    <a:pt x="64041" y="488824"/>
                    <a:pt x="66747" y="488073"/>
                  </a:cubicBezTo>
                  <a:lnTo>
                    <a:pt x="69553" y="487271"/>
                  </a:lnTo>
                  <a:lnTo>
                    <a:pt x="70154" y="490127"/>
                  </a:lnTo>
                  <a:cubicBezTo>
                    <a:pt x="71808" y="498345"/>
                    <a:pt x="71808" y="506312"/>
                    <a:pt x="71758" y="514781"/>
                  </a:cubicBezTo>
                  <a:cubicBezTo>
                    <a:pt x="71758" y="523951"/>
                    <a:pt x="71708" y="533372"/>
                    <a:pt x="73963" y="543594"/>
                  </a:cubicBezTo>
                  <a:lnTo>
                    <a:pt x="80727" y="532420"/>
                  </a:lnTo>
                  <a:lnTo>
                    <a:pt x="82682" y="532971"/>
                  </a:lnTo>
                  <a:cubicBezTo>
                    <a:pt x="95410" y="536529"/>
                    <a:pt x="106183" y="542993"/>
                    <a:pt x="116606" y="553266"/>
                  </a:cubicBezTo>
                  <a:cubicBezTo>
                    <a:pt x="126528" y="563052"/>
                    <a:pt x="137717" y="569416"/>
                    <a:pt x="150180" y="572357"/>
                  </a:cubicBezTo>
                  <a:lnTo>
                    <a:pt x="152335" y="572859"/>
                  </a:lnTo>
                  <a:lnTo>
                    <a:pt x="152936" y="573861"/>
                  </a:lnTo>
                  <a:cubicBezTo>
                    <a:pt x="158147" y="582981"/>
                    <a:pt x="154339" y="590147"/>
                    <a:pt x="149929" y="595909"/>
                  </a:cubicBezTo>
                  <a:cubicBezTo>
                    <a:pt x="144117" y="603526"/>
                    <a:pt x="137101" y="601772"/>
                    <a:pt x="131439" y="600419"/>
                  </a:cubicBezTo>
                  <a:cubicBezTo>
                    <a:pt x="128081" y="599617"/>
                    <a:pt x="124874" y="598816"/>
                    <a:pt x="121868" y="599617"/>
                  </a:cubicBezTo>
                  <a:cubicBezTo>
                    <a:pt x="121166" y="600670"/>
                    <a:pt x="120465" y="601772"/>
                    <a:pt x="119763" y="602925"/>
                  </a:cubicBezTo>
                  <a:cubicBezTo>
                    <a:pt x="117508" y="606382"/>
                    <a:pt x="115203" y="609940"/>
                    <a:pt x="113399" y="613698"/>
                  </a:cubicBezTo>
                  <a:cubicBezTo>
                    <a:pt x="112397" y="615803"/>
                    <a:pt x="113199" y="618259"/>
                    <a:pt x="114552" y="619612"/>
                  </a:cubicBezTo>
                  <a:cubicBezTo>
                    <a:pt x="115153" y="620213"/>
                    <a:pt x="116356" y="621115"/>
                    <a:pt x="117809" y="620463"/>
                  </a:cubicBezTo>
                  <a:cubicBezTo>
                    <a:pt x="121367" y="618860"/>
                    <a:pt x="124624" y="618208"/>
                    <a:pt x="127680" y="618208"/>
                  </a:cubicBezTo>
                  <a:cubicBezTo>
                    <a:pt x="134997" y="618208"/>
                    <a:pt x="141060" y="621916"/>
                    <a:pt x="147023" y="625525"/>
                  </a:cubicBezTo>
                  <a:lnTo>
                    <a:pt x="148777" y="626577"/>
                  </a:lnTo>
                  <a:cubicBezTo>
                    <a:pt x="151182" y="628030"/>
                    <a:pt x="153587" y="629433"/>
                    <a:pt x="155993" y="630836"/>
                  </a:cubicBezTo>
                  <a:cubicBezTo>
                    <a:pt x="161004" y="633742"/>
                    <a:pt x="166215" y="636799"/>
                    <a:pt x="171176" y="640056"/>
                  </a:cubicBezTo>
                  <a:cubicBezTo>
                    <a:pt x="178442" y="644817"/>
                    <a:pt x="185307" y="644967"/>
                    <a:pt x="192724" y="640558"/>
                  </a:cubicBezTo>
                  <a:cubicBezTo>
                    <a:pt x="193976" y="639806"/>
                    <a:pt x="195279" y="639205"/>
                    <a:pt x="196582" y="638603"/>
                  </a:cubicBezTo>
                  <a:cubicBezTo>
                    <a:pt x="197434" y="638202"/>
                    <a:pt x="198336" y="637801"/>
                    <a:pt x="199137" y="637350"/>
                  </a:cubicBezTo>
                  <a:cubicBezTo>
                    <a:pt x="212166" y="630435"/>
                    <a:pt x="225145" y="624272"/>
                    <a:pt x="240929" y="625525"/>
                  </a:cubicBezTo>
                  <a:cubicBezTo>
                    <a:pt x="244688" y="625825"/>
                    <a:pt x="249598" y="624222"/>
                    <a:pt x="251603" y="622067"/>
                  </a:cubicBezTo>
                  <a:cubicBezTo>
                    <a:pt x="259119" y="613949"/>
                    <a:pt x="269191" y="608186"/>
                    <a:pt x="281569" y="605029"/>
                  </a:cubicBezTo>
                  <a:cubicBezTo>
                    <a:pt x="283924" y="600620"/>
                    <a:pt x="286179" y="596360"/>
                    <a:pt x="288434" y="592251"/>
                  </a:cubicBezTo>
                  <a:cubicBezTo>
                    <a:pt x="294748" y="580475"/>
                    <a:pt x="300761" y="569401"/>
                    <a:pt x="306273" y="558177"/>
                  </a:cubicBezTo>
                  <a:cubicBezTo>
                    <a:pt x="307977" y="554719"/>
                    <a:pt x="308578" y="549858"/>
                    <a:pt x="307676" y="546651"/>
                  </a:cubicBezTo>
                  <a:cubicBezTo>
                    <a:pt x="305070" y="537280"/>
                    <a:pt x="301563" y="527509"/>
                    <a:pt x="296652" y="51588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29" name="Полилиния: фигура 128">
              <a:extLst>
                <a:ext uri="{FF2B5EF4-FFF2-40B4-BE49-F238E27FC236}">
                  <a16:creationId xmlns:a16="http://schemas.microsoft.com/office/drawing/2014/main" id="{A860C8EB-F8EB-4642-BCFB-1083229C4F36}"/>
                </a:ext>
              </a:extLst>
            </p:cNvPr>
            <p:cNvSpPr/>
            <p:nvPr/>
          </p:nvSpPr>
          <p:spPr>
            <a:xfrm>
              <a:off x="2661174" y="3934966"/>
              <a:ext cx="578784" cy="711452"/>
            </a:xfrm>
            <a:custGeom>
              <a:avLst/>
              <a:gdLst>
                <a:gd name="connsiteX0" fmla="*/ 462075 w 464096"/>
                <a:gd name="connsiteY0" fmla="*/ 147596 h 570475"/>
                <a:gd name="connsiteX1" fmla="*/ 373080 w 464096"/>
                <a:gd name="connsiteY1" fmla="*/ 95983 h 570475"/>
                <a:gd name="connsiteX2" fmla="*/ 368319 w 464096"/>
                <a:gd name="connsiteY2" fmla="*/ 74085 h 570475"/>
                <a:gd name="connsiteX3" fmla="*/ 337402 w 464096"/>
                <a:gd name="connsiteY3" fmla="*/ 70426 h 570475"/>
                <a:gd name="connsiteX4" fmla="*/ 336900 w 464096"/>
                <a:gd name="connsiteY4" fmla="*/ 68773 h 570475"/>
                <a:gd name="connsiteX5" fmla="*/ 334746 w 464096"/>
                <a:gd name="connsiteY5" fmla="*/ 61607 h 570475"/>
                <a:gd name="connsiteX6" fmla="*/ 329584 w 464096"/>
                <a:gd name="connsiteY6" fmla="*/ 45923 h 570475"/>
                <a:gd name="connsiteX7" fmla="*/ 322719 w 464096"/>
                <a:gd name="connsiteY7" fmla="*/ 35399 h 570475"/>
                <a:gd name="connsiteX8" fmla="*/ 300771 w 464096"/>
                <a:gd name="connsiteY8" fmla="*/ 16257 h 570475"/>
                <a:gd name="connsiteX9" fmla="*/ 291851 w 464096"/>
                <a:gd name="connsiteY9" fmla="*/ 8641 h 570475"/>
                <a:gd name="connsiteX10" fmla="*/ 281829 w 464096"/>
                <a:gd name="connsiteY10" fmla="*/ 6737 h 570475"/>
                <a:gd name="connsiteX11" fmla="*/ 257877 w 464096"/>
                <a:gd name="connsiteY11" fmla="*/ 1525 h 570475"/>
                <a:gd name="connsiteX12" fmla="*/ 234175 w 464096"/>
                <a:gd name="connsiteY12" fmla="*/ 2477 h 570475"/>
                <a:gd name="connsiteX13" fmla="*/ 217338 w 464096"/>
                <a:gd name="connsiteY13" fmla="*/ 8540 h 570475"/>
                <a:gd name="connsiteX14" fmla="*/ 183163 w 464096"/>
                <a:gd name="connsiteY14" fmla="*/ 21118 h 570475"/>
                <a:gd name="connsiteX15" fmla="*/ 162868 w 464096"/>
                <a:gd name="connsiteY15" fmla="*/ 22070 h 570475"/>
                <a:gd name="connsiteX16" fmla="*/ 140970 w 464096"/>
                <a:gd name="connsiteY16" fmla="*/ 23624 h 570475"/>
                <a:gd name="connsiteX17" fmla="*/ 91561 w 464096"/>
                <a:gd name="connsiteY17" fmla="*/ 41713 h 570475"/>
                <a:gd name="connsiteX18" fmla="*/ 81589 w 464096"/>
                <a:gd name="connsiteY18" fmla="*/ 44920 h 570475"/>
                <a:gd name="connsiteX19" fmla="*/ 78132 w 464096"/>
                <a:gd name="connsiteY19" fmla="*/ 46173 h 570475"/>
                <a:gd name="connsiteX20" fmla="*/ 77480 w 464096"/>
                <a:gd name="connsiteY20" fmla="*/ 51334 h 570475"/>
                <a:gd name="connsiteX21" fmla="*/ 76027 w 464096"/>
                <a:gd name="connsiteY21" fmla="*/ 64263 h 570475"/>
                <a:gd name="connsiteX22" fmla="*/ 39547 w 464096"/>
                <a:gd name="connsiteY22" fmla="*/ 112368 h 570475"/>
                <a:gd name="connsiteX23" fmla="*/ 33684 w 464096"/>
                <a:gd name="connsiteY23" fmla="*/ 124245 h 570475"/>
                <a:gd name="connsiteX24" fmla="*/ 18701 w 464096"/>
                <a:gd name="connsiteY24" fmla="*/ 153709 h 570475"/>
                <a:gd name="connsiteX25" fmla="*/ 361 w 464096"/>
                <a:gd name="connsiteY25" fmla="*/ 231581 h 570475"/>
                <a:gd name="connsiteX26" fmla="*/ 361 w 464096"/>
                <a:gd name="connsiteY26" fmla="*/ 232432 h 570475"/>
                <a:gd name="connsiteX27" fmla="*/ 11435 w 464096"/>
                <a:gd name="connsiteY27" fmla="*/ 261296 h 570475"/>
                <a:gd name="connsiteX28" fmla="*/ 17950 w 464096"/>
                <a:gd name="connsiteY28" fmla="*/ 270416 h 570475"/>
                <a:gd name="connsiteX29" fmla="*/ 35588 w 464096"/>
                <a:gd name="connsiteY29" fmla="*/ 287403 h 570475"/>
                <a:gd name="connsiteX30" fmla="*/ 37893 w 464096"/>
                <a:gd name="connsiteY30" fmla="*/ 288255 h 570475"/>
                <a:gd name="connsiteX31" fmla="*/ 37292 w 464096"/>
                <a:gd name="connsiteY31" fmla="*/ 290610 h 570475"/>
                <a:gd name="connsiteX32" fmla="*/ 35889 w 464096"/>
                <a:gd name="connsiteY32" fmla="*/ 296523 h 570475"/>
                <a:gd name="connsiteX33" fmla="*/ 32832 w 464096"/>
                <a:gd name="connsiteY33" fmla="*/ 307798 h 570475"/>
                <a:gd name="connsiteX34" fmla="*/ 34135 w 464096"/>
                <a:gd name="connsiteY34" fmla="*/ 346784 h 570475"/>
                <a:gd name="connsiteX35" fmla="*/ 37292 w 464096"/>
                <a:gd name="connsiteY35" fmla="*/ 358159 h 570475"/>
                <a:gd name="connsiteX36" fmla="*/ 38244 w 464096"/>
                <a:gd name="connsiteY36" fmla="*/ 363120 h 570475"/>
                <a:gd name="connsiteX37" fmla="*/ 38645 w 464096"/>
                <a:gd name="connsiteY37" fmla="*/ 364873 h 570475"/>
                <a:gd name="connsiteX38" fmla="*/ 25216 w 464096"/>
                <a:gd name="connsiteY38" fmla="*/ 374445 h 570475"/>
                <a:gd name="connsiteX39" fmla="*/ 39046 w 464096"/>
                <a:gd name="connsiteY39" fmla="*/ 411877 h 570475"/>
                <a:gd name="connsiteX40" fmla="*/ 41101 w 464096"/>
                <a:gd name="connsiteY40" fmla="*/ 410223 h 570475"/>
                <a:gd name="connsiteX41" fmla="*/ 51824 w 464096"/>
                <a:gd name="connsiteY41" fmla="*/ 402256 h 570475"/>
                <a:gd name="connsiteX42" fmla="*/ 64302 w 464096"/>
                <a:gd name="connsiteY42" fmla="*/ 398547 h 570475"/>
                <a:gd name="connsiteX43" fmla="*/ 92163 w 464096"/>
                <a:gd name="connsiteY43" fmla="*/ 409321 h 570475"/>
                <a:gd name="connsiteX44" fmla="*/ 93666 w 464096"/>
                <a:gd name="connsiteY44" fmla="*/ 410524 h 570475"/>
                <a:gd name="connsiteX45" fmla="*/ 93065 w 464096"/>
                <a:gd name="connsiteY45" fmla="*/ 412328 h 570475"/>
                <a:gd name="connsiteX46" fmla="*/ 70716 w 464096"/>
                <a:gd name="connsiteY46" fmla="*/ 447705 h 570475"/>
                <a:gd name="connsiteX47" fmla="*/ 62097 w 464096"/>
                <a:gd name="connsiteY47" fmla="*/ 458579 h 570475"/>
                <a:gd name="connsiteX48" fmla="*/ 75626 w 464096"/>
                <a:gd name="connsiteY48" fmla="*/ 477671 h 570475"/>
                <a:gd name="connsiteX49" fmla="*/ 61846 w 464096"/>
                <a:gd name="connsiteY49" fmla="*/ 515254 h 570475"/>
                <a:gd name="connsiteX50" fmla="*/ 63901 w 464096"/>
                <a:gd name="connsiteY50" fmla="*/ 518711 h 570475"/>
                <a:gd name="connsiteX51" fmla="*/ 67959 w 464096"/>
                <a:gd name="connsiteY51" fmla="*/ 526328 h 570475"/>
                <a:gd name="connsiteX52" fmla="*/ 100030 w 464096"/>
                <a:gd name="connsiteY52" fmla="*/ 545771 h 570475"/>
                <a:gd name="connsiteX53" fmla="*/ 105893 w 464096"/>
                <a:gd name="connsiteY53" fmla="*/ 545420 h 570475"/>
                <a:gd name="connsiteX54" fmla="*/ 141371 w 464096"/>
                <a:gd name="connsiteY54" fmla="*/ 559300 h 570475"/>
                <a:gd name="connsiteX55" fmla="*/ 177600 w 464096"/>
                <a:gd name="connsiteY55" fmla="*/ 570475 h 570475"/>
                <a:gd name="connsiteX56" fmla="*/ 177951 w 464096"/>
                <a:gd name="connsiteY56" fmla="*/ 570475 h 570475"/>
                <a:gd name="connsiteX57" fmla="*/ 195790 w 464096"/>
                <a:gd name="connsiteY57" fmla="*/ 539056 h 570475"/>
                <a:gd name="connsiteX58" fmla="*/ 196893 w 464096"/>
                <a:gd name="connsiteY58" fmla="*/ 538755 h 570475"/>
                <a:gd name="connsiteX59" fmla="*/ 199599 w 464096"/>
                <a:gd name="connsiteY59" fmla="*/ 537954 h 570475"/>
                <a:gd name="connsiteX60" fmla="*/ 206414 w 464096"/>
                <a:gd name="connsiteY60" fmla="*/ 536400 h 570475"/>
                <a:gd name="connsiteX61" fmla="*/ 219492 w 464096"/>
                <a:gd name="connsiteY61" fmla="*/ 525727 h 570475"/>
                <a:gd name="connsiteX62" fmla="*/ 219993 w 464096"/>
                <a:gd name="connsiteY62" fmla="*/ 524474 h 570475"/>
                <a:gd name="connsiteX63" fmla="*/ 221597 w 464096"/>
                <a:gd name="connsiteY63" fmla="*/ 519513 h 570475"/>
                <a:gd name="connsiteX64" fmla="*/ 228111 w 464096"/>
                <a:gd name="connsiteY64" fmla="*/ 505182 h 570475"/>
                <a:gd name="connsiteX65" fmla="*/ 233674 w 464096"/>
                <a:gd name="connsiteY65" fmla="*/ 494157 h 570475"/>
                <a:gd name="connsiteX66" fmla="*/ 245399 w 464096"/>
                <a:gd name="connsiteY66" fmla="*/ 478774 h 570475"/>
                <a:gd name="connsiteX67" fmla="*/ 252214 w 464096"/>
                <a:gd name="connsiteY67" fmla="*/ 471908 h 570475"/>
                <a:gd name="connsiteX68" fmla="*/ 267598 w 464096"/>
                <a:gd name="connsiteY68" fmla="*/ 451514 h 570475"/>
                <a:gd name="connsiteX69" fmla="*/ 284886 w 464096"/>
                <a:gd name="connsiteY69" fmla="*/ 423101 h 570475"/>
                <a:gd name="connsiteX70" fmla="*/ 292052 w 464096"/>
                <a:gd name="connsiteY70" fmla="*/ 411125 h 570475"/>
                <a:gd name="connsiteX71" fmla="*/ 298967 w 464096"/>
                <a:gd name="connsiteY71" fmla="*/ 399700 h 570475"/>
                <a:gd name="connsiteX72" fmla="*/ 311545 w 464096"/>
                <a:gd name="connsiteY72" fmla="*/ 378754 h 570475"/>
                <a:gd name="connsiteX73" fmla="*/ 328582 w 464096"/>
                <a:gd name="connsiteY73" fmla="*/ 367629 h 570475"/>
                <a:gd name="connsiteX74" fmla="*/ 350781 w 464096"/>
                <a:gd name="connsiteY74" fmla="*/ 362067 h 570475"/>
                <a:gd name="connsiteX75" fmla="*/ 375635 w 464096"/>
                <a:gd name="connsiteY75" fmla="*/ 361767 h 570475"/>
                <a:gd name="connsiteX76" fmla="*/ 384555 w 464096"/>
                <a:gd name="connsiteY76" fmla="*/ 364573 h 570475"/>
                <a:gd name="connsiteX77" fmla="*/ 387311 w 464096"/>
                <a:gd name="connsiteY77" fmla="*/ 365375 h 570475"/>
                <a:gd name="connsiteX78" fmla="*/ 402244 w 464096"/>
                <a:gd name="connsiteY78" fmla="*/ 350141 h 570475"/>
                <a:gd name="connsiteX79" fmla="*/ 429053 w 464096"/>
                <a:gd name="connsiteY79" fmla="*/ 314513 h 570475"/>
                <a:gd name="connsiteX80" fmla="*/ 385457 w 464096"/>
                <a:gd name="connsiteY80" fmla="*/ 308650 h 570475"/>
                <a:gd name="connsiteX81" fmla="*/ 371426 w 464096"/>
                <a:gd name="connsiteY81" fmla="*/ 310805 h 570475"/>
                <a:gd name="connsiteX82" fmla="*/ 350380 w 464096"/>
                <a:gd name="connsiteY82" fmla="*/ 314012 h 570475"/>
                <a:gd name="connsiteX83" fmla="*/ 330486 w 464096"/>
                <a:gd name="connsiteY83" fmla="*/ 307898 h 570475"/>
                <a:gd name="connsiteX84" fmla="*/ 304479 w 464096"/>
                <a:gd name="connsiteY84" fmla="*/ 296423 h 570475"/>
                <a:gd name="connsiteX85" fmla="*/ 295860 w 464096"/>
                <a:gd name="connsiteY85" fmla="*/ 295270 h 570475"/>
                <a:gd name="connsiteX86" fmla="*/ 291952 w 464096"/>
                <a:gd name="connsiteY86" fmla="*/ 294469 h 570475"/>
                <a:gd name="connsiteX87" fmla="*/ 290298 w 464096"/>
                <a:gd name="connsiteY87" fmla="*/ 294168 h 570475"/>
                <a:gd name="connsiteX88" fmla="*/ 284185 w 464096"/>
                <a:gd name="connsiteY88" fmla="*/ 272671 h 570475"/>
                <a:gd name="connsiteX89" fmla="*/ 270404 w 464096"/>
                <a:gd name="connsiteY89" fmla="*/ 223914 h 570475"/>
                <a:gd name="connsiteX90" fmla="*/ 277470 w 464096"/>
                <a:gd name="connsiteY90" fmla="*/ 195802 h 570475"/>
                <a:gd name="connsiteX91" fmla="*/ 316506 w 464096"/>
                <a:gd name="connsiteY91" fmla="*/ 173403 h 570475"/>
                <a:gd name="connsiteX92" fmla="*/ 325926 w 464096"/>
                <a:gd name="connsiteY92" fmla="*/ 174204 h 570475"/>
                <a:gd name="connsiteX93" fmla="*/ 331188 w 464096"/>
                <a:gd name="connsiteY93" fmla="*/ 177111 h 570475"/>
                <a:gd name="connsiteX94" fmla="*/ 353788 w 464096"/>
                <a:gd name="connsiteY94" fmla="*/ 194700 h 570475"/>
                <a:gd name="connsiteX95" fmla="*/ 354188 w 464096"/>
                <a:gd name="connsiteY95" fmla="*/ 195301 h 570475"/>
                <a:gd name="connsiteX96" fmla="*/ 354188 w 464096"/>
                <a:gd name="connsiteY96" fmla="*/ 196052 h 570475"/>
                <a:gd name="connsiteX97" fmla="*/ 350731 w 464096"/>
                <a:gd name="connsiteY97" fmla="*/ 209382 h 570475"/>
                <a:gd name="connsiteX98" fmla="*/ 348326 w 464096"/>
                <a:gd name="connsiteY98" fmla="*/ 219654 h 570475"/>
                <a:gd name="connsiteX99" fmla="*/ 375235 w 464096"/>
                <a:gd name="connsiteY99" fmla="*/ 240199 h 570475"/>
                <a:gd name="connsiteX100" fmla="*/ 377490 w 464096"/>
                <a:gd name="connsiteY100" fmla="*/ 242204 h 570475"/>
                <a:gd name="connsiteX101" fmla="*/ 377890 w 464096"/>
                <a:gd name="connsiteY101" fmla="*/ 242505 h 570475"/>
                <a:gd name="connsiteX102" fmla="*/ 384956 w 464096"/>
                <a:gd name="connsiteY102" fmla="*/ 232983 h 570475"/>
                <a:gd name="connsiteX103" fmla="*/ 387912 w 464096"/>
                <a:gd name="connsiteY103" fmla="*/ 229025 h 570475"/>
                <a:gd name="connsiteX104" fmla="*/ 394226 w 464096"/>
                <a:gd name="connsiteY104" fmla="*/ 220556 h 570475"/>
                <a:gd name="connsiteX105" fmla="*/ 395379 w 464096"/>
                <a:gd name="connsiteY105" fmla="*/ 219003 h 570475"/>
                <a:gd name="connsiteX106" fmla="*/ 397233 w 464096"/>
                <a:gd name="connsiteY106" fmla="*/ 219654 h 570475"/>
                <a:gd name="connsiteX107" fmla="*/ 416375 w 464096"/>
                <a:gd name="connsiteY107" fmla="*/ 226169 h 570475"/>
                <a:gd name="connsiteX108" fmla="*/ 449999 w 464096"/>
                <a:gd name="connsiteY108" fmla="*/ 216798 h 570475"/>
                <a:gd name="connsiteX109" fmla="*/ 454709 w 464096"/>
                <a:gd name="connsiteY109" fmla="*/ 187133 h 570475"/>
                <a:gd name="connsiteX110" fmla="*/ 459019 w 464096"/>
                <a:gd name="connsiteY110" fmla="*/ 178564 h 570475"/>
                <a:gd name="connsiteX111" fmla="*/ 462075 w 464096"/>
                <a:gd name="connsiteY111" fmla="*/ 147696 h 570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464096" h="570475">
                  <a:moveTo>
                    <a:pt x="462075" y="147596"/>
                  </a:moveTo>
                  <a:lnTo>
                    <a:pt x="373080" y="95983"/>
                  </a:lnTo>
                  <a:lnTo>
                    <a:pt x="368319" y="74085"/>
                  </a:lnTo>
                  <a:lnTo>
                    <a:pt x="337402" y="70426"/>
                  </a:lnTo>
                  <a:lnTo>
                    <a:pt x="336900" y="68773"/>
                  </a:lnTo>
                  <a:cubicBezTo>
                    <a:pt x="336149" y="66317"/>
                    <a:pt x="335447" y="63962"/>
                    <a:pt x="334746" y="61607"/>
                  </a:cubicBezTo>
                  <a:cubicBezTo>
                    <a:pt x="333142" y="56095"/>
                    <a:pt x="331589" y="50884"/>
                    <a:pt x="329584" y="45923"/>
                  </a:cubicBezTo>
                  <a:cubicBezTo>
                    <a:pt x="327881" y="41663"/>
                    <a:pt x="325425" y="37905"/>
                    <a:pt x="322719" y="35399"/>
                  </a:cubicBezTo>
                  <a:cubicBezTo>
                    <a:pt x="315804" y="28985"/>
                    <a:pt x="308488" y="22772"/>
                    <a:pt x="300771" y="16257"/>
                  </a:cubicBezTo>
                  <a:cubicBezTo>
                    <a:pt x="297865" y="13802"/>
                    <a:pt x="294908" y="11296"/>
                    <a:pt x="291851" y="8641"/>
                  </a:cubicBezTo>
                  <a:cubicBezTo>
                    <a:pt x="288544" y="7989"/>
                    <a:pt x="285187" y="7338"/>
                    <a:pt x="281829" y="6737"/>
                  </a:cubicBezTo>
                  <a:cubicBezTo>
                    <a:pt x="273912" y="5283"/>
                    <a:pt x="265744" y="3780"/>
                    <a:pt x="257877" y="1525"/>
                  </a:cubicBezTo>
                  <a:cubicBezTo>
                    <a:pt x="249759" y="-780"/>
                    <a:pt x="242242" y="-479"/>
                    <a:pt x="234175" y="2477"/>
                  </a:cubicBezTo>
                  <a:cubicBezTo>
                    <a:pt x="228562" y="4532"/>
                    <a:pt x="222950" y="6536"/>
                    <a:pt x="217338" y="8540"/>
                  </a:cubicBezTo>
                  <a:cubicBezTo>
                    <a:pt x="206113" y="12549"/>
                    <a:pt x="194487" y="16708"/>
                    <a:pt x="183163" y="21118"/>
                  </a:cubicBezTo>
                  <a:cubicBezTo>
                    <a:pt x="176548" y="23674"/>
                    <a:pt x="170134" y="26179"/>
                    <a:pt x="162868" y="22070"/>
                  </a:cubicBezTo>
                  <a:cubicBezTo>
                    <a:pt x="156203" y="18212"/>
                    <a:pt x="149639" y="18713"/>
                    <a:pt x="140970" y="23624"/>
                  </a:cubicBezTo>
                  <a:cubicBezTo>
                    <a:pt x="126538" y="31842"/>
                    <a:pt x="110353" y="37805"/>
                    <a:pt x="91561" y="41713"/>
                  </a:cubicBezTo>
                  <a:cubicBezTo>
                    <a:pt x="88254" y="42415"/>
                    <a:pt x="85047" y="43617"/>
                    <a:pt x="81589" y="44920"/>
                  </a:cubicBezTo>
                  <a:cubicBezTo>
                    <a:pt x="80437" y="45371"/>
                    <a:pt x="79335" y="45772"/>
                    <a:pt x="78132" y="46173"/>
                  </a:cubicBezTo>
                  <a:cubicBezTo>
                    <a:pt x="77931" y="47977"/>
                    <a:pt x="77681" y="49681"/>
                    <a:pt x="77480" y="51334"/>
                  </a:cubicBezTo>
                  <a:cubicBezTo>
                    <a:pt x="76879" y="55844"/>
                    <a:pt x="76328" y="60104"/>
                    <a:pt x="76027" y="64263"/>
                  </a:cubicBezTo>
                  <a:cubicBezTo>
                    <a:pt x="74674" y="82002"/>
                    <a:pt x="69363" y="106155"/>
                    <a:pt x="39547" y="112368"/>
                  </a:cubicBezTo>
                  <a:cubicBezTo>
                    <a:pt x="37543" y="116327"/>
                    <a:pt x="35639" y="120286"/>
                    <a:pt x="33684" y="124245"/>
                  </a:cubicBezTo>
                  <a:cubicBezTo>
                    <a:pt x="28924" y="133966"/>
                    <a:pt x="23963" y="144038"/>
                    <a:pt x="18701" y="153709"/>
                  </a:cubicBezTo>
                  <a:cubicBezTo>
                    <a:pt x="4370" y="180117"/>
                    <a:pt x="-1593" y="205573"/>
                    <a:pt x="361" y="231581"/>
                  </a:cubicBezTo>
                  <a:lnTo>
                    <a:pt x="361" y="232432"/>
                  </a:lnTo>
                  <a:cubicBezTo>
                    <a:pt x="1313" y="244008"/>
                    <a:pt x="2015" y="254030"/>
                    <a:pt x="11435" y="261296"/>
                  </a:cubicBezTo>
                  <a:cubicBezTo>
                    <a:pt x="13590" y="262999"/>
                    <a:pt x="17248" y="266407"/>
                    <a:pt x="17950" y="270416"/>
                  </a:cubicBezTo>
                  <a:cubicBezTo>
                    <a:pt x="19353" y="278484"/>
                    <a:pt x="24464" y="283394"/>
                    <a:pt x="35588" y="287403"/>
                  </a:cubicBezTo>
                  <a:lnTo>
                    <a:pt x="37893" y="288255"/>
                  </a:lnTo>
                  <a:lnTo>
                    <a:pt x="37292" y="290610"/>
                  </a:lnTo>
                  <a:cubicBezTo>
                    <a:pt x="36791" y="292665"/>
                    <a:pt x="36340" y="294669"/>
                    <a:pt x="35889" y="296523"/>
                  </a:cubicBezTo>
                  <a:cubicBezTo>
                    <a:pt x="34987" y="300482"/>
                    <a:pt x="34185" y="304190"/>
                    <a:pt x="32832" y="307798"/>
                  </a:cubicBezTo>
                  <a:cubicBezTo>
                    <a:pt x="27471" y="322130"/>
                    <a:pt x="27922" y="334507"/>
                    <a:pt x="34135" y="346784"/>
                  </a:cubicBezTo>
                  <a:cubicBezTo>
                    <a:pt x="35939" y="350342"/>
                    <a:pt x="36641" y="354300"/>
                    <a:pt x="37292" y="358159"/>
                  </a:cubicBezTo>
                  <a:cubicBezTo>
                    <a:pt x="37593" y="359812"/>
                    <a:pt x="37843" y="361466"/>
                    <a:pt x="38244" y="363120"/>
                  </a:cubicBezTo>
                  <a:lnTo>
                    <a:pt x="38645" y="364873"/>
                  </a:lnTo>
                  <a:lnTo>
                    <a:pt x="25216" y="374445"/>
                  </a:lnTo>
                  <a:cubicBezTo>
                    <a:pt x="28874" y="395441"/>
                    <a:pt x="30778" y="400852"/>
                    <a:pt x="39046" y="411877"/>
                  </a:cubicBezTo>
                  <a:cubicBezTo>
                    <a:pt x="39747" y="411325"/>
                    <a:pt x="40399" y="410774"/>
                    <a:pt x="41101" y="410223"/>
                  </a:cubicBezTo>
                  <a:cubicBezTo>
                    <a:pt x="44508" y="407467"/>
                    <a:pt x="48016" y="404611"/>
                    <a:pt x="51824" y="402256"/>
                  </a:cubicBezTo>
                  <a:cubicBezTo>
                    <a:pt x="54430" y="400652"/>
                    <a:pt x="59541" y="397996"/>
                    <a:pt x="64302" y="398547"/>
                  </a:cubicBezTo>
                  <a:cubicBezTo>
                    <a:pt x="75626" y="399800"/>
                    <a:pt x="84496" y="403258"/>
                    <a:pt x="92163" y="409321"/>
                  </a:cubicBezTo>
                  <a:lnTo>
                    <a:pt x="93666" y="410524"/>
                  </a:lnTo>
                  <a:lnTo>
                    <a:pt x="93065" y="412328"/>
                  </a:lnTo>
                  <a:cubicBezTo>
                    <a:pt x="88204" y="426258"/>
                    <a:pt x="79335" y="437182"/>
                    <a:pt x="70716" y="447705"/>
                  </a:cubicBezTo>
                  <a:cubicBezTo>
                    <a:pt x="67809" y="451263"/>
                    <a:pt x="64853" y="454871"/>
                    <a:pt x="62097" y="458579"/>
                  </a:cubicBezTo>
                  <a:lnTo>
                    <a:pt x="75626" y="477671"/>
                  </a:lnTo>
                  <a:lnTo>
                    <a:pt x="61846" y="515254"/>
                  </a:lnTo>
                  <a:cubicBezTo>
                    <a:pt x="62548" y="516507"/>
                    <a:pt x="63249" y="517659"/>
                    <a:pt x="63901" y="518711"/>
                  </a:cubicBezTo>
                  <a:cubicBezTo>
                    <a:pt x="65554" y="521417"/>
                    <a:pt x="66957" y="523773"/>
                    <a:pt x="67959" y="526328"/>
                  </a:cubicBezTo>
                  <a:cubicBezTo>
                    <a:pt x="73923" y="541612"/>
                    <a:pt x="84145" y="547725"/>
                    <a:pt x="100030" y="545771"/>
                  </a:cubicBezTo>
                  <a:cubicBezTo>
                    <a:pt x="101984" y="545520"/>
                    <a:pt x="103938" y="545420"/>
                    <a:pt x="105893" y="545420"/>
                  </a:cubicBezTo>
                  <a:cubicBezTo>
                    <a:pt x="117819" y="545420"/>
                    <a:pt x="129495" y="549980"/>
                    <a:pt x="141371" y="559300"/>
                  </a:cubicBezTo>
                  <a:cubicBezTo>
                    <a:pt x="151092" y="566917"/>
                    <a:pt x="162668" y="570475"/>
                    <a:pt x="177600" y="570475"/>
                  </a:cubicBezTo>
                  <a:lnTo>
                    <a:pt x="177951" y="570475"/>
                  </a:lnTo>
                  <a:lnTo>
                    <a:pt x="195790" y="539056"/>
                  </a:lnTo>
                  <a:lnTo>
                    <a:pt x="196893" y="538755"/>
                  </a:lnTo>
                  <a:cubicBezTo>
                    <a:pt x="197795" y="538505"/>
                    <a:pt x="198697" y="538254"/>
                    <a:pt x="199599" y="537954"/>
                  </a:cubicBezTo>
                  <a:cubicBezTo>
                    <a:pt x="201753" y="537252"/>
                    <a:pt x="204008" y="536551"/>
                    <a:pt x="206414" y="536400"/>
                  </a:cubicBezTo>
                  <a:cubicBezTo>
                    <a:pt x="212828" y="536099"/>
                    <a:pt x="216736" y="532893"/>
                    <a:pt x="219492" y="525727"/>
                  </a:cubicBezTo>
                  <a:lnTo>
                    <a:pt x="219993" y="524474"/>
                  </a:lnTo>
                  <a:cubicBezTo>
                    <a:pt x="220695" y="522770"/>
                    <a:pt x="221296" y="521117"/>
                    <a:pt x="221597" y="519513"/>
                  </a:cubicBezTo>
                  <a:cubicBezTo>
                    <a:pt x="222549" y="513951"/>
                    <a:pt x="225355" y="509491"/>
                    <a:pt x="228111" y="505182"/>
                  </a:cubicBezTo>
                  <a:cubicBezTo>
                    <a:pt x="230416" y="501574"/>
                    <a:pt x="232521" y="498166"/>
                    <a:pt x="233674" y="494157"/>
                  </a:cubicBezTo>
                  <a:cubicBezTo>
                    <a:pt x="235427" y="488094"/>
                    <a:pt x="240488" y="483334"/>
                    <a:pt x="245399" y="478774"/>
                  </a:cubicBezTo>
                  <a:cubicBezTo>
                    <a:pt x="247805" y="476569"/>
                    <a:pt x="250260" y="474264"/>
                    <a:pt x="252214" y="471908"/>
                  </a:cubicBezTo>
                  <a:cubicBezTo>
                    <a:pt x="258328" y="464542"/>
                    <a:pt x="263289" y="458279"/>
                    <a:pt x="267598" y="451514"/>
                  </a:cubicBezTo>
                  <a:cubicBezTo>
                    <a:pt x="273561" y="442193"/>
                    <a:pt x="279324" y="432472"/>
                    <a:pt x="284886" y="423101"/>
                  </a:cubicBezTo>
                  <a:cubicBezTo>
                    <a:pt x="287241" y="419092"/>
                    <a:pt x="289646" y="415084"/>
                    <a:pt x="292052" y="411125"/>
                  </a:cubicBezTo>
                  <a:lnTo>
                    <a:pt x="298967" y="399700"/>
                  </a:lnTo>
                  <a:cubicBezTo>
                    <a:pt x="303176" y="392735"/>
                    <a:pt x="307436" y="385769"/>
                    <a:pt x="311545" y="378754"/>
                  </a:cubicBezTo>
                  <a:cubicBezTo>
                    <a:pt x="315353" y="372240"/>
                    <a:pt x="320765" y="368682"/>
                    <a:pt x="328582" y="367629"/>
                  </a:cubicBezTo>
                  <a:cubicBezTo>
                    <a:pt x="335547" y="366627"/>
                    <a:pt x="342813" y="364823"/>
                    <a:pt x="350781" y="362067"/>
                  </a:cubicBezTo>
                  <a:cubicBezTo>
                    <a:pt x="359500" y="359061"/>
                    <a:pt x="367668" y="358960"/>
                    <a:pt x="375635" y="361767"/>
                  </a:cubicBezTo>
                  <a:cubicBezTo>
                    <a:pt x="378542" y="362819"/>
                    <a:pt x="381498" y="363671"/>
                    <a:pt x="384555" y="364573"/>
                  </a:cubicBezTo>
                  <a:cubicBezTo>
                    <a:pt x="385457" y="364823"/>
                    <a:pt x="386359" y="365124"/>
                    <a:pt x="387311" y="365375"/>
                  </a:cubicBezTo>
                  <a:cubicBezTo>
                    <a:pt x="391971" y="359912"/>
                    <a:pt x="397183" y="354952"/>
                    <a:pt x="402244" y="350141"/>
                  </a:cubicBezTo>
                  <a:cubicBezTo>
                    <a:pt x="413368" y="339568"/>
                    <a:pt x="423942" y="329546"/>
                    <a:pt x="429053" y="314513"/>
                  </a:cubicBezTo>
                  <a:cubicBezTo>
                    <a:pt x="412617" y="308399"/>
                    <a:pt x="399087" y="306595"/>
                    <a:pt x="385457" y="308650"/>
                  </a:cubicBezTo>
                  <a:cubicBezTo>
                    <a:pt x="380797" y="309351"/>
                    <a:pt x="376137" y="310103"/>
                    <a:pt x="371426" y="310805"/>
                  </a:cubicBezTo>
                  <a:cubicBezTo>
                    <a:pt x="364411" y="311907"/>
                    <a:pt x="357395" y="313009"/>
                    <a:pt x="350380" y="314012"/>
                  </a:cubicBezTo>
                  <a:cubicBezTo>
                    <a:pt x="343615" y="315014"/>
                    <a:pt x="335297" y="315164"/>
                    <a:pt x="330486" y="307898"/>
                  </a:cubicBezTo>
                  <a:cubicBezTo>
                    <a:pt x="324774" y="299229"/>
                    <a:pt x="317007" y="295822"/>
                    <a:pt x="304479" y="296423"/>
                  </a:cubicBezTo>
                  <a:cubicBezTo>
                    <a:pt x="301573" y="296623"/>
                    <a:pt x="298767" y="295972"/>
                    <a:pt x="295860" y="295270"/>
                  </a:cubicBezTo>
                  <a:cubicBezTo>
                    <a:pt x="294607" y="294970"/>
                    <a:pt x="293305" y="294669"/>
                    <a:pt x="291952" y="294469"/>
                  </a:cubicBezTo>
                  <a:lnTo>
                    <a:pt x="290298" y="294168"/>
                  </a:lnTo>
                  <a:lnTo>
                    <a:pt x="284185" y="272671"/>
                  </a:lnTo>
                  <a:cubicBezTo>
                    <a:pt x="279524" y="256285"/>
                    <a:pt x="274864" y="240149"/>
                    <a:pt x="270404" y="223914"/>
                  </a:cubicBezTo>
                  <a:cubicBezTo>
                    <a:pt x="267147" y="212088"/>
                    <a:pt x="271908" y="203419"/>
                    <a:pt x="277470" y="195802"/>
                  </a:cubicBezTo>
                  <a:cubicBezTo>
                    <a:pt x="287843" y="181671"/>
                    <a:pt x="302425" y="177462"/>
                    <a:pt x="316506" y="173403"/>
                  </a:cubicBezTo>
                  <a:cubicBezTo>
                    <a:pt x="319863" y="172451"/>
                    <a:pt x="323521" y="172801"/>
                    <a:pt x="325926" y="174204"/>
                  </a:cubicBezTo>
                  <a:cubicBezTo>
                    <a:pt x="327630" y="175207"/>
                    <a:pt x="329434" y="176159"/>
                    <a:pt x="331188" y="177111"/>
                  </a:cubicBezTo>
                  <a:cubicBezTo>
                    <a:pt x="339707" y="181771"/>
                    <a:pt x="348476" y="186632"/>
                    <a:pt x="353788" y="194700"/>
                  </a:cubicBezTo>
                  <a:lnTo>
                    <a:pt x="354188" y="195301"/>
                  </a:lnTo>
                  <a:lnTo>
                    <a:pt x="354188" y="196052"/>
                  </a:lnTo>
                  <a:cubicBezTo>
                    <a:pt x="354439" y="201264"/>
                    <a:pt x="352485" y="205573"/>
                    <a:pt x="350731" y="209382"/>
                  </a:cubicBezTo>
                  <a:cubicBezTo>
                    <a:pt x="348977" y="213140"/>
                    <a:pt x="347574" y="216247"/>
                    <a:pt x="348326" y="219654"/>
                  </a:cubicBezTo>
                  <a:cubicBezTo>
                    <a:pt x="367317" y="221057"/>
                    <a:pt x="368269" y="222160"/>
                    <a:pt x="375235" y="240199"/>
                  </a:cubicBezTo>
                  <a:cubicBezTo>
                    <a:pt x="375485" y="240801"/>
                    <a:pt x="376638" y="241603"/>
                    <a:pt x="377490" y="242204"/>
                  </a:cubicBezTo>
                  <a:cubicBezTo>
                    <a:pt x="377640" y="242304"/>
                    <a:pt x="377740" y="242404"/>
                    <a:pt x="377890" y="242505"/>
                  </a:cubicBezTo>
                  <a:cubicBezTo>
                    <a:pt x="380446" y="239047"/>
                    <a:pt x="382701" y="235990"/>
                    <a:pt x="384956" y="232983"/>
                  </a:cubicBezTo>
                  <a:lnTo>
                    <a:pt x="387912" y="229025"/>
                  </a:lnTo>
                  <a:cubicBezTo>
                    <a:pt x="390067" y="226169"/>
                    <a:pt x="392172" y="223312"/>
                    <a:pt x="394226" y="220556"/>
                  </a:cubicBezTo>
                  <a:lnTo>
                    <a:pt x="395379" y="219003"/>
                  </a:lnTo>
                  <a:lnTo>
                    <a:pt x="397233" y="219654"/>
                  </a:lnTo>
                  <a:cubicBezTo>
                    <a:pt x="405451" y="222460"/>
                    <a:pt x="412416" y="224866"/>
                    <a:pt x="416375" y="226169"/>
                  </a:cubicBezTo>
                  <a:lnTo>
                    <a:pt x="449999" y="216798"/>
                  </a:lnTo>
                  <a:cubicBezTo>
                    <a:pt x="447493" y="202517"/>
                    <a:pt x="447894" y="201264"/>
                    <a:pt x="454709" y="187133"/>
                  </a:cubicBezTo>
                  <a:cubicBezTo>
                    <a:pt x="456062" y="184226"/>
                    <a:pt x="457465" y="181370"/>
                    <a:pt x="459019" y="178564"/>
                  </a:cubicBezTo>
                  <a:cubicBezTo>
                    <a:pt x="464581" y="168392"/>
                    <a:pt x="465533" y="158821"/>
                    <a:pt x="462075" y="14769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30" name="Полилиния: фигура 129">
              <a:extLst>
                <a:ext uri="{FF2B5EF4-FFF2-40B4-BE49-F238E27FC236}">
                  <a16:creationId xmlns:a16="http://schemas.microsoft.com/office/drawing/2014/main" id="{75840CB3-2FF4-4843-90A0-292D007380E0}"/>
                </a:ext>
              </a:extLst>
            </p:cNvPr>
            <p:cNvSpPr/>
            <p:nvPr/>
          </p:nvSpPr>
          <p:spPr>
            <a:xfrm>
              <a:off x="1263710" y="3826668"/>
              <a:ext cx="599749" cy="561214"/>
            </a:xfrm>
            <a:custGeom>
              <a:avLst/>
              <a:gdLst>
                <a:gd name="connsiteX0" fmla="*/ 457706 w 480906"/>
                <a:gd name="connsiteY0" fmla="*/ 282239 h 450007"/>
                <a:gd name="connsiteX1" fmla="*/ 453997 w 480906"/>
                <a:gd name="connsiteY1" fmla="*/ 273670 h 450007"/>
                <a:gd name="connsiteX2" fmla="*/ 417818 w 480906"/>
                <a:gd name="connsiteY2" fmla="*/ 258436 h 450007"/>
                <a:gd name="connsiteX3" fmla="*/ 417167 w 480906"/>
                <a:gd name="connsiteY3" fmla="*/ 257785 h 450007"/>
                <a:gd name="connsiteX4" fmla="*/ 416665 w 480906"/>
                <a:gd name="connsiteY4" fmla="*/ 254628 h 450007"/>
                <a:gd name="connsiteX5" fmla="*/ 415363 w 480906"/>
                <a:gd name="connsiteY5" fmla="*/ 246661 h 450007"/>
                <a:gd name="connsiteX6" fmla="*/ 411504 w 480906"/>
                <a:gd name="connsiteY6" fmla="*/ 237089 h 450007"/>
                <a:gd name="connsiteX7" fmla="*/ 399879 w 480906"/>
                <a:gd name="connsiteY7" fmla="*/ 240246 h 450007"/>
                <a:gd name="connsiteX8" fmla="*/ 394717 w 480906"/>
                <a:gd name="connsiteY8" fmla="*/ 241599 h 450007"/>
                <a:gd name="connsiteX9" fmla="*/ 392061 w 480906"/>
                <a:gd name="connsiteY9" fmla="*/ 242100 h 450007"/>
                <a:gd name="connsiteX10" fmla="*/ 390458 w 480906"/>
                <a:gd name="connsiteY10" fmla="*/ 242451 h 450007"/>
                <a:gd name="connsiteX11" fmla="*/ 389406 w 480906"/>
                <a:gd name="connsiteY11" fmla="*/ 241198 h 450007"/>
                <a:gd name="connsiteX12" fmla="*/ 376778 w 480906"/>
                <a:gd name="connsiteY12" fmla="*/ 228070 h 450007"/>
                <a:gd name="connsiteX13" fmla="*/ 360943 w 480906"/>
                <a:gd name="connsiteY13" fmla="*/ 210932 h 450007"/>
                <a:gd name="connsiteX14" fmla="*/ 359440 w 480906"/>
                <a:gd name="connsiteY14" fmla="*/ 208828 h 450007"/>
                <a:gd name="connsiteX15" fmla="*/ 361444 w 480906"/>
                <a:gd name="connsiteY15" fmla="*/ 207224 h 450007"/>
                <a:gd name="connsiteX16" fmla="*/ 395068 w 480906"/>
                <a:gd name="connsiteY16" fmla="*/ 169090 h 450007"/>
                <a:gd name="connsiteX17" fmla="*/ 394066 w 480906"/>
                <a:gd name="connsiteY17" fmla="*/ 165332 h 450007"/>
                <a:gd name="connsiteX18" fmla="*/ 390257 w 480906"/>
                <a:gd name="connsiteY18" fmla="*/ 153656 h 450007"/>
                <a:gd name="connsiteX19" fmla="*/ 381839 w 480906"/>
                <a:gd name="connsiteY19" fmla="*/ 142882 h 450007"/>
                <a:gd name="connsiteX20" fmla="*/ 368059 w 480906"/>
                <a:gd name="connsiteY20" fmla="*/ 127699 h 450007"/>
                <a:gd name="connsiteX21" fmla="*/ 366154 w 480906"/>
                <a:gd name="connsiteY21" fmla="*/ 122989 h 450007"/>
                <a:gd name="connsiteX22" fmla="*/ 338895 w 480906"/>
                <a:gd name="connsiteY22" fmla="*/ 105100 h 450007"/>
                <a:gd name="connsiteX23" fmla="*/ 338243 w 480906"/>
                <a:gd name="connsiteY23" fmla="*/ 104248 h 450007"/>
                <a:gd name="connsiteX24" fmla="*/ 334986 w 480906"/>
                <a:gd name="connsiteY24" fmla="*/ 104047 h 450007"/>
                <a:gd name="connsiteX25" fmla="*/ 324663 w 480906"/>
                <a:gd name="connsiteY25" fmla="*/ 103045 h 450007"/>
                <a:gd name="connsiteX26" fmla="*/ 288935 w 480906"/>
                <a:gd name="connsiteY26" fmla="*/ 68519 h 450007"/>
                <a:gd name="connsiteX27" fmla="*/ 263228 w 480906"/>
                <a:gd name="connsiteY27" fmla="*/ 35547 h 450007"/>
                <a:gd name="connsiteX28" fmla="*/ 259119 w 480906"/>
                <a:gd name="connsiteY28" fmla="*/ 33843 h 450007"/>
                <a:gd name="connsiteX29" fmla="*/ 256463 w 480906"/>
                <a:gd name="connsiteY29" fmla="*/ 32791 h 450007"/>
                <a:gd name="connsiteX30" fmla="*/ 226598 w 480906"/>
                <a:gd name="connsiteY30" fmla="*/ 7936 h 450007"/>
                <a:gd name="connsiteX31" fmla="*/ 222138 w 480906"/>
                <a:gd name="connsiteY31" fmla="*/ 2624 h 450007"/>
                <a:gd name="connsiteX32" fmla="*/ 220585 w 480906"/>
                <a:gd name="connsiteY32" fmla="*/ 1021 h 450007"/>
                <a:gd name="connsiteX33" fmla="*/ 183704 w 480906"/>
                <a:gd name="connsiteY33" fmla="*/ 3476 h 450007"/>
                <a:gd name="connsiteX34" fmla="*/ 164912 w 480906"/>
                <a:gd name="connsiteY34" fmla="*/ 1873 h 450007"/>
                <a:gd name="connsiteX35" fmla="*/ 162908 w 480906"/>
                <a:gd name="connsiteY35" fmla="*/ 20163 h 450007"/>
                <a:gd name="connsiteX36" fmla="*/ 155893 w 480906"/>
                <a:gd name="connsiteY36" fmla="*/ 41961 h 450007"/>
                <a:gd name="connsiteX37" fmla="*/ 135648 w 480906"/>
                <a:gd name="connsiteY37" fmla="*/ 58247 h 450007"/>
                <a:gd name="connsiteX38" fmla="*/ 127881 w 480906"/>
                <a:gd name="connsiteY38" fmla="*/ 63759 h 450007"/>
                <a:gd name="connsiteX39" fmla="*/ 125977 w 480906"/>
                <a:gd name="connsiteY39" fmla="*/ 65062 h 450007"/>
                <a:gd name="connsiteX40" fmla="*/ 129835 w 480906"/>
                <a:gd name="connsiteY40" fmla="*/ 114570 h 450007"/>
                <a:gd name="connsiteX41" fmla="*/ 134195 w 480906"/>
                <a:gd name="connsiteY41" fmla="*/ 144636 h 450007"/>
                <a:gd name="connsiteX42" fmla="*/ 134295 w 480906"/>
                <a:gd name="connsiteY42" fmla="*/ 145839 h 450007"/>
                <a:gd name="connsiteX43" fmla="*/ 133443 w 480906"/>
                <a:gd name="connsiteY43" fmla="*/ 146691 h 450007"/>
                <a:gd name="connsiteX44" fmla="*/ 117157 w 480906"/>
                <a:gd name="connsiteY44" fmla="*/ 160521 h 450007"/>
                <a:gd name="connsiteX45" fmla="*/ 89948 w 480906"/>
                <a:gd name="connsiteY45" fmla="*/ 189485 h 450007"/>
                <a:gd name="connsiteX46" fmla="*/ 90449 w 480906"/>
                <a:gd name="connsiteY46" fmla="*/ 191038 h 450007"/>
                <a:gd name="connsiteX47" fmla="*/ 96662 w 480906"/>
                <a:gd name="connsiteY47" fmla="*/ 250770 h 450007"/>
                <a:gd name="connsiteX48" fmla="*/ 96362 w 480906"/>
                <a:gd name="connsiteY48" fmla="*/ 251822 h 450007"/>
                <a:gd name="connsiteX49" fmla="*/ 86991 w 480906"/>
                <a:gd name="connsiteY49" fmla="*/ 257234 h 450007"/>
                <a:gd name="connsiteX50" fmla="*/ 70755 w 480906"/>
                <a:gd name="connsiteY50" fmla="*/ 266554 h 450007"/>
                <a:gd name="connsiteX51" fmla="*/ 50411 w 480906"/>
                <a:gd name="connsiteY51" fmla="*/ 269160 h 450007"/>
                <a:gd name="connsiteX52" fmla="*/ 44999 w 480906"/>
                <a:gd name="connsiteY52" fmla="*/ 267657 h 450007"/>
                <a:gd name="connsiteX53" fmla="*/ 39036 w 480906"/>
                <a:gd name="connsiteY53" fmla="*/ 265953 h 450007"/>
                <a:gd name="connsiteX54" fmla="*/ 23752 w 480906"/>
                <a:gd name="connsiteY54" fmla="*/ 268158 h 450007"/>
                <a:gd name="connsiteX55" fmla="*/ 6464 w 480906"/>
                <a:gd name="connsiteY55" fmla="*/ 280786 h 450007"/>
                <a:gd name="connsiteX56" fmla="*/ 0 w 480906"/>
                <a:gd name="connsiteY56" fmla="*/ 285446 h 450007"/>
                <a:gd name="connsiteX57" fmla="*/ 3257 w 480906"/>
                <a:gd name="connsiteY57" fmla="*/ 292511 h 450007"/>
                <a:gd name="connsiteX58" fmla="*/ 12477 w 480906"/>
                <a:gd name="connsiteY58" fmla="*/ 311102 h 450007"/>
                <a:gd name="connsiteX59" fmla="*/ 17889 w 480906"/>
                <a:gd name="connsiteY59" fmla="*/ 349336 h 450007"/>
                <a:gd name="connsiteX60" fmla="*/ 16436 w 480906"/>
                <a:gd name="connsiteY60" fmla="*/ 355149 h 450007"/>
                <a:gd name="connsiteX61" fmla="*/ 14632 w 480906"/>
                <a:gd name="connsiteY61" fmla="*/ 377598 h 450007"/>
                <a:gd name="connsiteX62" fmla="*/ 17488 w 480906"/>
                <a:gd name="connsiteY62" fmla="*/ 379202 h 450007"/>
                <a:gd name="connsiteX63" fmla="*/ 25606 w 480906"/>
                <a:gd name="connsiteY63" fmla="*/ 386718 h 450007"/>
                <a:gd name="connsiteX64" fmla="*/ 40589 w 480906"/>
                <a:gd name="connsiteY64" fmla="*/ 407213 h 450007"/>
                <a:gd name="connsiteX65" fmla="*/ 48507 w 480906"/>
                <a:gd name="connsiteY65" fmla="*/ 414529 h 450007"/>
                <a:gd name="connsiteX66" fmla="*/ 56073 w 480906"/>
                <a:gd name="connsiteY66" fmla="*/ 411673 h 450007"/>
                <a:gd name="connsiteX67" fmla="*/ 75917 w 480906"/>
                <a:gd name="connsiteY67" fmla="*/ 403756 h 450007"/>
                <a:gd name="connsiteX68" fmla="*/ 103076 w 480906"/>
                <a:gd name="connsiteY68" fmla="*/ 405259 h 450007"/>
                <a:gd name="connsiteX69" fmla="*/ 115955 w 480906"/>
                <a:gd name="connsiteY69" fmla="*/ 411573 h 450007"/>
                <a:gd name="connsiteX70" fmla="*/ 119863 w 480906"/>
                <a:gd name="connsiteY70" fmla="*/ 413327 h 450007"/>
                <a:gd name="connsiteX71" fmla="*/ 131589 w 480906"/>
                <a:gd name="connsiteY71" fmla="*/ 397492 h 450007"/>
                <a:gd name="connsiteX72" fmla="*/ 140008 w 480906"/>
                <a:gd name="connsiteY72" fmla="*/ 383561 h 450007"/>
                <a:gd name="connsiteX73" fmla="*/ 140759 w 480906"/>
                <a:gd name="connsiteY73" fmla="*/ 382860 h 450007"/>
                <a:gd name="connsiteX74" fmla="*/ 141812 w 480906"/>
                <a:gd name="connsiteY74" fmla="*/ 382860 h 450007"/>
                <a:gd name="connsiteX75" fmla="*/ 165413 w 480906"/>
                <a:gd name="connsiteY75" fmla="*/ 405008 h 450007"/>
                <a:gd name="connsiteX76" fmla="*/ 165864 w 480906"/>
                <a:gd name="connsiteY76" fmla="*/ 406412 h 450007"/>
                <a:gd name="connsiteX77" fmla="*/ 190569 w 480906"/>
                <a:gd name="connsiteY77" fmla="*/ 403806 h 450007"/>
                <a:gd name="connsiteX78" fmla="*/ 227199 w 480906"/>
                <a:gd name="connsiteY78" fmla="*/ 401851 h 450007"/>
                <a:gd name="connsiteX79" fmla="*/ 259520 w 480906"/>
                <a:gd name="connsiteY79" fmla="*/ 408466 h 450007"/>
                <a:gd name="connsiteX80" fmla="*/ 264932 w 480906"/>
                <a:gd name="connsiteY80" fmla="*/ 408817 h 450007"/>
                <a:gd name="connsiteX81" fmla="*/ 288835 w 480906"/>
                <a:gd name="connsiteY81" fmla="*/ 412675 h 450007"/>
                <a:gd name="connsiteX82" fmla="*/ 293044 w 480906"/>
                <a:gd name="connsiteY82" fmla="*/ 413527 h 450007"/>
                <a:gd name="connsiteX83" fmla="*/ 314691 w 480906"/>
                <a:gd name="connsiteY83" fmla="*/ 433521 h 450007"/>
                <a:gd name="connsiteX84" fmla="*/ 319953 w 480906"/>
                <a:gd name="connsiteY84" fmla="*/ 445949 h 450007"/>
                <a:gd name="connsiteX85" fmla="*/ 321957 w 480906"/>
                <a:gd name="connsiteY85" fmla="*/ 450007 h 450007"/>
                <a:gd name="connsiteX86" fmla="*/ 321957 w 480906"/>
                <a:gd name="connsiteY86" fmla="*/ 450007 h 450007"/>
                <a:gd name="connsiteX87" fmla="*/ 335988 w 480906"/>
                <a:gd name="connsiteY87" fmla="*/ 444195 h 450007"/>
                <a:gd name="connsiteX88" fmla="*/ 343705 w 480906"/>
                <a:gd name="connsiteY88" fmla="*/ 439534 h 450007"/>
                <a:gd name="connsiteX89" fmla="*/ 343705 w 480906"/>
                <a:gd name="connsiteY89" fmla="*/ 439534 h 450007"/>
                <a:gd name="connsiteX90" fmla="*/ 361294 w 480906"/>
                <a:gd name="connsiteY90" fmla="*/ 435074 h 450007"/>
                <a:gd name="connsiteX91" fmla="*/ 366856 w 480906"/>
                <a:gd name="connsiteY91" fmla="*/ 434022 h 450007"/>
                <a:gd name="connsiteX92" fmla="*/ 368409 w 480906"/>
                <a:gd name="connsiteY92" fmla="*/ 428159 h 450007"/>
                <a:gd name="connsiteX93" fmla="*/ 371967 w 480906"/>
                <a:gd name="connsiteY93" fmla="*/ 414128 h 450007"/>
                <a:gd name="connsiteX94" fmla="*/ 396421 w 480906"/>
                <a:gd name="connsiteY94" fmla="*/ 378601 h 450007"/>
                <a:gd name="connsiteX95" fmla="*/ 446631 w 480906"/>
                <a:gd name="connsiteY95" fmla="*/ 356452 h 450007"/>
                <a:gd name="connsiteX96" fmla="*/ 449688 w 480906"/>
                <a:gd name="connsiteY96" fmla="*/ 355750 h 450007"/>
                <a:gd name="connsiteX97" fmla="*/ 453396 w 480906"/>
                <a:gd name="connsiteY97" fmla="*/ 354898 h 450007"/>
                <a:gd name="connsiteX98" fmla="*/ 480907 w 480906"/>
                <a:gd name="connsiteY98" fmla="*/ 333301 h 450007"/>
                <a:gd name="connsiteX99" fmla="*/ 476547 w 480906"/>
                <a:gd name="connsiteY99" fmla="*/ 324231 h 450007"/>
                <a:gd name="connsiteX100" fmla="*/ 467327 w 480906"/>
                <a:gd name="connsiteY100" fmla="*/ 304738 h 450007"/>
                <a:gd name="connsiteX101" fmla="*/ 457555 w 480906"/>
                <a:gd name="connsiteY101" fmla="*/ 282339 h 45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480906" h="450007">
                  <a:moveTo>
                    <a:pt x="457706" y="282239"/>
                  </a:moveTo>
                  <a:lnTo>
                    <a:pt x="453997" y="273670"/>
                  </a:lnTo>
                  <a:cubicBezTo>
                    <a:pt x="440518" y="271515"/>
                    <a:pt x="428441" y="268659"/>
                    <a:pt x="417818" y="258436"/>
                  </a:cubicBezTo>
                  <a:lnTo>
                    <a:pt x="417167" y="257785"/>
                  </a:lnTo>
                  <a:lnTo>
                    <a:pt x="416665" y="254628"/>
                  </a:lnTo>
                  <a:cubicBezTo>
                    <a:pt x="416315" y="252223"/>
                    <a:pt x="415914" y="249417"/>
                    <a:pt x="415363" y="246661"/>
                  </a:cubicBezTo>
                  <a:cubicBezTo>
                    <a:pt x="414561" y="242702"/>
                    <a:pt x="413408" y="238041"/>
                    <a:pt x="411504" y="237089"/>
                  </a:cubicBezTo>
                  <a:cubicBezTo>
                    <a:pt x="409450" y="236037"/>
                    <a:pt x="404489" y="238142"/>
                    <a:pt x="399879" y="240246"/>
                  </a:cubicBezTo>
                  <a:cubicBezTo>
                    <a:pt x="398225" y="240998"/>
                    <a:pt x="396521" y="241299"/>
                    <a:pt x="394717" y="241599"/>
                  </a:cubicBezTo>
                  <a:cubicBezTo>
                    <a:pt x="393865" y="241750"/>
                    <a:pt x="393013" y="241900"/>
                    <a:pt x="392061" y="242100"/>
                  </a:cubicBezTo>
                  <a:lnTo>
                    <a:pt x="390458" y="242451"/>
                  </a:lnTo>
                  <a:lnTo>
                    <a:pt x="389406" y="241198"/>
                  </a:lnTo>
                  <a:cubicBezTo>
                    <a:pt x="385547" y="236538"/>
                    <a:pt x="381087" y="232229"/>
                    <a:pt x="376778" y="228070"/>
                  </a:cubicBezTo>
                  <a:cubicBezTo>
                    <a:pt x="371316" y="222808"/>
                    <a:pt x="365603" y="217346"/>
                    <a:pt x="360943" y="210932"/>
                  </a:cubicBezTo>
                  <a:lnTo>
                    <a:pt x="359440" y="208828"/>
                  </a:lnTo>
                  <a:lnTo>
                    <a:pt x="361444" y="207224"/>
                  </a:lnTo>
                  <a:cubicBezTo>
                    <a:pt x="384946" y="188583"/>
                    <a:pt x="385297" y="188282"/>
                    <a:pt x="395068" y="169090"/>
                  </a:cubicBezTo>
                  <a:cubicBezTo>
                    <a:pt x="394717" y="167887"/>
                    <a:pt x="394417" y="166635"/>
                    <a:pt x="394066" y="165332"/>
                  </a:cubicBezTo>
                  <a:cubicBezTo>
                    <a:pt x="393064" y="161373"/>
                    <a:pt x="392061" y="157264"/>
                    <a:pt x="390257" y="153656"/>
                  </a:cubicBezTo>
                  <a:cubicBezTo>
                    <a:pt x="386249" y="145538"/>
                    <a:pt x="383493" y="143334"/>
                    <a:pt x="381839" y="142882"/>
                  </a:cubicBezTo>
                  <a:cubicBezTo>
                    <a:pt x="372819" y="140477"/>
                    <a:pt x="370264" y="133662"/>
                    <a:pt x="368059" y="127699"/>
                  </a:cubicBezTo>
                  <a:cubicBezTo>
                    <a:pt x="367457" y="126046"/>
                    <a:pt x="366856" y="124492"/>
                    <a:pt x="366154" y="122989"/>
                  </a:cubicBezTo>
                  <a:cubicBezTo>
                    <a:pt x="352875" y="123239"/>
                    <a:pt x="345359" y="113618"/>
                    <a:pt x="338895" y="105100"/>
                  </a:cubicBezTo>
                  <a:lnTo>
                    <a:pt x="338243" y="104248"/>
                  </a:lnTo>
                  <a:cubicBezTo>
                    <a:pt x="337141" y="104147"/>
                    <a:pt x="336038" y="104097"/>
                    <a:pt x="334986" y="104047"/>
                  </a:cubicBezTo>
                  <a:cubicBezTo>
                    <a:pt x="331428" y="103797"/>
                    <a:pt x="328021" y="103596"/>
                    <a:pt x="324663" y="103045"/>
                  </a:cubicBezTo>
                  <a:cubicBezTo>
                    <a:pt x="308929" y="100640"/>
                    <a:pt x="290388" y="85857"/>
                    <a:pt x="288935" y="68519"/>
                  </a:cubicBezTo>
                  <a:cubicBezTo>
                    <a:pt x="287031" y="45068"/>
                    <a:pt x="284325" y="44015"/>
                    <a:pt x="263228" y="35547"/>
                  </a:cubicBezTo>
                  <a:lnTo>
                    <a:pt x="259119" y="33843"/>
                  </a:lnTo>
                  <a:cubicBezTo>
                    <a:pt x="258267" y="33442"/>
                    <a:pt x="257365" y="33041"/>
                    <a:pt x="256463" y="32791"/>
                  </a:cubicBezTo>
                  <a:cubicBezTo>
                    <a:pt x="242783" y="28481"/>
                    <a:pt x="233062" y="20363"/>
                    <a:pt x="226598" y="7936"/>
                  </a:cubicBezTo>
                  <a:cubicBezTo>
                    <a:pt x="225646" y="6132"/>
                    <a:pt x="224042" y="4478"/>
                    <a:pt x="222138" y="2624"/>
                  </a:cubicBezTo>
                  <a:cubicBezTo>
                    <a:pt x="221637" y="2123"/>
                    <a:pt x="221086" y="1572"/>
                    <a:pt x="220585" y="1021"/>
                  </a:cubicBezTo>
                  <a:cubicBezTo>
                    <a:pt x="209911" y="5631"/>
                    <a:pt x="197835" y="10241"/>
                    <a:pt x="183704" y="3476"/>
                  </a:cubicBezTo>
                  <a:cubicBezTo>
                    <a:pt x="175385" y="-533"/>
                    <a:pt x="168520" y="-1084"/>
                    <a:pt x="164912" y="1873"/>
                  </a:cubicBezTo>
                  <a:cubicBezTo>
                    <a:pt x="161405" y="4729"/>
                    <a:pt x="160703" y="11243"/>
                    <a:pt x="162908" y="20163"/>
                  </a:cubicBezTo>
                  <a:cubicBezTo>
                    <a:pt x="165063" y="28732"/>
                    <a:pt x="162607" y="36298"/>
                    <a:pt x="155893" y="41961"/>
                  </a:cubicBezTo>
                  <a:cubicBezTo>
                    <a:pt x="148827" y="47924"/>
                    <a:pt x="141711" y="53536"/>
                    <a:pt x="135648" y="58247"/>
                  </a:cubicBezTo>
                  <a:cubicBezTo>
                    <a:pt x="133042" y="60301"/>
                    <a:pt x="130336" y="62105"/>
                    <a:pt x="127881" y="63759"/>
                  </a:cubicBezTo>
                  <a:cubicBezTo>
                    <a:pt x="127230" y="64210"/>
                    <a:pt x="126578" y="64610"/>
                    <a:pt x="125977" y="65062"/>
                  </a:cubicBezTo>
                  <a:cubicBezTo>
                    <a:pt x="123872" y="82099"/>
                    <a:pt x="126929" y="98585"/>
                    <a:pt x="129835" y="114570"/>
                  </a:cubicBezTo>
                  <a:cubicBezTo>
                    <a:pt x="131639" y="124342"/>
                    <a:pt x="133493" y="134414"/>
                    <a:pt x="134195" y="144636"/>
                  </a:cubicBezTo>
                  <a:lnTo>
                    <a:pt x="134295" y="145839"/>
                  </a:lnTo>
                  <a:lnTo>
                    <a:pt x="133443" y="146691"/>
                  </a:lnTo>
                  <a:cubicBezTo>
                    <a:pt x="128382" y="151752"/>
                    <a:pt x="122670" y="156212"/>
                    <a:pt x="117157" y="160521"/>
                  </a:cubicBezTo>
                  <a:cubicBezTo>
                    <a:pt x="106183" y="169090"/>
                    <a:pt x="95861" y="177158"/>
                    <a:pt x="89948" y="189485"/>
                  </a:cubicBezTo>
                  <a:lnTo>
                    <a:pt x="90449" y="191038"/>
                  </a:lnTo>
                  <a:cubicBezTo>
                    <a:pt x="96362" y="209980"/>
                    <a:pt x="102425" y="229573"/>
                    <a:pt x="96662" y="250770"/>
                  </a:cubicBezTo>
                  <a:lnTo>
                    <a:pt x="96362" y="251822"/>
                  </a:lnTo>
                  <a:lnTo>
                    <a:pt x="86991" y="257234"/>
                  </a:lnTo>
                  <a:cubicBezTo>
                    <a:pt x="81529" y="260341"/>
                    <a:pt x="76167" y="263498"/>
                    <a:pt x="70755" y="266554"/>
                  </a:cubicBezTo>
                  <a:cubicBezTo>
                    <a:pt x="63690" y="270563"/>
                    <a:pt x="57075" y="271415"/>
                    <a:pt x="50411" y="269160"/>
                  </a:cubicBezTo>
                  <a:cubicBezTo>
                    <a:pt x="48657" y="268559"/>
                    <a:pt x="46803" y="268108"/>
                    <a:pt x="44999" y="267657"/>
                  </a:cubicBezTo>
                  <a:cubicBezTo>
                    <a:pt x="42994" y="267155"/>
                    <a:pt x="40990" y="266654"/>
                    <a:pt x="39036" y="265953"/>
                  </a:cubicBezTo>
                  <a:cubicBezTo>
                    <a:pt x="33173" y="263898"/>
                    <a:pt x="28463" y="264550"/>
                    <a:pt x="23752" y="268158"/>
                  </a:cubicBezTo>
                  <a:cubicBezTo>
                    <a:pt x="18190" y="272367"/>
                    <a:pt x="12528" y="276476"/>
                    <a:pt x="6464" y="280786"/>
                  </a:cubicBezTo>
                  <a:cubicBezTo>
                    <a:pt x="4360" y="282289"/>
                    <a:pt x="2205" y="283842"/>
                    <a:pt x="0" y="285446"/>
                  </a:cubicBezTo>
                  <a:cubicBezTo>
                    <a:pt x="1102" y="287801"/>
                    <a:pt x="2205" y="290206"/>
                    <a:pt x="3257" y="292511"/>
                  </a:cubicBezTo>
                  <a:cubicBezTo>
                    <a:pt x="6264" y="299076"/>
                    <a:pt x="9070" y="305239"/>
                    <a:pt x="12477" y="311102"/>
                  </a:cubicBezTo>
                  <a:cubicBezTo>
                    <a:pt x="19292" y="322778"/>
                    <a:pt x="21046" y="335305"/>
                    <a:pt x="17889" y="349336"/>
                  </a:cubicBezTo>
                  <a:cubicBezTo>
                    <a:pt x="17438" y="351291"/>
                    <a:pt x="16937" y="353195"/>
                    <a:pt x="16436" y="355149"/>
                  </a:cubicBezTo>
                  <a:cubicBezTo>
                    <a:pt x="14432" y="362766"/>
                    <a:pt x="12578" y="369931"/>
                    <a:pt x="14632" y="377598"/>
                  </a:cubicBezTo>
                  <a:cubicBezTo>
                    <a:pt x="15484" y="378149"/>
                    <a:pt x="16486" y="378701"/>
                    <a:pt x="17488" y="379202"/>
                  </a:cubicBezTo>
                  <a:cubicBezTo>
                    <a:pt x="21096" y="381156"/>
                    <a:pt x="24855" y="383211"/>
                    <a:pt x="25606" y="386718"/>
                  </a:cubicBezTo>
                  <a:cubicBezTo>
                    <a:pt x="27611" y="396039"/>
                    <a:pt x="33925" y="401451"/>
                    <a:pt x="40589" y="407213"/>
                  </a:cubicBezTo>
                  <a:cubicBezTo>
                    <a:pt x="43245" y="409518"/>
                    <a:pt x="45951" y="411873"/>
                    <a:pt x="48507" y="414529"/>
                  </a:cubicBezTo>
                  <a:cubicBezTo>
                    <a:pt x="51062" y="413527"/>
                    <a:pt x="53618" y="412625"/>
                    <a:pt x="56073" y="411673"/>
                  </a:cubicBezTo>
                  <a:cubicBezTo>
                    <a:pt x="62988" y="409067"/>
                    <a:pt x="69553" y="406612"/>
                    <a:pt x="75917" y="403756"/>
                  </a:cubicBezTo>
                  <a:cubicBezTo>
                    <a:pt x="85337" y="399547"/>
                    <a:pt x="93956" y="399997"/>
                    <a:pt x="103076" y="405259"/>
                  </a:cubicBezTo>
                  <a:cubicBezTo>
                    <a:pt x="107236" y="407664"/>
                    <a:pt x="111695" y="409669"/>
                    <a:pt x="115955" y="411573"/>
                  </a:cubicBezTo>
                  <a:cubicBezTo>
                    <a:pt x="117308" y="412174"/>
                    <a:pt x="118611" y="412776"/>
                    <a:pt x="119863" y="413327"/>
                  </a:cubicBezTo>
                  <a:cubicBezTo>
                    <a:pt x="126478" y="409869"/>
                    <a:pt x="128983" y="403856"/>
                    <a:pt x="131589" y="397492"/>
                  </a:cubicBezTo>
                  <a:cubicBezTo>
                    <a:pt x="133644" y="392531"/>
                    <a:pt x="135748" y="387370"/>
                    <a:pt x="140008" y="383561"/>
                  </a:cubicBezTo>
                  <a:lnTo>
                    <a:pt x="140759" y="382860"/>
                  </a:lnTo>
                  <a:lnTo>
                    <a:pt x="141812" y="382860"/>
                  </a:lnTo>
                  <a:cubicBezTo>
                    <a:pt x="158198" y="382960"/>
                    <a:pt x="162206" y="395187"/>
                    <a:pt x="165413" y="405008"/>
                  </a:cubicBezTo>
                  <a:lnTo>
                    <a:pt x="165864" y="406412"/>
                  </a:lnTo>
                  <a:cubicBezTo>
                    <a:pt x="173982" y="409569"/>
                    <a:pt x="181649" y="408767"/>
                    <a:pt x="190569" y="403806"/>
                  </a:cubicBezTo>
                  <a:cubicBezTo>
                    <a:pt x="202194" y="397342"/>
                    <a:pt x="216576" y="396540"/>
                    <a:pt x="227199" y="401851"/>
                  </a:cubicBezTo>
                  <a:cubicBezTo>
                    <a:pt x="237873" y="407163"/>
                    <a:pt x="248396" y="407815"/>
                    <a:pt x="259520" y="408466"/>
                  </a:cubicBezTo>
                  <a:cubicBezTo>
                    <a:pt x="261324" y="408566"/>
                    <a:pt x="263128" y="408667"/>
                    <a:pt x="264932" y="408817"/>
                  </a:cubicBezTo>
                  <a:cubicBezTo>
                    <a:pt x="273000" y="409368"/>
                    <a:pt x="281068" y="411072"/>
                    <a:pt x="288835" y="412675"/>
                  </a:cubicBezTo>
                  <a:lnTo>
                    <a:pt x="293044" y="413527"/>
                  </a:lnTo>
                  <a:cubicBezTo>
                    <a:pt x="304720" y="415883"/>
                    <a:pt x="311785" y="422397"/>
                    <a:pt x="314691" y="433521"/>
                  </a:cubicBezTo>
                  <a:cubicBezTo>
                    <a:pt x="315794" y="437781"/>
                    <a:pt x="317898" y="441940"/>
                    <a:pt x="319953" y="445949"/>
                  </a:cubicBezTo>
                  <a:cubicBezTo>
                    <a:pt x="320654" y="447301"/>
                    <a:pt x="321306" y="448654"/>
                    <a:pt x="321957" y="450007"/>
                  </a:cubicBezTo>
                  <a:lnTo>
                    <a:pt x="321957" y="450007"/>
                  </a:lnTo>
                  <a:cubicBezTo>
                    <a:pt x="327820" y="450007"/>
                    <a:pt x="331829" y="447201"/>
                    <a:pt x="335988" y="444195"/>
                  </a:cubicBezTo>
                  <a:cubicBezTo>
                    <a:pt x="338394" y="442491"/>
                    <a:pt x="340899" y="440737"/>
                    <a:pt x="343705" y="439534"/>
                  </a:cubicBezTo>
                  <a:lnTo>
                    <a:pt x="343705" y="439534"/>
                  </a:lnTo>
                  <a:cubicBezTo>
                    <a:pt x="349368" y="437229"/>
                    <a:pt x="355431" y="436127"/>
                    <a:pt x="361294" y="435074"/>
                  </a:cubicBezTo>
                  <a:cubicBezTo>
                    <a:pt x="363198" y="434724"/>
                    <a:pt x="365052" y="434423"/>
                    <a:pt x="366856" y="434022"/>
                  </a:cubicBezTo>
                  <a:cubicBezTo>
                    <a:pt x="367407" y="432018"/>
                    <a:pt x="367908" y="430063"/>
                    <a:pt x="368409" y="428159"/>
                  </a:cubicBezTo>
                  <a:cubicBezTo>
                    <a:pt x="369712" y="423249"/>
                    <a:pt x="370915" y="418739"/>
                    <a:pt x="371967" y="414128"/>
                  </a:cubicBezTo>
                  <a:cubicBezTo>
                    <a:pt x="375275" y="399747"/>
                    <a:pt x="383042" y="388472"/>
                    <a:pt x="396421" y="378601"/>
                  </a:cubicBezTo>
                  <a:cubicBezTo>
                    <a:pt x="413058" y="366324"/>
                    <a:pt x="427940" y="357855"/>
                    <a:pt x="446631" y="356452"/>
                  </a:cubicBezTo>
                  <a:cubicBezTo>
                    <a:pt x="447583" y="356402"/>
                    <a:pt x="448586" y="356051"/>
                    <a:pt x="449688" y="355750"/>
                  </a:cubicBezTo>
                  <a:cubicBezTo>
                    <a:pt x="450941" y="355400"/>
                    <a:pt x="452143" y="355049"/>
                    <a:pt x="453396" y="354898"/>
                  </a:cubicBezTo>
                  <a:cubicBezTo>
                    <a:pt x="466375" y="353195"/>
                    <a:pt x="475144" y="346330"/>
                    <a:pt x="480907" y="333301"/>
                  </a:cubicBezTo>
                  <a:cubicBezTo>
                    <a:pt x="479453" y="330294"/>
                    <a:pt x="478000" y="327238"/>
                    <a:pt x="476547" y="324231"/>
                  </a:cubicBezTo>
                  <a:cubicBezTo>
                    <a:pt x="473440" y="317767"/>
                    <a:pt x="470333" y="311303"/>
                    <a:pt x="467327" y="304738"/>
                  </a:cubicBezTo>
                  <a:cubicBezTo>
                    <a:pt x="463969" y="297322"/>
                    <a:pt x="460762" y="289855"/>
                    <a:pt x="457555" y="28233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31" name="Полилиния: фигура 130">
              <a:extLst>
                <a:ext uri="{FF2B5EF4-FFF2-40B4-BE49-F238E27FC236}">
                  <a16:creationId xmlns:a16="http://schemas.microsoft.com/office/drawing/2014/main" id="{2BB9F6C5-AAD1-4EF5-B2D8-4A2C0075E8A3}"/>
                </a:ext>
              </a:extLst>
            </p:cNvPr>
            <p:cNvSpPr/>
            <p:nvPr/>
          </p:nvSpPr>
          <p:spPr>
            <a:xfrm>
              <a:off x="1636545" y="3761761"/>
              <a:ext cx="612749" cy="600624"/>
            </a:xfrm>
            <a:custGeom>
              <a:avLst/>
              <a:gdLst>
                <a:gd name="connsiteX0" fmla="*/ 462468 w 491330"/>
                <a:gd name="connsiteY0" fmla="*/ 311384 h 481608"/>
                <a:gd name="connsiteX1" fmla="*/ 462468 w 491330"/>
                <a:gd name="connsiteY1" fmla="*/ 309129 h 481608"/>
                <a:gd name="connsiteX2" fmla="*/ 460613 w 491330"/>
                <a:gd name="connsiteY2" fmla="*/ 297754 h 481608"/>
                <a:gd name="connsiteX3" fmla="*/ 453598 w 491330"/>
                <a:gd name="connsiteY3" fmla="*/ 283072 h 481608"/>
                <a:gd name="connsiteX4" fmla="*/ 450391 w 491330"/>
                <a:gd name="connsiteY4" fmla="*/ 273651 h 481608"/>
                <a:gd name="connsiteX5" fmla="*/ 447685 w 491330"/>
                <a:gd name="connsiteY5" fmla="*/ 271998 h 481608"/>
                <a:gd name="connsiteX6" fmla="*/ 439216 w 491330"/>
                <a:gd name="connsiteY6" fmla="*/ 266586 h 481608"/>
                <a:gd name="connsiteX7" fmla="*/ 424734 w 491330"/>
                <a:gd name="connsiteY7" fmla="*/ 241080 h 481608"/>
                <a:gd name="connsiteX8" fmla="*/ 419974 w 491330"/>
                <a:gd name="connsiteY8" fmla="*/ 219382 h 481608"/>
                <a:gd name="connsiteX9" fmla="*/ 416316 w 491330"/>
                <a:gd name="connsiteY9" fmla="*/ 204750 h 481608"/>
                <a:gd name="connsiteX10" fmla="*/ 400732 w 491330"/>
                <a:gd name="connsiteY10" fmla="*/ 190919 h 481608"/>
                <a:gd name="connsiteX11" fmla="*/ 388154 w 491330"/>
                <a:gd name="connsiteY11" fmla="*/ 188765 h 481608"/>
                <a:gd name="connsiteX12" fmla="*/ 372820 w 491330"/>
                <a:gd name="connsiteY12" fmla="*/ 186259 h 481608"/>
                <a:gd name="connsiteX13" fmla="*/ 341852 w 491330"/>
                <a:gd name="connsiteY13" fmla="*/ 167418 h 481608"/>
                <a:gd name="connsiteX14" fmla="*/ 324915 w 491330"/>
                <a:gd name="connsiteY14" fmla="*/ 145219 h 481608"/>
                <a:gd name="connsiteX15" fmla="*/ 275306 w 491330"/>
                <a:gd name="connsiteY15" fmla="*/ 130035 h 481608"/>
                <a:gd name="connsiteX16" fmla="*/ 261075 w 491330"/>
                <a:gd name="connsiteY16" fmla="*/ 133794 h 481608"/>
                <a:gd name="connsiteX17" fmla="*/ 253559 w 491330"/>
                <a:gd name="connsiteY17" fmla="*/ 135548 h 481608"/>
                <a:gd name="connsiteX18" fmla="*/ 250853 w 491330"/>
                <a:gd name="connsiteY18" fmla="*/ 136199 h 481608"/>
                <a:gd name="connsiteX19" fmla="*/ 250301 w 491330"/>
                <a:gd name="connsiteY19" fmla="*/ 133443 h 481608"/>
                <a:gd name="connsiteX20" fmla="*/ 230057 w 491330"/>
                <a:gd name="connsiteY20" fmla="*/ 111044 h 481608"/>
                <a:gd name="connsiteX21" fmla="*/ 213621 w 491330"/>
                <a:gd name="connsiteY21" fmla="*/ 101222 h 481608"/>
                <a:gd name="connsiteX22" fmla="*/ 209612 w 491330"/>
                <a:gd name="connsiteY22" fmla="*/ 98617 h 481608"/>
                <a:gd name="connsiteX23" fmla="*/ 190019 w 491330"/>
                <a:gd name="connsiteY23" fmla="*/ 76969 h 481608"/>
                <a:gd name="connsiteX24" fmla="*/ 171428 w 491330"/>
                <a:gd name="connsiteY24" fmla="*/ 61786 h 481608"/>
                <a:gd name="connsiteX25" fmla="*/ 141612 w 491330"/>
                <a:gd name="connsiteY25" fmla="*/ 41491 h 481608"/>
                <a:gd name="connsiteX26" fmla="*/ 132092 w 491330"/>
                <a:gd name="connsiteY26" fmla="*/ 31469 h 481608"/>
                <a:gd name="connsiteX27" fmla="*/ 94609 w 491330"/>
                <a:gd name="connsiteY27" fmla="*/ 1804 h 481608"/>
                <a:gd name="connsiteX28" fmla="*/ 93006 w 491330"/>
                <a:gd name="connsiteY28" fmla="*/ 852 h 481608"/>
                <a:gd name="connsiteX29" fmla="*/ 91452 w 491330"/>
                <a:gd name="connsiteY29" fmla="*/ 0 h 481608"/>
                <a:gd name="connsiteX30" fmla="*/ 89247 w 491330"/>
                <a:gd name="connsiteY30" fmla="*/ 952 h 481608"/>
                <a:gd name="connsiteX31" fmla="*/ 74515 w 491330"/>
                <a:gd name="connsiteY31" fmla="*/ 7316 h 481608"/>
                <a:gd name="connsiteX32" fmla="*/ 66748 w 491330"/>
                <a:gd name="connsiteY32" fmla="*/ 10773 h 481608"/>
                <a:gd name="connsiteX33" fmla="*/ 52817 w 491330"/>
                <a:gd name="connsiteY33" fmla="*/ 16837 h 481608"/>
                <a:gd name="connsiteX34" fmla="*/ 41743 w 491330"/>
                <a:gd name="connsiteY34" fmla="*/ 20745 h 481608"/>
                <a:gd name="connsiteX35" fmla="*/ 32673 w 491330"/>
                <a:gd name="connsiteY35" fmla="*/ 23852 h 481608"/>
                <a:gd name="connsiteX36" fmla="*/ 17239 w 491330"/>
                <a:gd name="connsiteY36" fmla="*/ 30116 h 481608"/>
                <a:gd name="connsiteX37" fmla="*/ 12429 w 491330"/>
                <a:gd name="connsiteY37" fmla="*/ 32120 h 481608"/>
                <a:gd name="connsiteX38" fmla="*/ 1354 w 491330"/>
                <a:gd name="connsiteY38" fmla="*/ 87342 h 481608"/>
                <a:gd name="connsiteX39" fmla="*/ 1254 w 491330"/>
                <a:gd name="connsiteY39" fmla="*/ 105883 h 481608"/>
                <a:gd name="connsiteX40" fmla="*/ 1805 w 491330"/>
                <a:gd name="connsiteY40" fmla="*/ 109240 h 481608"/>
                <a:gd name="connsiteX41" fmla="*/ 35980 w 491330"/>
                <a:gd name="connsiteY41" fmla="*/ 141561 h 481608"/>
                <a:gd name="connsiteX42" fmla="*/ 45501 w 491330"/>
                <a:gd name="connsiteY42" fmla="*/ 142713 h 481608"/>
                <a:gd name="connsiteX43" fmla="*/ 49159 w 491330"/>
                <a:gd name="connsiteY43" fmla="*/ 143214 h 481608"/>
                <a:gd name="connsiteX44" fmla="*/ 49811 w 491330"/>
                <a:gd name="connsiteY44" fmla="*/ 144016 h 481608"/>
                <a:gd name="connsiteX45" fmla="*/ 54371 w 491330"/>
                <a:gd name="connsiteY45" fmla="*/ 150030 h 481608"/>
                <a:gd name="connsiteX46" fmla="*/ 62288 w 491330"/>
                <a:gd name="connsiteY46" fmla="*/ 158699 h 481608"/>
                <a:gd name="connsiteX47" fmla="*/ 73312 w 491330"/>
                <a:gd name="connsiteY47" fmla="*/ 161755 h 481608"/>
                <a:gd name="connsiteX48" fmla="*/ 78223 w 491330"/>
                <a:gd name="connsiteY48" fmla="*/ 162607 h 481608"/>
                <a:gd name="connsiteX49" fmla="*/ 79526 w 491330"/>
                <a:gd name="connsiteY49" fmla="*/ 162908 h 481608"/>
                <a:gd name="connsiteX50" fmla="*/ 80077 w 491330"/>
                <a:gd name="connsiteY50" fmla="*/ 164111 h 481608"/>
                <a:gd name="connsiteX51" fmla="*/ 82583 w 491330"/>
                <a:gd name="connsiteY51" fmla="*/ 170474 h 481608"/>
                <a:gd name="connsiteX52" fmla="*/ 86842 w 491330"/>
                <a:gd name="connsiteY52" fmla="*/ 178542 h 481608"/>
                <a:gd name="connsiteX53" fmla="*/ 109542 w 491330"/>
                <a:gd name="connsiteY53" fmla="*/ 218781 h 481608"/>
                <a:gd name="connsiteX54" fmla="*/ 110845 w 491330"/>
                <a:gd name="connsiteY54" fmla="*/ 223741 h 481608"/>
                <a:gd name="connsiteX55" fmla="*/ 110444 w 491330"/>
                <a:gd name="connsiteY55" fmla="*/ 224643 h 481608"/>
                <a:gd name="connsiteX56" fmla="*/ 83385 w 491330"/>
                <a:gd name="connsiteY56" fmla="*/ 262376 h 481608"/>
                <a:gd name="connsiteX57" fmla="*/ 88345 w 491330"/>
                <a:gd name="connsiteY57" fmla="*/ 265784 h 481608"/>
                <a:gd name="connsiteX58" fmla="*/ 94008 w 491330"/>
                <a:gd name="connsiteY58" fmla="*/ 273952 h 481608"/>
                <a:gd name="connsiteX59" fmla="*/ 95311 w 491330"/>
                <a:gd name="connsiteY59" fmla="*/ 276006 h 481608"/>
                <a:gd name="connsiteX60" fmla="*/ 95511 w 491330"/>
                <a:gd name="connsiteY60" fmla="*/ 276006 h 481608"/>
                <a:gd name="connsiteX61" fmla="*/ 96263 w 491330"/>
                <a:gd name="connsiteY61" fmla="*/ 276157 h 481608"/>
                <a:gd name="connsiteX62" fmla="*/ 111146 w 491330"/>
                <a:gd name="connsiteY62" fmla="*/ 274253 h 481608"/>
                <a:gd name="connsiteX63" fmla="*/ 130288 w 491330"/>
                <a:gd name="connsiteY63" fmla="*/ 297253 h 481608"/>
                <a:gd name="connsiteX64" fmla="*/ 140660 w 491330"/>
                <a:gd name="connsiteY64" fmla="*/ 308177 h 481608"/>
                <a:gd name="connsiteX65" fmla="*/ 156245 w 491330"/>
                <a:gd name="connsiteY65" fmla="*/ 311384 h 481608"/>
                <a:gd name="connsiteX66" fmla="*/ 163711 w 491330"/>
                <a:gd name="connsiteY66" fmla="*/ 312687 h 481608"/>
                <a:gd name="connsiteX67" fmla="*/ 165114 w 491330"/>
                <a:gd name="connsiteY67" fmla="*/ 312937 h 481608"/>
                <a:gd name="connsiteX68" fmla="*/ 165665 w 491330"/>
                <a:gd name="connsiteY68" fmla="*/ 314240 h 481608"/>
                <a:gd name="connsiteX69" fmla="*/ 170476 w 491330"/>
                <a:gd name="connsiteY69" fmla="*/ 325265 h 481608"/>
                <a:gd name="connsiteX70" fmla="*/ 181400 w 491330"/>
                <a:gd name="connsiteY70" fmla="*/ 351823 h 481608"/>
                <a:gd name="connsiteX71" fmla="*/ 216577 w 491330"/>
                <a:gd name="connsiteY71" fmla="*/ 425184 h 481608"/>
                <a:gd name="connsiteX72" fmla="*/ 224144 w 491330"/>
                <a:gd name="connsiteY72" fmla="*/ 453496 h 481608"/>
                <a:gd name="connsiteX73" fmla="*/ 223993 w 491330"/>
                <a:gd name="connsiteY73" fmla="*/ 460612 h 481608"/>
                <a:gd name="connsiteX74" fmla="*/ 225998 w 491330"/>
                <a:gd name="connsiteY74" fmla="*/ 481608 h 481608"/>
                <a:gd name="connsiteX75" fmla="*/ 228052 w 491330"/>
                <a:gd name="connsiteY75" fmla="*/ 481257 h 481608"/>
                <a:gd name="connsiteX76" fmla="*/ 237373 w 491330"/>
                <a:gd name="connsiteY76" fmla="*/ 479353 h 481608"/>
                <a:gd name="connsiteX77" fmla="*/ 264933 w 491330"/>
                <a:gd name="connsiteY77" fmla="*/ 451642 h 481608"/>
                <a:gd name="connsiteX78" fmla="*/ 274805 w 491330"/>
                <a:gd name="connsiteY78" fmla="*/ 423130 h 481608"/>
                <a:gd name="connsiteX79" fmla="*/ 275206 w 491330"/>
                <a:gd name="connsiteY79" fmla="*/ 422228 h 481608"/>
                <a:gd name="connsiteX80" fmla="*/ 286481 w 491330"/>
                <a:gd name="connsiteY80" fmla="*/ 414210 h 481608"/>
                <a:gd name="connsiteX81" fmla="*/ 286681 w 491330"/>
                <a:gd name="connsiteY81" fmla="*/ 414210 h 481608"/>
                <a:gd name="connsiteX82" fmla="*/ 296603 w 491330"/>
                <a:gd name="connsiteY82" fmla="*/ 420774 h 481608"/>
                <a:gd name="connsiteX83" fmla="*/ 319153 w 491330"/>
                <a:gd name="connsiteY83" fmla="*/ 432350 h 481608"/>
                <a:gd name="connsiteX84" fmla="*/ 335839 w 491330"/>
                <a:gd name="connsiteY84" fmla="*/ 432200 h 481608"/>
                <a:gd name="connsiteX85" fmla="*/ 352927 w 491330"/>
                <a:gd name="connsiteY85" fmla="*/ 422228 h 481608"/>
                <a:gd name="connsiteX86" fmla="*/ 359742 w 491330"/>
                <a:gd name="connsiteY86" fmla="*/ 411704 h 481608"/>
                <a:gd name="connsiteX87" fmla="*/ 364252 w 491330"/>
                <a:gd name="connsiteY87" fmla="*/ 404789 h 481608"/>
                <a:gd name="connsiteX88" fmla="*/ 365955 w 491330"/>
                <a:gd name="connsiteY88" fmla="*/ 405040 h 481608"/>
                <a:gd name="connsiteX89" fmla="*/ 371568 w 491330"/>
                <a:gd name="connsiteY89" fmla="*/ 405842 h 481608"/>
                <a:gd name="connsiteX90" fmla="*/ 383093 w 491330"/>
                <a:gd name="connsiteY90" fmla="*/ 407796 h 481608"/>
                <a:gd name="connsiteX91" fmla="*/ 424434 w 491330"/>
                <a:gd name="connsiteY91" fmla="*/ 418169 h 481608"/>
                <a:gd name="connsiteX92" fmla="*/ 454249 w 491330"/>
                <a:gd name="connsiteY92" fmla="*/ 415313 h 481608"/>
                <a:gd name="connsiteX93" fmla="*/ 455602 w 491330"/>
                <a:gd name="connsiteY93" fmla="*/ 414511 h 481608"/>
                <a:gd name="connsiteX94" fmla="*/ 472189 w 491330"/>
                <a:gd name="connsiteY94" fmla="*/ 407044 h 481608"/>
                <a:gd name="connsiteX95" fmla="*/ 486771 w 491330"/>
                <a:gd name="connsiteY95" fmla="*/ 407345 h 481608"/>
                <a:gd name="connsiteX96" fmla="*/ 491331 w 491330"/>
                <a:gd name="connsiteY96" fmla="*/ 407846 h 481608"/>
                <a:gd name="connsiteX97" fmla="*/ 490228 w 491330"/>
                <a:gd name="connsiteY97" fmla="*/ 402184 h 481608"/>
                <a:gd name="connsiteX98" fmla="*/ 469884 w 491330"/>
                <a:gd name="connsiteY98" fmla="*/ 336740 h 481608"/>
                <a:gd name="connsiteX99" fmla="*/ 462367 w 491330"/>
                <a:gd name="connsiteY99" fmla="*/ 311234 h 481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491330" h="481608">
                  <a:moveTo>
                    <a:pt x="462468" y="311384"/>
                  </a:moveTo>
                  <a:lnTo>
                    <a:pt x="462468" y="309129"/>
                  </a:lnTo>
                  <a:cubicBezTo>
                    <a:pt x="462468" y="305221"/>
                    <a:pt x="462417" y="299257"/>
                    <a:pt x="460613" y="297754"/>
                  </a:cubicBezTo>
                  <a:cubicBezTo>
                    <a:pt x="455602" y="293445"/>
                    <a:pt x="454550" y="287932"/>
                    <a:pt x="453598" y="283072"/>
                  </a:cubicBezTo>
                  <a:cubicBezTo>
                    <a:pt x="452946" y="279614"/>
                    <a:pt x="452295" y="276357"/>
                    <a:pt x="450391" y="273651"/>
                  </a:cubicBezTo>
                  <a:lnTo>
                    <a:pt x="447685" y="271998"/>
                  </a:lnTo>
                  <a:cubicBezTo>
                    <a:pt x="444929" y="270344"/>
                    <a:pt x="442023" y="268590"/>
                    <a:pt x="439216" y="266586"/>
                  </a:cubicBezTo>
                  <a:cubicBezTo>
                    <a:pt x="430497" y="260472"/>
                    <a:pt x="425887" y="252354"/>
                    <a:pt x="424734" y="241080"/>
                  </a:cubicBezTo>
                  <a:cubicBezTo>
                    <a:pt x="423983" y="233814"/>
                    <a:pt x="421928" y="226497"/>
                    <a:pt x="419974" y="219382"/>
                  </a:cubicBezTo>
                  <a:cubicBezTo>
                    <a:pt x="418671" y="214621"/>
                    <a:pt x="417318" y="209711"/>
                    <a:pt x="416316" y="204750"/>
                  </a:cubicBezTo>
                  <a:cubicBezTo>
                    <a:pt x="414612" y="196431"/>
                    <a:pt x="410002" y="192323"/>
                    <a:pt x="400732" y="190919"/>
                  </a:cubicBezTo>
                  <a:cubicBezTo>
                    <a:pt x="396523" y="190318"/>
                    <a:pt x="392313" y="189516"/>
                    <a:pt x="388154" y="188765"/>
                  </a:cubicBezTo>
                  <a:cubicBezTo>
                    <a:pt x="383143" y="187863"/>
                    <a:pt x="377932" y="186911"/>
                    <a:pt x="372820" y="186259"/>
                  </a:cubicBezTo>
                  <a:cubicBezTo>
                    <a:pt x="358439" y="184305"/>
                    <a:pt x="348617" y="178342"/>
                    <a:pt x="341852" y="167418"/>
                  </a:cubicBezTo>
                  <a:cubicBezTo>
                    <a:pt x="336942" y="159500"/>
                    <a:pt x="330778" y="152084"/>
                    <a:pt x="324915" y="145219"/>
                  </a:cubicBezTo>
                  <a:cubicBezTo>
                    <a:pt x="310433" y="128232"/>
                    <a:pt x="294198" y="123321"/>
                    <a:pt x="275306" y="130035"/>
                  </a:cubicBezTo>
                  <a:cubicBezTo>
                    <a:pt x="270796" y="131639"/>
                    <a:pt x="266086" y="132691"/>
                    <a:pt x="261075" y="133794"/>
                  </a:cubicBezTo>
                  <a:cubicBezTo>
                    <a:pt x="258670" y="134345"/>
                    <a:pt x="256214" y="134896"/>
                    <a:pt x="253559" y="135548"/>
                  </a:cubicBezTo>
                  <a:lnTo>
                    <a:pt x="250853" y="136199"/>
                  </a:lnTo>
                  <a:lnTo>
                    <a:pt x="250301" y="133443"/>
                  </a:lnTo>
                  <a:cubicBezTo>
                    <a:pt x="247946" y="121918"/>
                    <a:pt x="240780" y="116305"/>
                    <a:pt x="230057" y="111044"/>
                  </a:cubicBezTo>
                  <a:cubicBezTo>
                    <a:pt x="224294" y="108188"/>
                    <a:pt x="218882" y="104680"/>
                    <a:pt x="213621" y="101222"/>
                  </a:cubicBezTo>
                  <a:lnTo>
                    <a:pt x="209612" y="98617"/>
                  </a:lnTo>
                  <a:cubicBezTo>
                    <a:pt x="201494" y="93455"/>
                    <a:pt x="193927" y="87893"/>
                    <a:pt x="190019" y="76969"/>
                  </a:cubicBezTo>
                  <a:cubicBezTo>
                    <a:pt x="187563" y="70204"/>
                    <a:pt x="181200" y="62136"/>
                    <a:pt x="171428" y="61786"/>
                  </a:cubicBezTo>
                  <a:cubicBezTo>
                    <a:pt x="155393" y="61184"/>
                    <a:pt x="147375" y="51212"/>
                    <a:pt x="141612" y="41491"/>
                  </a:cubicBezTo>
                  <a:cubicBezTo>
                    <a:pt x="137203" y="34125"/>
                    <a:pt x="134046" y="32020"/>
                    <a:pt x="132092" y="31469"/>
                  </a:cubicBezTo>
                  <a:cubicBezTo>
                    <a:pt x="116557" y="27360"/>
                    <a:pt x="104681" y="17939"/>
                    <a:pt x="94609" y="1804"/>
                  </a:cubicBezTo>
                  <a:cubicBezTo>
                    <a:pt x="94459" y="1604"/>
                    <a:pt x="93657" y="1203"/>
                    <a:pt x="93006" y="852"/>
                  </a:cubicBezTo>
                  <a:cubicBezTo>
                    <a:pt x="92555" y="601"/>
                    <a:pt x="92004" y="351"/>
                    <a:pt x="91452" y="0"/>
                  </a:cubicBezTo>
                  <a:lnTo>
                    <a:pt x="89247" y="952"/>
                  </a:lnTo>
                  <a:cubicBezTo>
                    <a:pt x="84637" y="2906"/>
                    <a:pt x="79576" y="5111"/>
                    <a:pt x="74515" y="7316"/>
                  </a:cubicBezTo>
                  <a:cubicBezTo>
                    <a:pt x="71909" y="8469"/>
                    <a:pt x="69304" y="9621"/>
                    <a:pt x="66748" y="10773"/>
                  </a:cubicBezTo>
                  <a:cubicBezTo>
                    <a:pt x="62238" y="12828"/>
                    <a:pt x="57528" y="14933"/>
                    <a:pt x="52817" y="16837"/>
                  </a:cubicBezTo>
                  <a:cubicBezTo>
                    <a:pt x="49159" y="18290"/>
                    <a:pt x="45401" y="19543"/>
                    <a:pt x="41743" y="20745"/>
                  </a:cubicBezTo>
                  <a:cubicBezTo>
                    <a:pt x="38686" y="21748"/>
                    <a:pt x="35680" y="22750"/>
                    <a:pt x="32673" y="23852"/>
                  </a:cubicBezTo>
                  <a:cubicBezTo>
                    <a:pt x="27562" y="25756"/>
                    <a:pt x="22551" y="27861"/>
                    <a:pt x="17239" y="30116"/>
                  </a:cubicBezTo>
                  <a:lnTo>
                    <a:pt x="12429" y="32120"/>
                  </a:lnTo>
                  <a:cubicBezTo>
                    <a:pt x="13882" y="52114"/>
                    <a:pt x="8019" y="69653"/>
                    <a:pt x="1354" y="87342"/>
                  </a:cubicBezTo>
                  <a:cubicBezTo>
                    <a:pt x="-951" y="93455"/>
                    <a:pt x="152" y="99468"/>
                    <a:pt x="1254" y="105883"/>
                  </a:cubicBezTo>
                  <a:cubicBezTo>
                    <a:pt x="1455" y="106985"/>
                    <a:pt x="1655" y="108088"/>
                    <a:pt x="1805" y="109240"/>
                  </a:cubicBezTo>
                  <a:cubicBezTo>
                    <a:pt x="5463" y="131990"/>
                    <a:pt x="13782" y="139807"/>
                    <a:pt x="35980" y="141561"/>
                  </a:cubicBezTo>
                  <a:cubicBezTo>
                    <a:pt x="39438" y="141812"/>
                    <a:pt x="42795" y="142313"/>
                    <a:pt x="45501" y="142713"/>
                  </a:cubicBezTo>
                  <a:lnTo>
                    <a:pt x="49159" y="143214"/>
                  </a:lnTo>
                  <a:lnTo>
                    <a:pt x="49811" y="144016"/>
                  </a:lnTo>
                  <a:cubicBezTo>
                    <a:pt x="51515" y="146071"/>
                    <a:pt x="52968" y="148075"/>
                    <a:pt x="54371" y="150030"/>
                  </a:cubicBezTo>
                  <a:cubicBezTo>
                    <a:pt x="57077" y="153738"/>
                    <a:pt x="59382" y="156945"/>
                    <a:pt x="62288" y="158699"/>
                  </a:cubicBezTo>
                  <a:cubicBezTo>
                    <a:pt x="65345" y="160603"/>
                    <a:pt x="69404" y="161154"/>
                    <a:pt x="73312" y="161755"/>
                  </a:cubicBezTo>
                  <a:cubicBezTo>
                    <a:pt x="75066" y="162006"/>
                    <a:pt x="76720" y="162257"/>
                    <a:pt x="78223" y="162607"/>
                  </a:cubicBezTo>
                  <a:lnTo>
                    <a:pt x="79526" y="162908"/>
                  </a:lnTo>
                  <a:lnTo>
                    <a:pt x="80077" y="164111"/>
                  </a:lnTo>
                  <a:cubicBezTo>
                    <a:pt x="81079" y="166215"/>
                    <a:pt x="81881" y="168420"/>
                    <a:pt x="82583" y="170474"/>
                  </a:cubicBezTo>
                  <a:cubicBezTo>
                    <a:pt x="83836" y="173982"/>
                    <a:pt x="85038" y="177290"/>
                    <a:pt x="86842" y="178542"/>
                  </a:cubicBezTo>
                  <a:cubicBezTo>
                    <a:pt x="101675" y="188765"/>
                    <a:pt x="105684" y="203998"/>
                    <a:pt x="109542" y="218781"/>
                  </a:cubicBezTo>
                  <a:lnTo>
                    <a:pt x="110845" y="223741"/>
                  </a:lnTo>
                  <a:lnTo>
                    <a:pt x="110444" y="224643"/>
                  </a:lnTo>
                  <a:cubicBezTo>
                    <a:pt x="104230" y="237672"/>
                    <a:pt x="95611" y="249749"/>
                    <a:pt x="83385" y="262376"/>
                  </a:cubicBezTo>
                  <a:cubicBezTo>
                    <a:pt x="85389" y="263379"/>
                    <a:pt x="87093" y="264230"/>
                    <a:pt x="88345" y="265784"/>
                  </a:cubicBezTo>
                  <a:cubicBezTo>
                    <a:pt x="90500" y="268440"/>
                    <a:pt x="92304" y="271246"/>
                    <a:pt x="94008" y="273952"/>
                  </a:cubicBezTo>
                  <a:cubicBezTo>
                    <a:pt x="94459" y="274653"/>
                    <a:pt x="94860" y="275305"/>
                    <a:pt x="95311" y="276006"/>
                  </a:cubicBezTo>
                  <a:cubicBezTo>
                    <a:pt x="95361" y="276006"/>
                    <a:pt x="95461" y="276006"/>
                    <a:pt x="95511" y="276006"/>
                  </a:cubicBezTo>
                  <a:cubicBezTo>
                    <a:pt x="95812" y="276056"/>
                    <a:pt x="96062" y="276157"/>
                    <a:pt x="96263" y="276157"/>
                  </a:cubicBezTo>
                  <a:cubicBezTo>
                    <a:pt x="102426" y="274954"/>
                    <a:pt x="107287" y="274253"/>
                    <a:pt x="111146" y="274253"/>
                  </a:cubicBezTo>
                  <a:cubicBezTo>
                    <a:pt x="122270" y="274253"/>
                    <a:pt x="125728" y="280115"/>
                    <a:pt x="130288" y="297253"/>
                  </a:cubicBezTo>
                  <a:cubicBezTo>
                    <a:pt x="131841" y="303216"/>
                    <a:pt x="135048" y="306574"/>
                    <a:pt x="140660" y="308177"/>
                  </a:cubicBezTo>
                  <a:cubicBezTo>
                    <a:pt x="145671" y="309630"/>
                    <a:pt x="150783" y="310482"/>
                    <a:pt x="156245" y="311384"/>
                  </a:cubicBezTo>
                  <a:cubicBezTo>
                    <a:pt x="158700" y="311785"/>
                    <a:pt x="161155" y="312186"/>
                    <a:pt x="163711" y="312687"/>
                  </a:cubicBezTo>
                  <a:lnTo>
                    <a:pt x="165114" y="312937"/>
                  </a:lnTo>
                  <a:lnTo>
                    <a:pt x="165665" y="314240"/>
                  </a:lnTo>
                  <a:cubicBezTo>
                    <a:pt x="167369" y="318199"/>
                    <a:pt x="168973" y="321707"/>
                    <a:pt x="170476" y="325265"/>
                  </a:cubicBezTo>
                  <a:cubicBezTo>
                    <a:pt x="174284" y="334034"/>
                    <a:pt x="177892" y="343104"/>
                    <a:pt x="181400" y="351823"/>
                  </a:cubicBezTo>
                  <a:cubicBezTo>
                    <a:pt x="191372" y="376627"/>
                    <a:pt x="201745" y="402284"/>
                    <a:pt x="216577" y="425184"/>
                  </a:cubicBezTo>
                  <a:cubicBezTo>
                    <a:pt x="221688" y="433051"/>
                    <a:pt x="224044" y="441821"/>
                    <a:pt x="224144" y="453496"/>
                  </a:cubicBezTo>
                  <a:cubicBezTo>
                    <a:pt x="224144" y="455851"/>
                    <a:pt x="224094" y="458257"/>
                    <a:pt x="223993" y="460612"/>
                  </a:cubicBezTo>
                  <a:cubicBezTo>
                    <a:pt x="223743" y="467778"/>
                    <a:pt x="223492" y="474593"/>
                    <a:pt x="225998" y="481608"/>
                  </a:cubicBezTo>
                  <a:cubicBezTo>
                    <a:pt x="226699" y="481508"/>
                    <a:pt x="227401" y="481358"/>
                    <a:pt x="228052" y="481257"/>
                  </a:cubicBezTo>
                  <a:cubicBezTo>
                    <a:pt x="231310" y="480656"/>
                    <a:pt x="234366" y="480105"/>
                    <a:pt x="237373" y="479353"/>
                  </a:cubicBezTo>
                  <a:cubicBezTo>
                    <a:pt x="253007" y="475445"/>
                    <a:pt x="261776" y="466625"/>
                    <a:pt x="264933" y="451642"/>
                  </a:cubicBezTo>
                  <a:cubicBezTo>
                    <a:pt x="267038" y="441771"/>
                    <a:pt x="270997" y="432300"/>
                    <a:pt x="274805" y="423130"/>
                  </a:cubicBezTo>
                  <a:lnTo>
                    <a:pt x="275206" y="422228"/>
                  </a:lnTo>
                  <a:cubicBezTo>
                    <a:pt x="277210" y="417417"/>
                    <a:pt x="281670" y="414260"/>
                    <a:pt x="286481" y="414210"/>
                  </a:cubicBezTo>
                  <a:cubicBezTo>
                    <a:pt x="286531" y="414210"/>
                    <a:pt x="286631" y="414210"/>
                    <a:pt x="286681" y="414210"/>
                  </a:cubicBezTo>
                  <a:cubicBezTo>
                    <a:pt x="290991" y="414210"/>
                    <a:pt x="294699" y="416665"/>
                    <a:pt x="296603" y="420774"/>
                  </a:cubicBezTo>
                  <a:cubicBezTo>
                    <a:pt x="301263" y="430847"/>
                    <a:pt x="308680" y="432751"/>
                    <a:pt x="319153" y="432350"/>
                  </a:cubicBezTo>
                  <a:cubicBezTo>
                    <a:pt x="324765" y="432200"/>
                    <a:pt x="330377" y="432150"/>
                    <a:pt x="335839" y="432200"/>
                  </a:cubicBezTo>
                  <a:cubicBezTo>
                    <a:pt x="343155" y="432400"/>
                    <a:pt x="348567" y="429143"/>
                    <a:pt x="352927" y="422228"/>
                  </a:cubicBezTo>
                  <a:cubicBezTo>
                    <a:pt x="355132" y="418720"/>
                    <a:pt x="357387" y="415313"/>
                    <a:pt x="359742" y="411704"/>
                  </a:cubicBezTo>
                  <a:lnTo>
                    <a:pt x="364252" y="404789"/>
                  </a:lnTo>
                  <a:lnTo>
                    <a:pt x="365955" y="405040"/>
                  </a:lnTo>
                  <a:cubicBezTo>
                    <a:pt x="367910" y="405340"/>
                    <a:pt x="369764" y="405591"/>
                    <a:pt x="371568" y="405842"/>
                  </a:cubicBezTo>
                  <a:cubicBezTo>
                    <a:pt x="375576" y="406393"/>
                    <a:pt x="379385" y="406944"/>
                    <a:pt x="383093" y="407796"/>
                  </a:cubicBezTo>
                  <a:cubicBezTo>
                    <a:pt x="395470" y="410702"/>
                    <a:pt x="410052" y="414210"/>
                    <a:pt x="424434" y="418169"/>
                  </a:cubicBezTo>
                  <a:cubicBezTo>
                    <a:pt x="436110" y="421376"/>
                    <a:pt x="445580" y="420474"/>
                    <a:pt x="454249" y="415313"/>
                  </a:cubicBezTo>
                  <a:lnTo>
                    <a:pt x="455602" y="414511"/>
                  </a:lnTo>
                  <a:cubicBezTo>
                    <a:pt x="460814" y="411404"/>
                    <a:pt x="466226" y="408197"/>
                    <a:pt x="472189" y="407044"/>
                  </a:cubicBezTo>
                  <a:cubicBezTo>
                    <a:pt x="476749" y="406193"/>
                    <a:pt x="481409" y="406693"/>
                    <a:pt x="486771" y="407345"/>
                  </a:cubicBezTo>
                  <a:cubicBezTo>
                    <a:pt x="488224" y="407495"/>
                    <a:pt x="489727" y="407696"/>
                    <a:pt x="491331" y="407846"/>
                  </a:cubicBezTo>
                  <a:lnTo>
                    <a:pt x="490228" y="402184"/>
                  </a:lnTo>
                  <a:cubicBezTo>
                    <a:pt x="485719" y="378682"/>
                    <a:pt x="481409" y="356483"/>
                    <a:pt x="469884" y="336740"/>
                  </a:cubicBezTo>
                  <a:cubicBezTo>
                    <a:pt x="464873" y="328171"/>
                    <a:pt x="462568" y="320304"/>
                    <a:pt x="462367" y="31123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32" name="Полилиния: фигура 131">
              <a:extLst>
                <a:ext uri="{FF2B5EF4-FFF2-40B4-BE49-F238E27FC236}">
                  <a16:creationId xmlns:a16="http://schemas.microsoft.com/office/drawing/2014/main" id="{82A208A8-8A3E-4C20-B12D-877EBD190069}"/>
                </a:ext>
              </a:extLst>
            </p:cNvPr>
            <p:cNvSpPr/>
            <p:nvPr/>
          </p:nvSpPr>
          <p:spPr>
            <a:xfrm>
              <a:off x="5269100" y="4889345"/>
              <a:ext cx="384271" cy="672289"/>
            </a:xfrm>
            <a:custGeom>
              <a:avLst/>
              <a:gdLst>
                <a:gd name="connsiteX0" fmla="*/ 99970 w 308126"/>
                <a:gd name="connsiteY0" fmla="*/ 477337 h 539072"/>
                <a:gd name="connsiteX1" fmla="*/ 106334 w 308126"/>
                <a:gd name="connsiteY1" fmla="*/ 492119 h 539072"/>
                <a:gd name="connsiteX2" fmla="*/ 121517 w 308126"/>
                <a:gd name="connsiteY2" fmla="*/ 506551 h 539072"/>
                <a:gd name="connsiteX3" fmla="*/ 123371 w 308126"/>
                <a:gd name="connsiteY3" fmla="*/ 508305 h 539072"/>
                <a:gd name="connsiteX4" fmla="*/ 140559 w 308126"/>
                <a:gd name="connsiteY4" fmla="*/ 500538 h 539072"/>
                <a:gd name="connsiteX5" fmla="*/ 161856 w 308126"/>
                <a:gd name="connsiteY5" fmla="*/ 517625 h 539072"/>
                <a:gd name="connsiteX6" fmla="*/ 181599 w 308126"/>
                <a:gd name="connsiteY6" fmla="*/ 506250 h 539072"/>
                <a:gd name="connsiteX7" fmla="*/ 185859 w 308126"/>
                <a:gd name="connsiteY7" fmla="*/ 539072 h 539072"/>
                <a:gd name="connsiteX8" fmla="*/ 241531 w 308126"/>
                <a:gd name="connsiteY8" fmla="*/ 503093 h 539072"/>
                <a:gd name="connsiteX9" fmla="*/ 238574 w 308126"/>
                <a:gd name="connsiteY9" fmla="*/ 495025 h 539072"/>
                <a:gd name="connsiteX10" fmla="*/ 230456 w 308126"/>
                <a:gd name="connsiteY10" fmla="*/ 473779 h 539072"/>
                <a:gd name="connsiteX11" fmla="*/ 228953 w 308126"/>
                <a:gd name="connsiteY11" fmla="*/ 451129 h 539072"/>
                <a:gd name="connsiteX12" fmla="*/ 229254 w 308126"/>
                <a:gd name="connsiteY12" fmla="*/ 428279 h 539072"/>
                <a:gd name="connsiteX13" fmla="*/ 231308 w 308126"/>
                <a:gd name="connsiteY13" fmla="*/ 398914 h 539072"/>
                <a:gd name="connsiteX14" fmla="*/ 260823 w 308126"/>
                <a:gd name="connsiteY14" fmla="*/ 360831 h 539072"/>
                <a:gd name="connsiteX15" fmla="*/ 254208 w 308126"/>
                <a:gd name="connsiteY15" fmla="*/ 339484 h 539072"/>
                <a:gd name="connsiteX16" fmla="*/ 253808 w 308126"/>
                <a:gd name="connsiteY16" fmla="*/ 338281 h 539072"/>
                <a:gd name="connsiteX17" fmla="*/ 265834 w 308126"/>
                <a:gd name="connsiteY17" fmla="*/ 320091 h 539072"/>
                <a:gd name="connsiteX18" fmla="*/ 245790 w 308126"/>
                <a:gd name="connsiteY18" fmla="*/ 309468 h 539072"/>
                <a:gd name="connsiteX19" fmla="*/ 229104 w 308126"/>
                <a:gd name="connsiteY19" fmla="*/ 305609 h 539072"/>
                <a:gd name="connsiteX20" fmla="*/ 227801 w 308126"/>
                <a:gd name="connsiteY20" fmla="*/ 304808 h 539072"/>
                <a:gd name="connsiteX21" fmla="*/ 227801 w 308126"/>
                <a:gd name="connsiteY21" fmla="*/ 303304 h 539072"/>
                <a:gd name="connsiteX22" fmla="*/ 227700 w 308126"/>
                <a:gd name="connsiteY22" fmla="*/ 299345 h 539072"/>
                <a:gd name="connsiteX23" fmla="*/ 227951 w 308126"/>
                <a:gd name="connsiteY23" fmla="*/ 289524 h 539072"/>
                <a:gd name="connsiteX24" fmla="*/ 248997 w 308126"/>
                <a:gd name="connsiteY24" fmla="*/ 238061 h 539072"/>
                <a:gd name="connsiteX25" fmla="*/ 243685 w 308126"/>
                <a:gd name="connsiteY25" fmla="*/ 196419 h 539072"/>
                <a:gd name="connsiteX26" fmla="*/ 250751 w 308126"/>
                <a:gd name="connsiteY26" fmla="*/ 179733 h 539072"/>
                <a:gd name="connsiteX27" fmla="*/ 257516 w 308126"/>
                <a:gd name="connsiteY27" fmla="*/ 172467 h 539072"/>
                <a:gd name="connsiteX28" fmla="*/ 305171 w 308126"/>
                <a:gd name="connsiteY28" fmla="*/ 137490 h 539072"/>
                <a:gd name="connsiteX29" fmla="*/ 306523 w 308126"/>
                <a:gd name="connsiteY29" fmla="*/ 136087 h 539072"/>
                <a:gd name="connsiteX30" fmla="*/ 308127 w 308126"/>
                <a:gd name="connsiteY30" fmla="*/ 134383 h 539072"/>
                <a:gd name="connsiteX31" fmla="*/ 307776 w 308126"/>
                <a:gd name="connsiteY31" fmla="*/ 128019 h 539072"/>
                <a:gd name="connsiteX32" fmla="*/ 306523 w 308126"/>
                <a:gd name="connsiteY32" fmla="*/ 109027 h 539072"/>
                <a:gd name="connsiteX33" fmla="*/ 305120 w 308126"/>
                <a:gd name="connsiteY33" fmla="*/ 97802 h 539072"/>
                <a:gd name="connsiteX34" fmla="*/ 303317 w 308126"/>
                <a:gd name="connsiteY34" fmla="*/ 80715 h 539072"/>
                <a:gd name="connsiteX35" fmla="*/ 285076 w 308126"/>
                <a:gd name="connsiteY35" fmla="*/ 36418 h 539072"/>
                <a:gd name="connsiteX36" fmla="*/ 282972 w 308126"/>
                <a:gd name="connsiteY36" fmla="*/ 32108 h 539072"/>
                <a:gd name="connsiteX37" fmla="*/ 282521 w 308126"/>
                <a:gd name="connsiteY37" fmla="*/ 30405 h 539072"/>
                <a:gd name="connsiteX38" fmla="*/ 282220 w 308126"/>
                <a:gd name="connsiteY38" fmla="*/ 29503 h 539072"/>
                <a:gd name="connsiteX39" fmla="*/ 282521 w 308126"/>
                <a:gd name="connsiteY39" fmla="*/ 28600 h 539072"/>
                <a:gd name="connsiteX40" fmla="*/ 284776 w 308126"/>
                <a:gd name="connsiteY40" fmla="*/ 22487 h 539072"/>
                <a:gd name="connsiteX41" fmla="*/ 289987 w 308126"/>
                <a:gd name="connsiteY41" fmla="*/ 7103 h 539072"/>
                <a:gd name="connsiteX42" fmla="*/ 289436 w 308126"/>
                <a:gd name="connsiteY42" fmla="*/ 3295 h 539072"/>
                <a:gd name="connsiteX43" fmla="*/ 286479 w 308126"/>
                <a:gd name="connsiteY43" fmla="*/ 1340 h 539072"/>
                <a:gd name="connsiteX44" fmla="*/ 256413 w 308126"/>
                <a:gd name="connsiteY44" fmla="*/ 4698 h 539072"/>
                <a:gd name="connsiteX45" fmla="*/ 240929 w 308126"/>
                <a:gd name="connsiteY45" fmla="*/ 14169 h 539072"/>
                <a:gd name="connsiteX46" fmla="*/ 232812 w 308126"/>
                <a:gd name="connsiteY46" fmla="*/ 19130 h 539072"/>
                <a:gd name="connsiteX47" fmla="*/ 231509 w 308126"/>
                <a:gd name="connsiteY47" fmla="*/ 18529 h 539072"/>
                <a:gd name="connsiteX48" fmla="*/ 223491 w 308126"/>
                <a:gd name="connsiteY48" fmla="*/ 14820 h 539072"/>
                <a:gd name="connsiteX49" fmla="*/ 205151 w 308126"/>
                <a:gd name="connsiteY49" fmla="*/ 6652 h 539072"/>
                <a:gd name="connsiteX50" fmla="*/ 196131 w 308126"/>
                <a:gd name="connsiteY50" fmla="*/ 4548 h 539072"/>
                <a:gd name="connsiteX51" fmla="*/ 158298 w 308126"/>
                <a:gd name="connsiteY51" fmla="*/ 9358 h 539072"/>
                <a:gd name="connsiteX52" fmla="*/ 146121 w 308126"/>
                <a:gd name="connsiteY52" fmla="*/ 9108 h 539072"/>
                <a:gd name="connsiteX53" fmla="*/ 112998 w 308126"/>
                <a:gd name="connsiteY53" fmla="*/ 16724 h 539072"/>
                <a:gd name="connsiteX54" fmla="*/ 111796 w 308126"/>
                <a:gd name="connsiteY54" fmla="*/ 17676 h 539072"/>
                <a:gd name="connsiteX55" fmla="*/ 110343 w 308126"/>
                <a:gd name="connsiteY55" fmla="*/ 17125 h 539072"/>
                <a:gd name="connsiteX56" fmla="*/ 95760 w 308126"/>
                <a:gd name="connsiteY56" fmla="*/ 11263 h 539072"/>
                <a:gd name="connsiteX57" fmla="*/ 94558 w 308126"/>
                <a:gd name="connsiteY57" fmla="*/ 10761 h 539072"/>
                <a:gd name="connsiteX58" fmla="*/ 89397 w 308126"/>
                <a:gd name="connsiteY58" fmla="*/ 15672 h 539072"/>
                <a:gd name="connsiteX59" fmla="*/ 77069 w 308126"/>
                <a:gd name="connsiteY59" fmla="*/ 27648 h 539072"/>
                <a:gd name="connsiteX60" fmla="*/ 48757 w 308126"/>
                <a:gd name="connsiteY60" fmla="*/ 34614 h 539072"/>
                <a:gd name="connsiteX61" fmla="*/ 21948 w 308126"/>
                <a:gd name="connsiteY61" fmla="*/ 37620 h 539072"/>
                <a:gd name="connsiteX62" fmla="*/ 12277 w 308126"/>
                <a:gd name="connsiteY62" fmla="*/ 40777 h 539072"/>
                <a:gd name="connsiteX63" fmla="*/ 10172 w 308126"/>
                <a:gd name="connsiteY63" fmla="*/ 43834 h 539072"/>
                <a:gd name="connsiteX64" fmla="*/ 9571 w 308126"/>
                <a:gd name="connsiteY64" fmla="*/ 44886 h 539072"/>
                <a:gd name="connsiteX65" fmla="*/ 8218 w 308126"/>
                <a:gd name="connsiteY65" fmla="*/ 63177 h 539072"/>
                <a:gd name="connsiteX66" fmla="*/ 9471 w 308126"/>
                <a:gd name="connsiteY66" fmla="*/ 67336 h 539072"/>
                <a:gd name="connsiteX67" fmla="*/ 14732 w 308126"/>
                <a:gd name="connsiteY67" fmla="*/ 91238 h 539072"/>
                <a:gd name="connsiteX68" fmla="*/ 23552 w 308126"/>
                <a:gd name="connsiteY68" fmla="*/ 122557 h 539072"/>
                <a:gd name="connsiteX69" fmla="*/ 24554 w 308126"/>
                <a:gd name="connsiteY69" fmla="*/ 123810 h 539072"/>
                <a:gd name="connsiteX70" fmla="*/ 23953 w 308126"/>
                <a:gd name="connsiteY70" fmla="*/ 125263 h 539072"/>
                <a:gd name="connsiteX71" fmla="*/ 22049 w 308126"/>
                <a:gd name="connsiteY71" fmla="*/ 130124 h 539072"/>
                <a:gd name="connsiteX72" fmla="*/ 17940 w 308126"/>
                <a:gd name="connsiteY72" fmla="*/ 139394 h 539072"/>
                <a:gd name="connsiteX73" fmla="*/ 13379 w 308126"/>
                <a:gd name="connsiteY73" fmla="*/ 177027 h 539072"/>
                <a:gd name="connsiteX74" fmla="*/ 7216 w 308126"/>
                <a:gd name="connsiteY74" fmla="*/ 210801 h 539072"/>
                <a:gd name="connsiteX75" fmla="*/ 1654 w 308126"/>
                <a:gd name="connsiteY75" fmla="*/ 220873 h 539072"/>
                <a:gd name="connsiteX76" fmla="*/ 0 w 308126"/>
                <a:gd name="connsiteY76" fmla="*/ 224581 h 539072"/>
                <a:gd name="connsiteX77" fmla="*/ 5261 w 308126"/>
                <a:gd name="connsiteY77" fmla="*/ 231196 h 539072"/>
                <a:gd name="connsiteX78" fmla="*/ 16837 w 308126"/>
                <a:gd name="connsiteY78" fmla="*/ 247482 h 539072"/>
                <a:gd name="connsiteX79" fmla="*/ 40539 w 308126"/>
                <a:gd name="connsiteY79" fmla="*/ 269179 h 539072"/>
                <a:gd name="connsiteX80" fmla="*/ 42744 w 308126"/>
                <a:gd name="connsiteY80" fmla="*/ 269731 h 539072"/>
                <a:gd name="connsiteX81" fmla="*/ 42543 w 308126"/>
                <a:gd name="connsiteY81" fmla="*/ 272035 h 539072"/>
                <a:gd name="connsiteX82" fmla="*/ 57326 w 308126"/>
                <a:gd name="connsiteY82" fmla="*/ 303003 h 539072"/>
                <a:gd name="connsiteX83" fmla="*/ 59330 w 308126"/>
                <a:gd name="connsiteY83" fmla="*/ 305008 h 539072"/>
                <a:gd name="connsiteX84" fmla="*/ 60683 w 308126"/>
                <a:gd name="connsiteY84" fmla="*/ 306411 h 539072"/>
                <a:gd name="connsiteX85" fmla="*/ 71607 w 308126"/>
                <a:gd name="connsiteY85" fmla="*/ 331416 h 539072"/>
                <a:gd name="connsiteX86" fmla="*/ 71958 w 308126"/>
                <a:gd name="connsiteY86" fmla="*/ 342641 h 539072"/>
                <a:gd name="connsiteX87" fmla="*/ 90749 w 308126"/>
                <a:gd name="connsiteY87" fmla="*/ 366794 h 539072"/>
                <a:gd name="connsiteX88" fmla="*/ 101924 w 308126"/>
                <a:gd name="connsiteY88" fmla="*/ 370502 h 539072"/>
                <a:gd name="connsiteX89" fmla="*/ 106584 w 308126"/>
                <a:gd name="connsiteY89" fmla="*/ 372005 h 539072"/>
                <a:gd name="connsiteX90" fmla="*/ 106985 w 308126"/>
                <a:gd name="connsiteY90" fmla="*/ 373358 h 539072"/>
                <a:gd name="connsiteX91" fmla="*/ 101473 w 308126"/>
                <a:gd name="connsiteY91" fmla="*/ 396609 h 539072"/>
                <a:gd name="connsiteX92" fmla="*/ 97314 w 308126"/>
                <a:gd name="connsiteY92" fmla="*/ 419209 h 539072"/>
                <a:gd name="connsiteX93" fmla="*/ 96763 w 308126"/>
                <a:gd name="connsiteY93" fmla="*/ 436998 h 539072"/>
                <a:gd name="connsiteX94" fmla="*/ 95710 w 308126"/>
                <a:gd name="connsiteY94" fmla="*/ 440005 h 539072"/>
                <a:gd name="connsiteX95" fmla="*/ 94858 w 308126"/>
                <a:gd name="connsiteY95" fmla="*/ 448423 h 539072"/>
                <a:gd name="connsiteX96" fmla="*/ 99819 w 308126"/>
                <a:gd name="connsiteY96" fmla="*/ 477286 h 539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08126" h="539072">
                  <a:moveTo>
                    <a:pt x="99970" y="477337"/>
                  </a:moveTo>
                  <a:cubicBezTo>
                    <a:pt x="99869" y="483149"/>
                    <a:pt x="101924" y="488010"/>
                    <a:pt x="106334" y="492119"/>
                  </a:cubicBezTo>
                  <a:cubicBezTo>
                    <a:pt x="111445" y="496930"/>
                    <a:pt x="116556" y="501790"/>
                    <a:pt x="121517" y="506551"/>
                  </a:cubicBezTo>
                  <a:lnTo>
                    <a:pt x="123371" y="508305"/>
                  </a:lnTo>
                  <a:lnTo>
                    <a:pt x="140559" y="500538"/>
                  </a:lnTo>
                  <a:lnTo>
                    <a:pt x="161856" y="517625"/>
                  </a:lnTo>
                  <a:lnTo>
                    <a:pt x="181599" y="506250"/>
                  </a:lnTo>
                  <a:lnTo>
                    <a:pt x="185859" y="539072"/>
                  </a:lnTo>
                  <a:cubicBezTo>
                    <a:pt x="207406" y="532558"/>
                    <a:pt x="223892" y="519930"/>
                    <a:pt x="241531" y="503093"/>
                  </a:cubicBezTo>
                  <a:cubicBezTo>
                    <a:pt x="240528" y="500387"/>
                    <a:pt x="239526" y="497681"/>
                    <a:pt x="238574" y="495025"/>
                  </a:cubicBezTo>
                  <a:cubicBezTo>
                    <a:pt x="235868" y="487659"/>
                    <a:pt x="233363" y="480694"/>
                    <a:pt x="230456" y="473779"/>
                  </a:cubicBezTo>
                  <a:cubicBezTo>
                    <a:pt x="227350" y="466413"/>
                    <a:pt x="224894" y="459097"/>
                    <a:pt x="228953" y="451129"/>
                  </a:cubicBezTo>
                  <a:cubicBezTo>
                    <a:pt x="232561" y="444013"/>
                    <a:pt x="232661" y="436797"/>
                    <a:pt x="229254" y="428279"/>
                  </a:cubicBezTo>
                  <a:cubicBezTo>
                    <a:pt x="225596" y="419209"/>
                    <a:pt x="226247" y="409888"/>
                    <a:pt x="231308" y="398914"/>
                  </a:cubicBezTo>
                  <a:cubicBezTo>
                    <a:pt x="237873" y="384783"/>
                    <a:pt x="245539" y="370251"/>
                    <a:pt x="260823" y="360831"/>
                  </a:cubicBezTo>
                  <a:cubicBezTo>
                    <a:pt x="258468" y="353214"/>
                    <a:pt x="256313" y="346449"/>
                    <a:pt x="254208" y="339484"/>
                  </a:cubicBezTo>
                  <a:lnTo>
                    <a:pt x="253808" y="338281"/>
                  </a:lnTo>
                  <a:lnTo>
                    <a:pt x="265834" y="320091"/>
                  </a:lnTo>
                  <a:cubicBezTo>
                    <a:pt x="261725" y="310520"/>
                    <a:pt x="254660" y="310069"/>
                    <a:pt x="245790" y="309468"/>
                  </a:cubicBezTo>
                  <a:cubicBezTo>
                    <a:pt x="240128" y="309067"/>
                    <a:pt x="234265" y="308716"/>
                    <a:pt x="229104" y="305609"/>
                  </a:cubicBezTo>
                  <a:lnTo>
                    <a:pt x="227801" y="304808"/>
                  </a:lnTo>
                  <a:lnTo>
                    <a:pt x="227801" y="303304"/>
                  </a:lnTo>
                  <a:cubicBezTo>
                    <a:pt x="227801" y="302001"/>
                    <a:pt x="227801" y="300699"/>
                    <a:pt x="227700" y="299345"/>
                  </a:cubicBezTo>
                  <a:cubicBezTo>
                    <a:pt x="227600" y="296138"/>
                    <a:pt x="227450" y="292831"/>
                    <a:pt x="227951" y="289524"/>
                  </a:cubicBezTo>
                  <a:cubicBezTo>
                    <a:pt x="230607" y="269630"/>
                    <a:pt x="239927" y="252392"/>
                    <a:pt x="248997" y="238061"/>
                  </a:cubicBezTo>
                  <a:cubicBezTo>
                    <a:pt x="241481" y="224330"/>
                    <a:pt x="242583" y="210150"/>
                    <a:pt x="243685" y="196419"/>
                  </a:cubicBezTo>
                  <a:cubicBezTo>
                    <a:pt x="244186" y="190156"/>
                    <a:pt x="246943" y="183741"/>
                    <a:pt x="250751" y="179733"/>
                  </a:cubicBezTo>
                  <a:cubicBezTo>
                    <a:pt x="253006" y="177327"/>
                    <a:pt x="255261" y="174922"/>
                    <a:pt x="257516" y="172467"/>
                  </a:cubicBezTo>
                  <a:cubicBezTo>
                    <a:pt x="270745" y="158085"/>
                    <a:pt x="284425" y="143252"/>
                    <a:pt x="305171" y="137490"/>
                  </a:cubicBezTo>
                  <a:cubicBezTo>
                    <a:pt x="305321" y="137390"/>
                    <a:pt x="305972" y="136688"/>
                    <a:pt x="306523" y="136087"/>
                  </a:cubicBezTo>
                  <a:cubicBezTo>
                    <a:pt x="306975" y="135586"/>
                    <a:pt x="307526" y="135035"/>
                    <a:pt x="308127" y="134383"/>
                  </a:cubicBezTo>
                  <a:cubicBezTo>
                    <a:pt x="308027" y="132328"/>
                    <a:pt x="307876" y="130224"/>
                    <a:pt x="307776" y="128019"/>
                  </a:cubicBezTo>
                  <a:cubicBezTo>
                    <a:pt x="307476" y="121856"/>
                    <a:pt x="307125" y="115491"/>
                    <a:pt x="306523" y="109027"/>
                  </a:cubicBezTo>
                  <a:cubicBezTo>
                    <a:pt x="306173" y="105269"/>
                    <a:pt x="305621" y="101561"/>
                    <a:pt x="305120" y="97802"/>
                  </a:cubicBezTo>
                  <a:cubicBezTo>
                    <a:pt x="304319" y="92240"/>
                    <a:pt x="303467" y="86478"/>
                    <a:pt x="303317" y="80715"/>
                  </a:cubicBezTo>
                  <a:cubicBezTo>
                    <a:pt x="302765" y="60120"/>
                    <a:pt x="297153" y="46440"/>
                    <a:pt x="285076" y="36418"/>
                  </a:cubicBezTo>
                  <a:cubicBezTo>
                    <a:pt x="283723" y="35315"/>
                    <a:pt x="283322" y="33611"/>
                    <a:pt x="282972" y="32108"/>
                  </a:cubicBezTo>
                  <a:cubicBezTo>
                    <a:pt x="282821" y="31557"/>
                    <a:pt x="282721" y="31006"/>
                    <a:pt x="282521" y="30405"/>
                  </a:cubicBezTo>
                  <a:lnTo>
                    <a:pt x="282220" y="29503"/>
                  </a:lnTo>
                  <a:lnTo>
                    <a:pt x="282521" y="28600"/>
                  </a:lnTo>
                  <a:cubicBezTo>
                    <a:pt x="283222" y="26596"/>
                    <a:pt x="284024" y="24542"/>
                    <a:pt x="284776" y="22487"/>
                  </a:cubicBezTo>
                  <a:cubicBezTo>
                    <a:pt x="286680" y="17476"/>
                    <a:pt x="288634" y="12315"/>
                    <a:pt x="289987" y="7103"/>
                  </a:cubicBezTo>
                  <a:cubicBezTo>
                    <a:pt x="290338" y="5750"/>
                    <a:pt x="290138" y="4397"/>
                    <a:pt x="289436" y="3295"/>
                  </a:cubicBezTo>
                  <a:cubicBezTo>
                    <a:pt x="288985" y="2593"/>
                    <a:pt x="288083" y="1641"/>
                    <a:pt x="286479" y="1340"/>
                  </a:cubicBezTo>
                  <a:cubicBezTo>
                    <a:pt x="277109" y="-413"/>
                    <a:pt x="266235" y="-1415"/>
                    <a:pt x="256413" y="4698"/>
                  </a:cubicBezTo>
                  <a:cubicBezTo>
                    <a:pt x="251302" y="7855"/>
                    <a:pt x="246191" y="10962"/>
                    <a:pt x="240929" y="14169"/>
                  </a:cubicBezTo>
                  <a:lnTo>
                    <a:pt x="232812" y="19130"/>
                  </a:lnTo>
                  <a:lnTo>
                    <a:pt x="231509" y="18529"/>
                  </a:lnTo>
                  <a:cubicBezTo>
                    <a:pt x="228753" y="17276"/>
                    <a:pt x="226097" y="16073"/>
                    <a:pt x="223491" y="14820"/>
                  </a:cubicBezTo>
                  <a:cubicBezTo>
                    <a:pt x="217177" y="11914"/>
                    <a:pt x="211214" y="9108"/>
                    <a:pt x="205151" y="6652"/>
                  </a:cubicBezTo>
                  <a:cubicBezTo>
                    <a:pt x="202996" y="5750"/>
                    <a:pt x="197985" y="3696"/>
                    <a:pt x="196131" y="4548"/>
                  </a:cubicBezTo>
                  <a:cubicBezTo>
                    <a:pt x="183603" y="10310"/>
                    <a:pt x="170725" y="9809"/>
                    <a:pt x="158298" y="9358"/>
                  </a:cubicBezTo>
                  <a:cubicBezTo>
                    <a:pt x="154239" y="9208"/>
                    <a:pt x="150180" y="9058"/>
                    <a:pt x="146121" y="9108"/>
                  </a:cubicBezTo>
                  <a:cubicBezTo>
                    <a:pt x="134345" y="9308"/>
                    <a:pt x="122118" y="9508"/>
                    <a:pt x="112998" y="16724"/>
                  </a:cubicBezTo>
                  <a:lnTo>
                    <a:pt x="111796" y="17676"/>
                  </a:lnTo>
                  <a:lnTo>
                    <a:pt x="110343" y="17125"/>
                  </a:lnTo>
                  <a:cubicBezTo>
                    <a:pt x="105031" y="15021"/>
                    <a:pt x="100671" y="13217"/>
                    <a:pt x="95760" y="11263"/>
                  </a:cubicBezTo>
                  <a:lnTo>
                    <a:pt x="94558" y="10761"/>
                  </a:lnTo>
                  <a:cubicBezTo>
                    <a:pt x="92804" y="12415"/>
                    <a:pt x="91100" y="14069"/>
                    <a:pt x="89397" y="15672"/>
                  </a:cubicBezTo>
                  <a:cubicBezTo>
                    <a:pt x="85087" y="19731"/>
                    <a:pt x="80978" y="23589"/>
                    <a:pt x="77069" y="27648"/>
                  </a:cubicBezTo>
                  <a:cubicBezTo>
                    <a:pt x="68801" y="36368"/>
                    <a:pt x="59781" y="38573"/>
                    <a:pt x="48757" y="34614"/>
                  </a:cubicBezTo>
                  <a:cubicBezTo>
                    <a:pt x="39637" y="31307"/>
                    <a:pt x="31068" y="34363"/>
                    <a:pt x="21948" y="37620"/>
                  </a:cubicBezTo>
                  <a:cubicBezTo>
                    <a:pt x="18791" y="38723"/>
                    <a:pt x="15534" y="39925"/>
                    <a:pt x="12277" y="40777"/>
                  </a:cubicBezTo>
                  <a:cubicBezTo>
                    <a:pt x="11776" y="41028"/>
                    <a:pt x="10673" y="42932"/>
                    <a:pt x="10172" y="43834"/>
                  </a:cubicBezTo>
                  <a:lnTo>
                    <a:pt x="9571" y="44886"/>
                  </a:lnTo>
                  <a:cubicBezTo>
                    <a:pt x="6414" y="50098"/>
                    <a:pt x="5963" y="55760"/>
                    <a:pt x="8218" y="63177"/>
                  </a:cubicBezTo>
                  <a:lnTo>
                    <a:pt x="9471" y="67336"/>
                  </a:lnTo>
                  <a:cubicBezTo>
                    <a:pt x="11876" y="75053"/>
                    <a:pt x="14331" y="83070"/>
                    <a:pt x="14732" y="91238"/>
                  </a:cubicBezTo>
                  <a:cubicBezTo>
                    <a:pt x="15334" y="103114"/>
                    <a:pt x="16436" y="113688"/>
                    <a:pt x="23552" y="122557"/>
                  </a:cubicBezTo>
                  <a:lnTo>
                    <a:pt x="24554" y="123810"/>
                  </a:lnTo>
                  <a:lnTo>
                    <a:pt x="23953" y="125263"/>
                  </a:lnTo>
                  <a:cubicBezTo>
                    <a:pt x="23251" y="126967"/>
                    <a:pt x="22650" y="128570"/>
                    <a:pt x="22049" y="130124"/>
                  </a:cubicBezTo>
                  <a:cubicBezTo>
                    <a:pt x="20796" y="133431"/>
                    <a:pt x="19593" y="136538"/>
                    <a:pt x="17940" y="139394"/>
                  </a:cubicBezTo>
                  <a:cubicBezTo>
                    <a:pt x="10874" y="151922"/>
                    <a:pt x="7366" y="163146"/>
                    <a:pt x="13379" y="177027"/>
                  </a:cubicBezTo>
                  <a:cubicBezTo>
                    <a:pt x="18340" y="188502"/>
                    <a:pt x="16035" y="201130"/>
                    <a:pt x="7216" y="210801"/>
                  </a:cubicBezTo>
                  <a:cubicBezTo>
                    <a:pt x="4811" y="213457"/>
                    <a:pt x="3257" y="217065"/>
                    <a:pt x="1654" y="220873"/>
                  </a:cubicBezTo>
                  <a:cubicBezTo>
                    <a:pt x="1103" y="222126"/>
                    <a:pt x="601" y="223379"/>
                    <a:pt x="0" y="224581"/>
                  </a:cubicBezTo>
                  <a:cubicBezTo>
                    <a:pt x="1754" y="226886"/>
                    <a:pt x="3558" y="229091"/>
                    <a:pt x="5261" y="231196"/>
                  </a:cubicBezTo>
                  <a:cubicBezTo>
                    <a:pt x="9621" y="236608"/>
                    <a:pt x="13780" y="241719"/>
                    <a:pt x="16837" y="247482"/>
                  </a:cubicBezTo>
                  <a:cubicBezTo>
                    <a:pt x="22600" y="258406"/>
                    <a:pt x="28813" y="266273"/>
                    <a:pt x="40539" y="269179"/>
                  </a:cubicBezTo>
                  <a:lnTo>
                    <a:pt x="42744" y="269731"/>
                  </a:lnTo>
                  <a:lnTo>
                    <a:pt x="42543" y="272035"/>
                  </a:lnTo>
                  <a:cubicBezTo>
                    <a:pt x="41541" y="284212"/>
                    <a:pt x="46051" y="293733"/>
                    <a:pt x="57326" y="303003"/>
                  </a:cubicBezTo>
                  <a:cubicBezTo>
                    <a:pt x="58078" y="303605"/>
                    <a:pt x="58729" y="304306"/>
                    <a:pt x="59330" y="305008"/>
                  </a:cubicBezTo>
                  <a:cubicBezTo>
                    <a:pt x="59781" y="305509"/>
                    <a:pt x="60232" y="305960"/>
                    <a:pt x="60683" y="306411"/>
                  </a:cubicBezTo>
                  <a:cubicBezTo>
                    <a:pt x="68851" y="313376"/>
                    <a:pt x="72409" y="321594"/>
                    <a:pt x="71607" y="331416"/>
                  </a:cubicBezTo>
                  <a:cubicBezTo>
                    <a:pt x="71307" y="335024"/>
                    <a:pt x="71407" y="338782"/>
                    <a:pt x="71958" y="342641"/>
                  </a:cubicBezTo>
                  <a:cubicBezTo>
                    <a:pt x="73662" y="355118"/>
                    <a:pt x="79825" y="363036"/>
                    <a:pt x="90749" y="366794"/>
                  </a:cubicBezTo>
                  <a:cubicBezTo>
                    <a:pt x="94508" y="368096"/>
                    <a:pt x="98366" y="369299"/>
                    <a:pt x="101924" y="370502"/>
                  </a:cubicBezTo>
                  <a:lnTo>
                    <a:pt x="106584" y="372005"/>
                  </a:lnTo>
                  <a:lnTo>
                    <a:pt x="106985" y="373358"/>
                  </a:lnTo>
                  <a:cubicBezTo>
                    <a:pt x="110192" y="384382"/>
                    <a:pt x="105983" y="391297"/>
                    <a:pt x="101473" y="396609"/>
                  </a:cubicBezTo>
                  <a:cubicBezTo>
                    <a:pt x="95209" y="403975"/>
                    <a:pt x="92303" y="410289"/>
                    <a:pt x="97314" y="419209"/>
                  </a:cubicBezTo>
                  <a:cubicBezTo>
                    <a:pt x="99419" y="422967"/>
                    <a:pt x="99268" y="428980"/>
                    <a:pt x="96763" y="436998"/>
                  </a:cubicBezTo>
                  <a:cubicBezTo>
                    <a:pt x="96462" y="438000"/>
                    <a:pt x="96061" y="439052"/>
                    <a:pt x="95710" y="440005"/>
                  </a:cubicBezTo>
                  <a:cubicBezTo>
                    <a:pt x="94357" y="443562"/>
                    <a:pt x="93606" y="445918"/>
                    <a:pt x="94858" y="448423"/>
                  </a:cubicBezTo>
                  <a:cubicBezTo>
                    <a:pt x="99519" y="457794"/>
                    <a:pt x="100020" y="467866"/>
                    <a:pt x="99819" y="47728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33" name="Полилиния: фигура 132">
              <a:extLst>
                <a:ext uri="{FF2B5EF4-FFF2-40B4-BE49-F238E27FC236}">
                  <a16:creationId xmlns:a16="http://schemas.microsoft.com/office/drawing/2014/main" id="{3E1465B7-E87A-4AAE-8726-E6570A1C047E}"/>
                </a:ext>
              </a:extLst>
            </p:cNvPr>
            <p:cNvSpPr/>
            <p:nvPr/>
          </p:nvSpPr>
          <p:spPr>
            <a:xfrm>
              <a:off x="1952442" y="3205195"/>
              <a:ext cx="639315" cy="391835"/>
            </a:xfrm>
            <a:custGeom>
              <a:avLst/>
              <a:gdLst>
                <a:gd name="connsiteX0" fmla="*/ 276464 w 512632"/>
                <a:gd name="connsiteY0" fmla="*/ 242232 h 314191"/>
                <a:gd name="connsiteX1" fmla="*/ 286636 w 512632"/>
                <a:gd name="connsiteY1" fmla="*/ 215373 h 314191"/>
                <a:gd name="connsiteX2" fmla="*/ 288541 w 512632"/>
                <a:gd name="connsiteY2" fmla="*/ 200490 h 314191"/>
                <a:gd name="connsiteX3" fmla="*/ 291397 w 512632"/>
                <a:gd name="connsiteY3" fmla="*/ 193826 h 314191"/>
                <a:gd name="connsiteX4" fmla="*/ 295005 w 512632"/>
                <a:gd name="connsiteY4" fmla="*/ 174934 h 314191"/>
                <a:gd name="connsiteX5" fmla="*/ 307382 w 512632"/>
                <a:gd name="connsiteY5" fmla="*/ 150080 h 314191"/>
                <a:gd name="connsiteX6" fmla="*/ 324720 w 512632"/>
                <a:gd name="connsiteY6" fmla="*/ 150130 h 314191"/>
                <a:gd name="connsiteX7" fmla="*/ 327777 w 512632"/>
                <a:gd name="connsiteY7" fmla="*/ 151283 h 314191"/>
                <a:gd name="connsiteX8" fmla="*/ 328278 w 512632"/>
                <a:gd name="connsiteY8" fmla="*/ 151132 h 314191"/>
                <a:gd name="connsiteX9" fmla="*/ 329731 w 512632"/>
                <a:gd name="connsiteY9" fmla="*/ 150932 h 314191"/>
                <a:gd name="connsiteX10" fmla="*/ 345115 w 512632"/>
                <a:gd name="connsiteY10" fmla="*/ 139707 h 314191"/>
                <a:gd name="connsiteX11" fmla="*/ 346067 w 512632"/>
                <a:gd name="connsiteY11" fmla="*/ 139707 h 314191"/>
                <a:gd name="connsiteX12" fmla="*/ 388159 w 512632"/>
                <a:gd name="connsiteY12" fmla="*/ 154840 h 314191"/>
                <a:gd name="connsiteX13" fmla="*/ 402240 w 512632"/>
                <a:gd name="connsiteY13" fmla="*/ 162257 h 314191"/>
                <a:gd name="connsiteX14" fmla="*/ 420881 w 512632"/>
                <a:gd name="connsiteY14" fmla="*/ 141010 h 314191"/>
                <a:gd name="connsiteX15" fmla="*/ 440825 w 512632"/>
                <a:gd name="connsiteY15" fmla="*/ 120866 h 314191"/>
                <a:gd name="connsiteX16" fmla="*/ 441827 w 512632"/>
                <a:gd name="connsiteY16" fmla="*/ 120465 h 314191"/>
                <a:gd name="connsiteX17" fmla="*/ 479009 w 512632"/>
                <a:gd name="connsiteY17" fmla="*/ 136650 h 314191"/>
                <a:gd name="connsiteX18" fmla="*/ 490885 w 512632"/>
                <a:gd name="connsiteY18" fmla="*/ 131138 h 314191"/>
                <a:gd name="connsiteX19" fmla="*/ 512633 w 512632"/>
                <a:gd name="connsiteY19" fmla="*/ 117508 h 314191"/>
                <a:gd name="connsiteX20" fmla="*/ 512433 w 512632"/>
                <a:gd name="connsiteY20" fmla="*/ 116005 h 314191"/>
                <a:gd name="connsiteX21" fmla="*/ 512082 w 512632"/>
                <a:gd name="connsiteY21" fmla="*/ 114101 h 314191"/>
                <a:gd name="connsiteX22" fmla="*/ 505317 w 512632"/>
                <a:gd name="connsiteY22" fmla="*/ 104881 h 314191"/>
                <a:gd name="connsiteX23" fmla="*/ 468386 w 512632"/>
                <a:gd name="connsiteY23" fmla="*/ 55522 h 314191"/>
                <a:gd name="connsiteX24" fmla="*/ 456309 w 512632"/>
                <a:gd name="connsiteY24" fmla="*/ 47905 h 314191"/>
                <a:gd name="connsiteX25" fmla="*/ 433208 w 512632"/>
                <a:gd name="connsiteY25" fmla="*/ 43095 h 314191"/>
                <a:gd name="connsiteX26" fmla="*/ 424189 w 512632"/>
                <a:gd name="connsiteY26" fmla="*/ 41491 h 314191"/>
                <a:gd name="connsiteX27" fmla="*/ 414918 w 512632"/>
                <a:gd name="connsiteY27" fmla="*/ 39787 h 314191"/>
                <a:gd name="connsiteX28" fmla="*/ 407652 w 512632"/>
                <a:gd name="connsiteY28" fmla="*/ 38485 h 314191"/>
                <a:gd name="connsiteX29" fmla="*/ 407552 w 512632"/>
                <a:gd name="connsiteY29" fmla="*/ 36380 h 314191"/>
                <a:gd name="connsiteX30" fmla="*/ 384251 w 512632"/>
                <a:gd name="connsiteY30" fmla="*/ 0 h 314191"/>
                <a:gd name="connsiteX31" fmla="*/ 382547 w 512632"/>
                <a:gd name="connsiteY31" fmla="*/ 1052 h 314191"/>
                <a:gd name="connsiteX32" fmla="*/ 378338 w 512632"/>
                <a:gd name="connsiteY32" fmla="*/ 4209 h 314191"/>
                <a:gd name="connsiteX33" fmla="*/ 327626 w 512632"/>
                <a:gd name="connsiteY33" fmla="*/ 22600 h 314191"/>
                <a:gd name="connsiteX34" fmla="*/ 308935 w 512632"/>
                <a:gd name="connsiteY34" fmla="*/ 17990 h 314191"/>
                <a:gd name="connsiteX35" fmla="*/ 295706 w 512632"/>
                <a:gd name="connsiteY35" fmla="*/ 12327 h 314191"/>
                <a:gd name="connsiteX36" fmla="*/ 293051 w 512632"/>
                <a:gd name="connsiteY36" fmla="*/ 11074 h 314191"/>
                <a:gd name="connsiteX37" fmla="*/ 250607 w 512632"/>
                <a:gd name="connsiteY37" fmla="*/ 35177 h 314191"/>
                <a:gd name="connsiteX38" fmla="*/ 211772 w 512632"/>
                <a:gd name="connsiteY38" fmla="*/ 44197 h 314191"/>
                <a:gd name="connsiteX39" fmla="*/ 205057 w 512632"/>
                <a:gd name="connsiteY39" fmla="*/ 40940 h 314191"/>
                <a:gd name="connsiteX40" fmla="*/ 189423 w 512632"/>
                <a:gd name="connsiteY40" fmla="*/ 35127 h 314191"/>
                <a:gd name="connsiteX41" fmla="*/ 163366 w 512632"/>
                <a:gd name="connsiteY41" fmla="*/ 58779 h 314191"/>
                <a:gd name="connsiteX42" fmla="*/ 150136 w 512632"/>
                <a:gd name="connsiteY42" fmla="*/ 55773 h 314191"/>
                <a:gd name="connsiteX43" fmla="*/ 139012 w 512632"/>
                <a:gd name="connsiteY43" fmla="*/ 86189 h 314191"/>
                <a:gd name="connsiteX44" fmla="*/ 137559 w 512632"/>
                <a:gd name="connsiteY44" fmla="*/ 86490 h 314191"/>
                <a:gd name="connsiteX45" fmla="*/ 132398 w 512632"/>
                <a:gd name="connsiteY45" fmla="*/ 87242 h 314191"/>
                <a:gd name="connsiteX46" fmla="*/ 124480 w 512632"/>
                <a:gd name="connsiteY46" fmla="*/ 89196 h 314191"/>
                <a:gd name="connsiteX47" fmla="*/ 93863 w 512632"/>
                <a:gd name="connsiteY47" fmla="*/ 95961 h 314191"/>
                <a:gd name="connsiteX48" fmla="*/ 88852 w 512632"/>
                <a:gd name="connsiteY48" fmla="*/ 95961 h 314191"/>
                <a:gd name="connsiteX49" fmla="*/ 87549 w 512632"/>
                <a:gd name="connsiteY49" fmla="*/ 95961 h 314191"/>
                <a:gd name="connsiteX50" fmla="*/ 72215 w 512632"/>
                <a:gd name="connsiteY50" fmla="*/ 96061 h 314191"/>
                <a:gd name="connsiteX51" fmla="*/ 53875 w 512632"/>
                <a:gd name="connsiteY51" fmla="*/ 101323 h 314191"/>
                <a:gd name="connsiteX52" fmla="*/ 5769 w 512632"/>
                <a:gd name="connsiteY52" fmla="*/ 122720 h 314191"/>
                <a:gd name="connsiteX53" fmla="*/ 2462 w 512632"/>
                <a:gd name="connsiteY53" fmla="*/ 124624 h 314191"/>
                <a:gd name="connsiteX54" fmla="*/ 1059 w 512632"/>
                <a:gd name="connsiteY54" fmla="*/ 125626 h 314191"/>
                <a:gd name="connsiteX55" fmla="*/ 859 w 512632"/>
                <a:gd name="connsiteY55" fmla="*/ 126979 h 314191"/>
                <a:gd name="connsiteX56" fmla="*/ 5970 w 512632"/>
                <a:gd name="connsiteY56" fmla="*/ 144267 h 314191"/>
                <a:gd name="connsiteX57" fmla="*/ 17595 w 512632"/>
                <a:gd name="connsiteY57" fmla="*/ 173281 h 314191"/>
                <a:gd name="connsiteX58" fmla="*/ 15090 w 512632"/>
                <a:gd name="connsiteY58" fmla="*/ 182551 h 314191"/>
                <a:gd name="connsiteX59" fmla="*/ 14438 w 512632"/>
                <a:gd name="connsiteY59" fmla="*/ 184656 h 314191"/>
                <a:gd name="connsiteX60" fmla="*/ 47010 w 512632"/>
                <a:gd name="connsiteY60" fmla="*/ 204950 h 314191"/>
                <a:gd name="connsiteX61" fmla="*/ 78329 w 512632"/>
                <a:gd name="connsiteY61" fmla="*/ 233764 h 314191"/>
                <a:gd name="connsiteX62" fmla="*/ 88401 w 512632"/>
                <a:gd name="connsiteY62" fmla="*/ 269943 h 314191"/>
                <a:gd name="connsiteX63" fmla="*/ 90556 w 512632"/>
                <a:gd name="connsiteY63" fmla="*/ 276608 h 314191"/>
                <a:gd name="connsiteX64" fmla="*/ 108545 w 512632"/>
                <a:gd name="connsiteY64" fmla="*/ 311985 h 314191"/>
                <a:gd name="connsiteX65" fmla="*/ 139613 w 512632"/>
                <a:gd name="connsiteY65" fmla="*/ 298656 h 314191"/>
                <a:gd name="connsiteX66" fmla="*/ 140866 w 512632"/>
                <a:gd name="connsiteY66" fmla="*/ 298105 h 314191"/>
                <a:gd name="connsiteX67" fmla="*/ 151640 w 512632"/>
                <a:gd name="connsiteY67" fmla="*/ 304218 h 314191"/>
                <a:gd name="connsiteX68" fmla="*/ 162013 w 512632"/>
                <a:gd name="connsiteY68" fmla="*/ 300360 h 314191"/>
                <a:gd name="connsiteX69" fmla="*/ 188320 w 512632"/>
                <a:gd name="connsiteY69" fmla="*/ 291039 h 314191"/>
                <a:gd name="connsiteX70" fmla="*/ 204907 w 512632"/>
                <a:gd name="connsiteY70" fmla="*/ 292342 h 314191"/>
                <a:gd name="connsiteX71" fmla="*/ 211872 w 512632"/>
                <a:gd name="connsiteY71" fmla="*/ 310282 h 314191"/>
                <a:gd name="connsiteX72" fmla="*/ 212273 w 512632"/>
                <a:gd name="connsiteY72" fmla="*/ 313890 h 314191"/>
                <a:gd name="connsiteX73" fmla="*/ 217033 w 512632"/>
                <a:gd name="connsiteY73" fmla="*/ 313890 h 314191"/>
                <a:gd name="connsiteX74" fmla="*/ 249505 w 512632"/>
                <a:gd name="connsiteY74" fmla="*/ 297654 h 314191"/>
                <a:gd name="connsiteX75" fmla="*/ 256019 w 512632"/>
                <a:gd name="connsiteY75" fmla="*/ 295800 h 314191"/>
                <a:gd name="connsiteX76" fmla="*/ 256971 w 512632"/>
                <a:gd name="connsiteY76" fmla="*/ 295449 h 314191"/>
                <a:gd name="connsiteX77" fmla="*/ 256971 w 512632"/>
                <a:gd name="connsiteY77" fmla="*/ 254559 h 314191"/>
                <a:gd name="connsiteX78" fmla="*/ 258224 w 512632"/>
                <a:gd name="connsiteY78" fmla="*/ 253757 h 314191"/>
                <a:gd name="connsiteX79" fmla="*/ 264838 w 512632"/>
                <a:gd name="connsiteY79" fmla="*/ 249849 h 314191"/>
                <a:gd name="connsiteX80" fmla="*/ 276564 w 512632"/>
                <a:gd name="connsiteY80" fmla="*/ 242282 h 31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2632" h="314191">
                  <a:moveTo>
                    <a:pt x="276464" y="242232"/>
                  </a:moveTo>
                  <a:cubicBezTo>
                    <a:pt x="286135" y="234215"/>
                    <a:pt x="292549" y="227600"/>
                    <a:pt x="286636" y="215373"/>
                  </a:cubicBezTo>
                  <a:cubicBezTo>
                    <a:pt x="284582" y="211164"/>
                    <a:pt x="286787" y="205251"/>
                    <a:pt x="288541" y="200490"/>
                  </a:cubicBezTo>
                  <a:cubicBezTo>
                    <a:pt x="289493" y="197885"/>
                    <a:pt x="290445" y="195880"/>
                    <a:pt x="291397" y="193826"/>
                  </a:cubicBezTo>
                  <a:cubicBezTo>
                    <a:pt x="294203" y="187662"/>
                    <a:pt x="296658" y="182351"/>
                    <a:pt x="295005" y="174934"/>
                  </a:cubicBezTo>
                  <a:cubicBezTo>
                    <a:pt x="292850" y="165313"/>
                    <a:pt x="299665" y="155492"/>
                    <a:pt x="307382" y="150080"/>
                  </a:cubicBezTo>
                  <a:cubicBezTo>
                    <a:pt x="313395" y="145820"/>
                    <a:pt x="319659" y="148226"/>
                    <a:pt x="324720" y="150130"/>
                  </a:cubicBezTo>
                  <a:cubicBezTo>
                    <a:pt x="325772" y="150531"/>
                    <a:pt x="326775" y="150932"/>
                    <a:pt x="327777" y="151283"/>
                  </a:cubicBezTo>
                  <a:cubicBezTo>
                    <a:pt x="327677" y="151232"/>
                    <a:pt x="327927" y="151182"/>
                    <a:pt x="328278" y="151132"/>
                  </a:cubicBezTo>
                  <a:cubicBezTo>
                    <a:pt x="328679" y="151082"/>
                    <a:pt x="329180" y="150982"/>
                    <a:pt x="329731" y="150932"/>
                  </a:cubicBezTo>
                  <a:lnTo>
                    <a:pt x="345115" y="139707"/>
                  </a:lnTo>
                  <a:lnTo>
                    <a:pt x="346067" y="139707"/>
                  </a:lnTo>
                  <a:cubicBezTo>
                    <a:pt x="362453" y="140459"/>
                    <a:pt x="375532" y="147775"/>
                    <a:pt x="388159" y="154840"/>
                  </a:cubicBezTo>
                  <a:cubicBezTo>
                    <a:pt x="392970" y="157546"/>
                    <a:pt x="397530" y="160052"/>
                    <a:pt x="402240" y="162257"/>
                  </a:cubicBezTo>
                  <a:cubicBezTo>
                    <a:pt x="411811" y="157045"/>
                    <a:pt x="416873" y="148977"/>
                    <a:pt x="420881" y="141010"/>
                  </a:cubicBezTo>
                  <a:cubicBezTo>
                    <a:pt x="424640" y="133493"/>
                    <a:pt x="429601" y="125125"/>
                    <a:pt x="440825" y="120866"/>
                  </a:cubicBezTo>
                  <a:lnTo>
                    <a:pt x="441827" y="120465"/>
                  </a:lnTo>
                  <a:lnTo>
                    <a:pt x="479009" y="136650"/>
                  </a:lnTo>
                  <a:cubicBezTo>
                    <a:pt x="482968" y="134546"/>
                    <a:pt x="486977" y="132792"/>
                    <a:pt x="490885" y="131138"/>
                  </a:cubicBezTo>
                  <a:cubicBezTo>
                    <a:pt x="499254" y="127530"/>
                    <a:pt x="507171" y="124123"/>
                    <a:pt x="512633" y="117508"/>
                  </a:cubicBezTo>
                  <a:cubicBezTo>
                    <a:pt x="512533" y="116957"/>
                    <a:pt x="512483" y="116456"/>
                    <a:pt x="512433" y="116005"/>
                  </a:cubicBezTo>
                  <a:cubicBezTo>
                    <a:pt x="512332" y="115303"/>
                    <a:pt x="512232" y="114351"/>
                    <a:pt x="512082" y="114101"/>
                  </a:cubicBezTo>
                  <a:lnTo>
                    <a:pt x="505317" y="104881"/>
                  </a:lnTo>
                  <a:cubicBezTo>
                    <a:pt x="493391" y="88595"/>
                    <a:pt x="481014" y="71708"/>
                    <a:pt x="468386" y="55522"/>
                  </a:cubicBezTo>
                  <a:cubicBezTo>
                    <a:pt x="465780" y="52215"/>
                    <a:pt x="461070" y="49208"/>
                    <a:pt x="456309" y="47905"/>
                  </a:cubicBezTo>
                  <a:cubicBezTo>
                    <a:pt x="448793" y="45801"/>
                    <a:pt x="440875" y="44448"/>
                    <a:pt x="433208" y="43095"/>
                  </a:cubicBezTo>
                  <a:cubicBezTo>
                    <a:pt x="430202" y="42594"/>
                    <a:pt x="427195" y="42042"/>
                    <a:pt x="424189" y="41491"/>
                  </a:cubicBezTo>
                  <a:cubicBezTo>
                    <a:pt x="421182" y="40940"/>
                    <a:pt x="418225" y="40389"/>
                    <a:pt x="414918" y="39787"/>
                  </a:cubicBezTo>
                  <a:lnTo>
                    <a:pt x="407652" y="38485"/>
                  </a:lnTo>
                  <a:lnTo>
                    <a:pt x="407552" y="36380"/>
                  </a:lnTo>
                  <a:cubicBezTo>
                    <a:pt x="406600" y="19242"/>
                    <a:pt x="398983" y="7316"/>
                    <a:pt x="384251" y="0"/>
                  </a:cubicBezTo>
                  <a:cubicBezTo>
                    <a:pt x="383700" y="351"/>
                    <a:pt x="383098" y="702"/>
                    <a:pt x="382547" y="1052"/>
                  </a:cubicBezTo>
                  <a:cubicBezTo>
                    <a:pt x="380743" y="2105"/>
                    <a:pt x="379190" y="3057"/>
                    <a:pt x="378338" y="4209"/>
                  </a:cubicBezTo>
                  <a:cubicBezTo>
                    <a:pt x="367013" y="19643"/>
                    <a:pt x="350878" y="25456"/>
                    <a:pt x="327626" y="22600"/>
                  </a:cubicBezTo>
                  <a:cubicBezTo>
                    <a:pt x="321864" y="21898"/>
                    <a:pt x="315550" y="20345"/>
                    <a:pt x="308935" y="17990"/>
                  </a:cubicBezTo>
                  <a:cubicBezTo>
                    <a:pt x="303974" y="16236"/>
                    <a:pt x="299164" y="13981"/>
                    <a:pt x="295706" y="12327"/>
                  </a:cubicBezTo>
                  <a:cubicBezTo>
                    <a:pt x="294704" y="11876"/>
                    <a:pt x="293852" y="11425"/>
                    <a:pt x="293051" y="11074"/>
                  </a:cubicBezTo>
                  <a:cubicBezTo>
                    <a:pt x="271253" y="12828"/>
                    <a:pt x="258926" y="19844"/>
                    <a:pt x="250607" y="35177"/>
                  </a:cubicBezTo>
                  <a:cubicBezTo>
                    <a:pt x="243692" y="47905"/>
                    <a:pt x="228459" y="51463"/>
                    <a:pt x="211772" y="44197"/>
                  </a:cubicBezTo>
                  <a:cubicBezTo>
                    <a:pt x="209517" y="43195"/>
                    <a:pt x="207312" y="42092"/>
                    <a:pt x="205057" y="40940"/>
                  </a:cubicBezTo>
                  <a:cubicBezTo>
                    <a:pt x="199946" y="38284"/>
                    <a:pt x="195135" y="35779"/>
                    <a:pt x="189423" y="35127"/>
                  </a:cubicBezTo>
                  <a:lnTo>
                    <a:pt x="163366" y="58779"/>
                  </a:lnTo>
                  <a:lnTo>
                    <a:pt x="150136" y="55773"/>
                  </a:lnTo>
                  <a:lnTo>
                    <a:pt x="139012" y="86189"/>
                  </a:lnTo>
                  <a:lnTo>
                    <a:pt x="137559" y="86490"/>
                  </a:lnTo>
                  <a:cubicBezTo>
                    <a:pt x="135855" y="86841"/>
                    <a:pt x="134151" y="87041"/>
                    <a:pt x="132398" y="87242"/>
                  </a:cubicBezTo>
                  <a:cubicBezTo>
                    <a:pt x="129291" y="87593"/>
                    <a:pt x="126334" y="87893"/>
                    <a:pt x="124480" y="89196"/>
                  </a:cubicBezTo>
                  <a:cubicBezTo>
                    <a:pt x="114659" y="96061"/>
                    <a:pt x="104135" y="96011"/>
                    <a:pt x="93863" y="95961"/>
                  </a:cubicBezTo>
                  <a:cubicBezTo>
                    <a:pt x="92209" y="95961"/>
                    <a:pt x="90505" y="95961"/>
                    <a:pt x="88852" y="95961"/>
                  </a:cubicBezTo>
                  <a:lnTo>
                    <a:pt x="87549" y="95961"/>
                  </a:lnTo>
                  <a:cubicBezTo>
                    <a:pt x="82438" y="96061"/>
                    <a:pt x="77326" y="96161"/>
                    <a:pt x="72215" y="96061"/>
                  </a:cubicBezTo>
                  <a:cubicBezTo>
                    <a:pt x="64599" y="95961"/>
                    <a:pt x="58585" y="97615"/>
                    <a:pt x="53875" y="101323"/>
                  </a:cubicBezTo>
                  <a:cubicBezTo>
                    <a:pt x="38541" y="113199"/>
                    <a:pt x="20953" y="118811"/>
                    <a:pt x="5769" y="122720"/>
                  </a:cubicBezTo>
                  <a:cubicBezTo>
                    <a:pt x="4817" y="122970"/>
                    <a:pt x="3715" y="123722"/>
                    <a:pt x="2462" y="124624"/>
                  </a:cubicBezTo>
                  <a:cubicBezTo>
                    <a:pt x="2011" y="124925"/>
                    <a:pt x="1560" y="125275"/>
                    <a:pt x="1059" y="125626"/>
                  </a:cubicBezTo>
                  <a:lnTo>
                    <a:pt x="859" y="126979"/>
                  </a:lnTo>
                  <a:cubicBezTo>
                    <a:pt x="-545" y="135347"/>
                    <a:pt x="-1046" y="140709"/>
                    <a:pt x="5970" y="144267"/>
                  </a:cubicBezTo>
                  <a:cubicBezTo>
                    <a:pt x="19499" y="151232"/>
                    <a:pt x="19449" y="162858"/>
                    <a:pt x="17595" y="173281"/>
                  </a:cubicBezTo>
                  <a:cubicBezTo>
                    <a:pt x="16994" y="176588"/>
                    <a:pt x="15992" y="179745"/>
                    <a:pt x="15090" y="182551"/>
                  </a:cubicBezTo>
                  <a:cubicBezTo>
                    <a:pt x="14839" y="183253"/>
                    <a:pt x="14639" y="184004"/>
                    <a:pt x="14438" y="184656"/>
                  </a:cubicBezTo>
                  <a:cubicBezTo>
                    <a:pt x="22706" y="195931"/>
                    <a:pt x="31526" y="203647"/>
                    <a:pt x="47010" y="204950"/>
                  </a:cubicBezTo>
                  <a:cubicBezTo>
                    <a:pt x="63696" y="206354"/>
                    <a:pt x="75072" y="216877"/>
                    <a:pt x="78329" y="233764"/>
                  </a:cubicBezTo>
                  <a:cubicBezTo>
                    <a:pt x="80634" y="245990"/>
                    <a:pt x="84592" y="258167"/>
                    <a:pt x="88401" y="269943"/>
                  </a:cubicBezTo>
                  <a:lnTo>
                    <a:pt x="90556" y="276608"/>
                  </a:lnTo>
                  <a:cubicBezTo>
                    <a:pt x="94063" y="287582"/>
                    <a:pt x="98924" y="300310"/>
                    <a:pt x="108545" y="311985"/>
                  </a:cubicBezTo>
                  <a:cubicBezTo>
                    <a:pt x="119569" y="307275"/>
                    <a:pt x="129641" y="302916"/>
                    <a:pt x="139613" y="298656"/>
                  </a:cubicBezTo>
                  <a:lnTo>
                    <a:pt x="140866" y="298105"/>
                  </a:lnTo>
                  <a:lnTo>
                    <a:pt x="151640" y="304218"/>
                  </a:lnTo>
                  <a:cubicBezTo>
                    <a:pt x="155097" y="302966"/>
                    <a:pt x="158555" y="301663"/>
                    <a:pt x="162013" y="300360"/>
                  </a:cubicBezTo>
                  <a:cubicBezTo>
                    <a:pt x="170581" y="297153"/>
                    <a:pt x="179401" y="293846"/>
                    <a:pt x="188320" y="291039"/>
                  </a:cubicBezTo>
                  <a:cubicBezTo>
                    <a:pt x="195185" y="288885"/>
                    <a:pt x="200748" y="289336"/>
                    <a:pt x="204907" y="292342"/>
                  </a:cubicBezTo>
                  <a:cubicBezTo>
                    <a:pt x="209417" y="295600"/>
                    <a:pt x="211772" y="301663"/>
                    <a:pt x="211872" y="310282"/>
                  </a:cubicBezTo>
                  <a:cubicBezTo>
                    <a:pt x="211872" y="311685"/>
                    <a:pt x="212073" y="313088"/>
                    <a:pt x="212273" y="313890"/>
                  </a:cubicBezTo>
                  <a:cubicBezTo>
                    <a:pt x="214578" y="314341"/>
                    <a:pt x="216532" y="314240"/>
                    <a:pt x="217033" y="313890"/>
                  </a:cubicBezTo>
                  <a:cubicBezTo>
                    <a:pt x="226204" y="304619"/>
                    <a:pt x="236827" y="299258"/>
                    <a:pt x="249505" y="297654"/>
                  </a:cubicBezTo>
                  <a:cubicBezTo>
                    <a:pt x="251710" y="297353"/>
                    <a:pt x="253915" y="296552"/>
                    <a:pt x="256019" y="295800"/>
                  </a:cubicBezTo>
                  <a:cubicBezTo>
                    <a:pt x="256370" y="295700"/>
                    <a:pt x="256671" y="295549"/>
                    <a:pt x="256971" y="295449"/>
                  </a:cubicBezTo>
                  <a:lnTo>
                    <a:pt x="256971" y="254559"/>
                  </a:lnTo>
                  <a:lnTo>
                    <a:pt x="258224" y="253757"/>
                  </a:lnTo>
                  <a:cubicBezTo>
                    <a:pt x="260479" y="252355"/>
                    <a:pt x="262684" y="251102"/>
                    <a:pt x="264838" y="249849"/>
                  </a:cubicBezTo>
                  <a:cubicBezTo>
                    <a:pt x="269098" y="247394"/>
                    <a:pt x="273107" y="245089"/>
                    <a:pt x="276564" y="242282"/>
                  </a:cubicBezTo>
                  <a:close/>
                </a:path>
              </a:pathLst>
            </a:custGeom>
            <a:solidFill>
              <a:srgbClr val="00B05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34" name="Полилиния: фигура 133">
              <a:extLst>
                <a:ext uri="{FF2B5EF4-FFF2-40B4-BE49-F238E27FC236}">
                  <a16:creationId xmlns:a16="http://schemas.microsoft.com/office/drawing/2014/main" id="{B69528F7-16BF-43DF-8A8F-4A62E0A23BA8}"/>
                </a:ext>
              </a:extLst>
            </p:cNvPr>
            <p:cNvSpPr/>
            <p:nvPr/>
          </p:nvSpPr>
          <p:spPr>
            <a:xfrm>
              <a:off x="3382799" y="4216047"/>
              <a:ext cx="548493" cy="407829"/>
            </a:xfrm>
            <a:custGeom>
              <a:avLst/>
              <a:gdLst>
                <a:gd name="connsiteX0" fmla="*/ 425034 w 439807"/>
                <a:gd name="connsiteY0" fmla="*/ 273634 h 327016"/>
                <a:gd name="connsiteX1" fmla="*/ 419572 w 439807"/>
                <a:gd name="connsiteY1" fmla="*/ 261357 h 327016"/>
                <a:gd name="connsiteX2" fmla="*/ 417818 w 439807"/>
                <a:gd name="connsiteY2" fmla="*/ 260505 h 327016"/>
                <a:gd name="connsiteX3" fmla="*/ 412156 w 439807"/>
                <a:gd name="connsiteY3" fmla="*/ 258050 h 327016"/>
                <a:gd name="connsiteX4" fmla="*/ 375224 w 439807"/>
                <a:gd name="connsiteY4" fmla="*/ 218112 h 327016"/>
                <a:gd name="connsiteX5" fmla="*/ 351873 w 439807"/>
                <a:gd name="connsiteY5" fmla="*/ 180780 h 327016"/>
                <a:gd name="connsiteX6" fmla="*/ 326918 w 439807"/>
                <a:gd name="connsiteY6" fmla="*/ 172011 h 327016"/>
                <a:gd name="connsiteX7" fmla="*/ 322960 w 439807"/>
                <a:gd name="connsiteY7" fmla="*/ 167451 h 327016"/>
                <a:gd name="connsiteX8" fmla="*/ 298255 w 439807"/>
                <a:gd name="connsiteY8" fmla="*/ 161939 h 327016"/>
                <a:gd name="connsiteX9" fmla="*/ 295650 w 439807"/>
                <a:gd name="connsiteY9" fmla="*/ 127563 h 327016"/>
                <a:gd name="connsiteX10" fmla="*/ 279765 w 439807"/>
                <a:gd name="connsiteY10" fmla="*/ 117190 h 327016"/>
                <a:gd name="connsiteX11" fmla="*/ 260071 w 439807"/>
                <a:gd name="connsiteY11" fmla="*/ 103059 h 327016"/>
                <a:gd name="connsiteX12" fmla="*/ 259520 w 439807"/>
                <a:gd name="connsiteY12" fmla="*/ 102358 h 327016"/>
                <a:gd name="connsiteX13" fmla="*/ 259520 w 439807"/>
                <a:gd name="connsiteY13" fmla="*/ 101456 h 327016"/>
                <a:gd name="connsiteX14" fmla="*/ 259270 w 439807"/>
                <a:gd name="connsiteY14" fmla="*/ 91935 h 327016"/>
                <a:gd name="connsiteX15" fmla="*/ 259921 w 439807"/>
                <a:gd name="connsiteY15" fmla="*/ 68633 h 327016"/>
                <a:gd name="connsiteX16" fmla="*/ 266385 w 439807"/>
                <a:gd name="connsiteY16" fmla="*/ 46886 h 327016"/>
                <a:gd name="connsiteX17" fmla="*/ 268791 w 439807"/>
                <a:gd name="connsiteY17" fmla="*/ 40321 h 327016"/>
                <a:gd name="connsiteX18" fmla="*/ 235067 w 439807"/>
                <a:gd name="connsiteY18" fmla="*/ 46384 h 327016"/>
                <a:gd name="connsiteX19" fmla="*/ 208759 w 439807"/>
                <a:gd name="connsiteY19" fmla="*/ 52298 h 327016"/>
                <a:gd name="connsiteX20" fmla="*/ 207606 w 439807"/>
                <a:gd name="connsiteY20" fmla="*/ 52398 h 327016"/>
                <a:gd name="connsiteX21" fmla="*/ 206754 w 439807"/>
                <a:gd name="connsiteY21" fmla="*/ 51596 h 327016"/>
                <a:gd name="connsiteX22" fmla="*/ 201944 w 439807"/>
                <a:gd name="connsiteY22" fmla="*/ 47237 h 327016"/>
                <a:gd name="connsiteX23" fmla="*/ 192673 w 439807"/>
                <a:gd name="connsiteY23" fmla="*/ 38517 h 327016"/>
                <a:gd name="connsiteX24" fmla="*/ 168520 w 439807"/>
                <a:gd name="connsiteY24" fmla="*/ 25338 h 327016"/>
                <a:gd name="connsiteX25" fmla="*/ 154540 w 439807"/>
                <a:gd name="connsiteY25" fmla="*/ 18774 h 327016"/>
                <a:gd name="connsiteX26" fmla="*/ 147123 w 439807"/>
                <a:gd name="connsiteY26" fmla="*/ 12159 h 327016"/>
                <a:gd name="connsiteX27" fmla="*/ 140459 w 439807"/>
                <a:gd name="connsiteY27" fmla="*/ 6196 h 327016"/>
                <a:gd name="connsiteX28" fmla="*/ 114351 w 439807"/>
                <a:gd name="connsiteY28" fmla="*/ 1887 h 327016"/>
                <a:gd name="connsiteX29" fmla="*/ 79124 w 439807"/>
                <a:gd name="connsiteY29" fmla="*/ 23484 h 327016"/>
                <a:gd name="connsiteX30" fmla="*/ 78773 w 439807"/>
                <a:gd name="connsiteY30" fmla="*/ 35811 h 327016"/>
                <a:gd name="connsiteX31" fmla="*/ 65594 w 439807"/>
                <a:gd name="connsiteY31" fmla="*/ 105464 h 327016"/>
                <a:gd name="connsiteX32" fmla="*/ 65093 w 439807"/>
                <a:gd name="connsiteY32" fmla="*/ 106366 h 327016"/>
                <a:gd name="connsiteX33" fmla="*/ 64091 w 439807"/>
                <a:gd name="connsiteY33" fmla="*/ 106717 h 327016"/>
                <a:gd name="connsiteX34" fmla="*/ 61836 w 439807"/>
                <a:gd name="connsiteY34" fmla="*/ 107619 h 327016"/>
                <a:gd name="connsiteX35" fmla="*/ 56574 w 439807"/>
                <a:gd name="connsiteY35" fmla="*/ 109223 h 327016"/>
                <a:gd name="connsiteX36" fmla="*/ 26759 w 439807"/>
                <a:gd name="connsiteY36" fmla="*/ 131622 h 327016"/>
                <a:gd name="connsiteX37" fmla="*/ 7967 w 439807"/>
                <a:gd name="connsiteY37" fmla="*/ 156978 h 327016"/>
                <a:gd name="connsiteX38" fmla="*/ 1804 w 439807"/>
                <a:gd name="connsiteY38" fmla="*/ 165346 h 327016"/>
                <a:gd name="connsiteX39" fmla="*/ 0 w 439807"/>
                <a:gd name="connsiteY39" fmla="*/ 168152 h 327016"/>
                <a:gd name="connsiteX40" fmla="*/ 5312 w 439807"/>
                <a:gd name="connsiteY40" fmla="*/ 172361 h 327016"/>
                <a:gd name="connsiteX41" fmla="*/ 19493 w 439807"/>
                <a:gd name="connsiteY41" fmla="*/ 183335 h 327016"/>
                <a:gd name="connsiteX42" fmla="*/ 33474 w 439807"/>
                <a:gd name="connsiteY42" fmla="*/ 193107 h 327016"/>
                <a:gd name="connsiteX43" fmla="*/ 48557 w 439807"/>
                <a:gd name="connsiteY43" fmla="*/ 203630 h 327016"/>
                <a:gd name="connsiteX44" fmla="*/ 55522 w 439807"/>
                <a:gd name="connsiteY44" fmla="*/ 237956 h 327016"/>
                <a:gd name="connsiteX45" fmla="*/ 49709 w 439807"/>
                <a:gd name="connsiteY45" fmla="*/ 244420 h 327016"/>
                <a:gd name="connsiteX46" fmla="*/ 47955 w 439807"/>
                <a:gd name="connsiteY46" fmla="*/ 246073 h 327016"/>
                <a:gd name="connsiteX47" fmla="*/ 50160 w 439807"/>
                <a:gd name="connsiteY47" fmla="*/ 259102 h 327016"/>
                <a:gd name="connsiteX48" fmla="*/ 53718 w 439807"/>
                <a:gd name="connsiteY48" fmla="*/ 274336 h 327016"/>
                <a:gd name="connsiteX49" fmla="*/ 93054 w 439807"/>
                <a:gd name="connsiteY49" fmla="*/ 282553 h 327016"/>
                <a:gd name="connsiteX50" fmla="*/ 106534 w 439807"/>
                <a:gd name="connsiteY50" fmla="*/ 285209 h 327016"/>
                <a:gd name="connsiteX51" fmla="*/ 163259 w 439807"/>
                <a:gd name="connsiteY51" fmla="*/ 304953 h 327016"/>
                <a:gd name="connsiteX52" fmla="*/ 165113 w 439807"/>
                <a:gd name="connsiteY52" fmla="*/ 304001 h 327016"/>
                <a:gd name="connsiteX53" fmla="*/ 168370 w 439807"/>
                <a:gd name="connsiteY53" fmla="*/ 302046 h 327016"/>
                <a:gd name="connsiteX54" fmla="*/ 192523 w 439807"/>
                <a:gd name="connsiteY54" fmla="*/ 291173 h 327016"/>
                <a:gd name="connsiteX55" fmla="*/ 205852 w 439807"/>
                <a:gd name="connsiteY55" fmla="*/ 292976 h 327016"/>
                <a:gd name="connsiteX56" fmla="*/ 235067 w 439807"/>
                <a:gd name="connsiteY56" fmla="*/ 304452 h 327016"/>
                <a:gd name="connsiteX57" fmla="*/ 258117 w 439807"/>
                <a:gd name="connsiteY57" fmla="*/ 312219 h 327016"/>
                <a:gd name="connsiteX58" fmla="*/ 291290 w 439807"/>
                <a:gd name="connsiteY58" fmla="*/ 316278 h 327016"/>
                <a:gd name="connsiteX59" fmla="*/ 370765 w 439807"/>
                <a:gd name="connsiteY59" fmla="*/ 326500 h 327016"/>
                <a:gd name="connsiteX60" fmla="*/ 395820 w 439807"/>
                <a:gd name="connsiteY60" fmla="*/ 318783 h 327016"/>
                <a:gd name="connsiteX61" fmla="*/ 422328 w 439807"/>
                <a:gd name="connsiteY61" fmla="*/ 312369 h 327016"/>
                <a:gd name="connsiteX62" fmla="*/ 425034 w 439807"/>
                <a:gd name="connsiteY62" fmla="*/ 313371 h 327016"/>
                <a:gd name="connsiteX63" fmla="*/ 430847 w 439807"/>
                <a:gd name="connsiteY63" fmla="*/ 315225 h 327016"/>
                <a:gd name="connsiteX64" fmla="*/ 438363 w 439807"/>
                <a:gd name="connsiteY64" fmla="*/ 312620 h 327016"/>
                <a:gd name="connsiteX65" fmla="*/ 439265 w 439807"/>
                <a:gd name="connsiteY65" fmla="*/ 306005 h 327016"/>
                <a:gd name="connsiteX66" fmla="*/ 425184 w 439807"/>
                <a:gd name="connsiteY66" fmla="*/ 273634 h 327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439807" h="327016">
                  <a:moveTo>
                    <a:pt x="425034" y="273634"/>
                  </a:moveTo>
                  <a:cubicBezTo>
                    <a:pt x="423230" y="269575"/>
                    <a:pt x="421376" y="265466"/>
                    <a:pt x="419572" y="261357"/>
                  </a:cubicBezTo>
                  <a:cubicBezTo>
                    <a:pt x="418971" y="261106"/>
                    <a:pt x="418369" y="260806"/>
                    <a:pt x="417818" y="260505"/>
                  </a:cubicBezTo>
                  <a:cubicBezTo>
                    <a:pt x="415964" y="259653"/>
                    <a:pt x="414110" y="258751"/>
                    <a:pt x="412156" y="258050"/>
                  </a:cubicBezTo>
                  <a:cubicBezTo>
                    <a:pt x="392462" y="250784"/>
                    <a:pt x="380386" y="237705"/>
                    <a:pt x="375224" y="218112"/>
                  </a:cubicBezTo>
                  <a:cubicBezTo>
                    <a:pt x="371216" y="202828"/>
                    <a:pt x="361344" y="190702"/>
                    <a:pt x="351873" y="180780"/>
                  </a:cubicBezTo>
                  <a:cubicBezTo>
                    <a:pt x="338995" y="186843"/>
                    <a:pt x="332029" y="178324"/>
                    <a:pt x="326918" y="172011"/>
                  </a:cubicBezTo>
                  <a:cubicBezTo>
                    <a:pt x="325565" y="170357"/>
                    <a:pt x="324262" y="168754"/>
                    <a:pt x="322960" y="167451"/>
                  </a:cubicBezTo>
                  <a:lnTo>
                    <a:pt x="298255" y="161939"/>
                  </a:lnTo>
                  <a:lnTo>
                    <a:pt x="295650" y="127563"/>
                  </a:lnTo>
                  <a:cubicBezTo>
                    <a:pt x="291240" y="122903"/>
                    <a:pt x="285678" y="120097"/>
                    <a:pt x="279765" y="117190"/>
                  </a:cubicBezTo>
                  <a:cubicBezTo>
                    <a:pt x="272749" y="113732"/>
                    <a:pt x="265483" y="110125"/>
                    <a:pt x="260071" y="103059"/>
                  </a:cubicBezTo>
                  <a:lnTo>
                    <a:pt x="259520" y="102358"/>
                  </a:lnTo>
                  <a:lnTo>
                    <a:pt x="259520" y="101456"/>
                  </a:lnTo>
                  <a:cubicBezTo>
                    <a:pt x="259520" y="98349"/>
                    <a:pt x="259420" y="95192"/>
                    <a:pt x="259270" y="91935"/>
                  </a:cubicBezTo>
                  <a:cubicBezTo>
                    <a:pt x="258969" y="84318"/>
                    <a:pt x="258718" y="76401"/>
                    <a:pt x="259921" y="68633"/>
                  </a:cubicBezTo>
                  <a:cubicBezTo>
                    <a:pt x="261074" y="61217"/>
                    <a:pt x="263679" y="54252"/>
                    <a:pt x="266385" y="46886"/>
                  </a:cubicBezTo>
                  <a:cubicBezTo>
                    <a:pt x="267187" y="44731"/>
                    <a:pt x="267989" y="42526"/>
                    <a:pt x="268791" y="40321"/>
                  </a:cubicBezTo>
                  <a:cubicBezTo>
                    <a:pt x="256814" y="39870"/>
                    <a:pt x="245740" y="43178"/>
                    <a:pt x="235067" y="46384"/>
                  </a:cubicBezTo>
                  <a:cubicBezTo>
                    <a:pt x="226598" y="48940"/>
                    <a:pt x="217829" y="51596"/>
                    <a:pt x="208759" y="52298"/>
                  </a:cubicBezTo>
                  <a:lnTo>
                    <a:pt x="207606" y="52398"/>
                  </a:lnTo>
                  <a:lnTo>
                    <a:pt x="206754" y="51596"/>
                  </a:lnTo>
                  <a:cubicBezTo>
                    <a:pt x="205151" y="50093"/>
                    <a:pt x="203547" y="48639"/>
                    <a:pt x="201944" y="47237"/>
                  </a:cubicBezTo>
                  <a:cubicBezTo>
                    <a:pt x="198687" y="44330"/>
                    <a:pt x="195630" y="41524"/>
                    <a:pt x="192673" y="38517"/>
                  </a:cubicBezTo>
                  <a:cubicBezTo>
                    <a:pt x="185007" y="30650"/>
                    <a:pt x="178793" y="25088"/>
                    <a:pt x="168520" y="25338"/>
                  </a:cubicBezTo>
                  <a:cubicBezTo>
                    <a:pt x="163259" y="25338"/>
                    <a:pt x="158548" y="21730"/>
                    <a:pt x="154540" y="18774"/>
                  </a:cubicBezTo>
                  <a:cubicBezTo>
                    <a:pt x="151834" y="16770"/>
                    <a:pt x="149428" y="14415"/>
                    <a:pt x="147123" y="12159"/>
                  </a:cubicBezTo>
                  <a:cubicBezTo>
                    <a:pt x="144868" y="10005"/>
                    <a:pt x="142764" y="7950"/>
                    <a:pt x="140459" y="6196"/>
                  </a:cubicBezTo>
                  <a:cubicBezTo>
                    <a:pt x="131940" y="-268"/>
                    <a:pt x="123872" y="-1621"/>
                    <a:pt x="114351" y="1887"/>
                  </a:cubicBezTo>
                  <a:cubicBezTo>
                    <a:pt x="100270" y="7048"/>
                    <a:pt x="89046" y="13913"/>
                    <a:pt x="79124" y="23484"/>
                  </a:cubicBezTo>
                  <a:cubicBezTo>
                    <a:pt x="78973" y="27543"/>
                    <a:pt x="78873" y="31702"/>
                    <a:pt x="78773" y="35811"/>
                  </a:cubicBezTo>
                  <a:cubicBezTo>
                    <a:pt x="78222" y="59113"/>
                    <a:pt x="77621" y="83165"/>
                    <a:pt x="65594" y="105464"/>
                  </a:cubicBezTo>
                  <a:lnTo>
                    <a:pt x="65093" y="106366"/>
                  </a:lnTo>
                  <a:lnTo>
                    <a:pt x="64091" y="106717"/>
                  </a:lnTo>
                  <a:cubicBezTo>
                    <a:pt x="63289" y="106968"/>
                    <a:pt x="62588" y="107319"/>
                    <a:pt x="61836" y="107619"/>
                  </a:cubicBezTo>
                  <a:cubicBezTo>
                    <a:pt x="60182" y="108321"/>
                    <a:pt x="58479" y="109022"/>
                    <a:pt x="56574" y="109223"/>
                  </a:cubicBezTo>
                  <a:cubicBezTo>
                    <a:pt x="42092" y="110576"/>
                    <a:pt x="32321" y="117942"/>
                    <a:pt x="26759" y="131622"/>
                  </a:cubicBezTo>
                  <a:cubicBezTo>
                    <a:pt x="22499" y="142045"/>
                    <a:pt x="14783" y="149962"/>
                    <a:pt x="7967" y="156978"/>
                  </a:cubicBezTo>
                  <a:cubicBezTo>
                    <a:pt x="5713" y="159283"/>
                    <a:pt x="3909" y="162089"/>
                    <a:pt x="1804" y="165346"/>
                  </a:cubicBezTo>
                  <a:cubicBezTo>
                    <a:pt x="1203" y="166248"/>
                    <a:pt x="601" y="167200"/>
                    <a:pt x="0" y="168152"/>
                  </a:cubicBezTo>
                  <a:cubicBezTo>
                    <a:pt x="1854" y="169605"/>
                    <a:pt x="3608" y="171009"/>
                    <a:pt x="5312" y="172361"/>
                  </a:cubicBezTo>
                  <a:cubicBezTo>
                    <a:pt x="10172" y="176270"/>
                    <a:pt x="14783" y="179928"/>
                    <a:pt x="19493" y="183335"/>
                  </a:cubicBezTo>
                  <a:cubicBezTo>
                    <a:pt x="24103" y="186693"/>
                    <a:pt x="28813" y="189900"/>
                    <a:pt x="33474" y="193107"/>
                  </a:cubicBezTo>
                  <a:cubicBezTo>
                    <a:pt x="38535" y="196565"/>
                    <a:pt x="43596" y="200022"/>
                    <a:pt x="48557" y="203630"/>
                  </a:cubicBezTo>
                  <a:cubicBezTo>
                    <a:pt x="60533" y="212399"/>
                    <a:pt x="63239" y="225578"/>
                    <a:pt x="55522" y="237956"/>
                  </a:cubicBezTo>
                  <a:cubicBezTo>
                    <a:pt x="54019" y="240411"/>
                    <a:pt x="51914" y="242365"/>
                    <a:pt x="49709" y="244420"/>
                  </a:cubicBezTo>
                  <a:cubicBezTo>
                    <a:pt x="49158" y="244971"/>
                    <a:pt x="48557" y="245522"/>
                    <a:pt x="47955" y="246073"/>
                  </a:cubicBezTo>
                  <a:cubicBezTo>
                    <a:pt x="49759" y="250383"/>
                    <a:pt x="49960" y="254793"/>
                    <a:pt x="50160" y="259102"/>
                  </a:cubicBezTo>
                  <a:cubicBezTo>
                    <a:pt x="50411" y="264414"/>
                    <a:pt x="50611" y="269475"/>
                    <a:pt x="53718" y="274336"/>
                  </a:cubicBezTo>
                  <a:lnTo>
                    <a:pt x="93054" y="282553"/>
                  </a:lnTo>
                  <a:cubicBezTo>
                    <a:pt x="97514" y="283506"/>
                    <a:pt x="102024" y="284358"/>
                    <a:pt x="106534" y="285209"/>
                  </a:cubicBezTo>
                  <a:cubicBezTo>
                    <a:pt x="126077" y="288867"/>
                    <a:pt x="146321" y="292676"/>
                    <a:pt x="163259" y="304953"/>
                  </a:cubicBezTo>
                  <a:cubicBezTo>
                    <a:pt x="163910" y="304602"/>
                    <a:pt x="164562" y="304301"/>
                    <a:pt x="165113" y="304001"/>
                  </a:cubicBezTo>
                  <a:cubicBezTo>
                    <a:pt x="166616" y="303249"/>
                    <a:pt x="167819" y="302698"/>
                    <a:pt x="168370" y="302046"/>
                  </a:cubicBezTo>
                  <a:cubicBezTo>
                    <a:pt x="175586" y="293628"/>
                    <a:pt x="184355" y="291173"/>
                    <a:pt x="192523" y="291173"/>
                  </a:cubicBezTo>
                  <a:cubicBezTo>
                    <a:pt x="197333" y="291173"/>
                    <a:pt x="201944" y="292024"/>
                    <a:pt x="205852" y="292976"/>
                  </a:cubicBezTo>
                  <a:cubicBezTo>
                    <a:pt x="218330" y="295983"/>
                    <a:pt x="227650" y="299641"/>
                    <a:pt x="235067" y="304452"/>
                  </a:cubicBezTo>
                  <a:cubicBezTo>
                    <a:pt x="241631" y="308711"/>
                    <a:pt x="248496" y="311016"/>
                    <a:pt x="258117" y="312219"/>
                  </a:cubicBezTo>
                  <a:cubicBezTo>
                    <a:pt x="269141" y="313622"/>
                    <a:pt x="280216" y="314975"/>
                    <a:pt x="291290" y="316278"/>
                  </a:cubicBezTo>
                  <a:cubicBezTo>
                    <a:pt x="317347" y="319435"/>
                    <a:pt x="344306" y="322742"/>
                    <a:pt x="370765" y="326500"/>
                  </a:cubicBezTo>
                  <a:cubicBezTo>
                    <a:pt x="382540" y="328154"/>
                    <a:pt x="389807" y="325899"/>
                    <a:pt x="395820" y="318783"/>
                  </a:cubicBezTo>
                  <a:cubicBezTo>
                    <a:pt x="402484" y="310866"/>
                    <a:pt x="411654" y="308661"/>
                    <a:pt x="422328" y="312369"/>
                  </a:cubicBezTo>
                  <a:cubicBezTo>
                    <a:pt x="423230" y="312670"/>
                    <a:pt x="424132" y="313020"/>
                    <a:pt x="425034" y="313371"/>
                  </a:cubicBezTo>
                  <a:cubicBezTo>
                    <a:pt x="427038" y="314173"/>
                    <a:pt x="428942" y="314875"/>
                    <a:pt x="430847" y="315225"/>
                  </a:cubicBezTo>
                  <a:cubicBezTo>
                    <a:pt x="433753" y="315726"/>
                    <a:pt x="436659" y="314775"/>
                    <a:pt x="438363" y="312620"/>
                  </a:cubicBezTo>
                  <a:cubicBezTo>
                    <a:pt x="439917" y="310715"/>
                    <a:pt x="440217" y="308310"/>
                    <a:pt x="439265" y="306005"/>
                  </a:cubicBezTo>
                  <a:cubicBezTo>
                    <a:pt x="434755" y="295181"/>
                    <a:pt x="429895" y="284207"/>
                    <a:pt x="425184" y="27363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35" name="Полилиния: фигура 134">
              <a:extLst>
                <a:ext uri="{FF2B5EF4-FFF2-40B4-BE49-F238E27FC236}">
                  <a16:creationId xmlns:a16="http://schemas.microsoft.com/office/drawing/2014/main" id="{5CC4860B-76CE-4840-8736-3293EF768AEC}"/>
                </a:ext>
              </a:extLst>
            </p:cNvPr>
            <p:cNvSpPr/>
            <p:nvPr/>
          </p:nvSpPr>
          <p:spPr>
            <a:xfrm>
              <a:off x="1566616" y="1950180"/>
              <a:ext cx="637058" cy="559775"/>
            </a:xfrm>
            <a:custGeom>
              <a:avLst/>
              <a:gdLst>
                <a:gd name="connsiteX0" fmla="*/ 276307 w 510822"/>
                <a:gd name="connsiteY0" fmla="*/ 242500 h 448853"/>
                <a:gd name="connsiteX1" fmla="*/ 257065 w 510822"/>
                <a:gd name="connsiteY1" fmla="*/ 232277 h 448853"/>
                <a:gd name="connsiteX2" fmla="*/ 246993 w 510822"/>
                <a:gd name="connsiteY2" fmla="*/ 231676 h 448853"/>
                <a:gd name="connsiteX3" fmla="*/ 210913 w 510822"/>
                <a:gd name="connsiteY3" fmla="*/ 207824 h 448853"/>
                <a:gd name="connsiteX4" fmla="*/ 208909 w 510822"/>
                <a:gd name="connsiteY4" fmla="*/ 204717 h 448853"/>
                <a:gd name="connsiteX5" fmla="*/ 212467 w 510822"/>
                <a:gd name="connsiteY5" fmla="*/ 203765 h 448853"/>
                <a:gd name="connsiteX6" fmla="*/ 230005 w 510822"/>
                <a:gd name="connsiteY6" fmla="*/ 184924 h 448853"/>
                <a:gd name="connsiteX7" fmla="*/ 233914 w 510822"/>
                <a:gd name="connsiteY7" fmla="*/ 176655 h 448853"/>
                <a:gd name="connsiteX8" fmla="*/ 245189 w 510822"/>
                <a:gd name="connsiteY8" fmla="*/ 151199 h 448853"/>
                <a:gd name="connsiteX9" fmla="*/ 276257 w 510822"/>
                <a:gd name="connsiteY9" fmla="*/ 94926 h 448853"/>
                <a:gd name="connsiteX10" fmla="*/ 277610 w 510822"/>
                <a:gd name="connsiteY10" fmla="*/ 48474 h 448853"/>
                <a:gd name="connsiteX11" fmla="*/ 265884 w 510822"/>
                <a:gd name="connsiteY11" fmla="*/ 14148 h 448853"/>
                <a:gd name="connsiteX12" fmla="*/ 264531 w 510822"/>
                <a:gd name="connsiteY12" fmla="*/ 11192 h 448853"/>
                <a:gd name="connsiteX13" fmla="*/ 263579 w 510822"/>
                <a:gd name="connsiteY13" fmla="*/ 9538 h 448853"/>
                <a:gd name="connsiteX14" fmla="*/ 259420 w 510822"/>
                <a:gd name="connsiteY14" fmla="*/ 9037 h 448853"/>
                <a:gd name="connsiteX15" fmla="*/ 247193 w 510822"/>
                <a:gd name="connsiteY15" fmla="*/ 8185 h 448853"/>
                <a:gd name="connsiteX16" fmla="*/ 171377 w 510822"/>
                <a:gd name="connsiteY16" fmla="*/ 1170 h 448853"/>
                <a:gd name="connsiteX17" fmla="*/ 169773 w 510822"/>
                <a:gd name="connsiteY17" fmla="*/ 719 h 448853"/>
                <a:gd name="connsiteX18" fmla="*/ 165814 w 510822"/>
                <a:gd name="connsiteY18" fmla="*/ 67 h 448853"/>
                <a:gd name="connsiteX19" fmla="*/ 158047 w 510822"/>
                <a:gd name="connsiteY19" fmla="*/ 3425 h 448853"/>
                <a:gd name="connsiteX20" fmla="*/ 156845 w 510822"/>
                <a:gd name="connsiteY20" fmla="*/ 4026 h 448853"/>
                <a:gd name="connsiteX21" fmla="*/ 172379 w 510822"/>
                <a:gd name="connsiteY21" fmla="*/ 13346 h 448853"/>
                <a:gd name="connsiteX22" fmla="*/ 194427 w 510822"/>
                <a:gd name="connsiteY22" fmla="*/ 30885 h 448853"/>
                <a:gd name="connsiteX23" fmla="*/ 195379 w 510822"/>
                <a:gd name="connsiteY23" fmla="*/ 33942 h 448853"/>
                <a:gd name="connsiteX24" fmla="*/ 192172 w 510822"/>
                <a:gd name="connsiteY24" fmla="*/ 34343 h 448853"/>
                <a:gd name="connsiteX25" fmla="*/ 176538 w 510822"/>
                <a:gd name="connsiteY25" fmla="*/ 46970 h 448853"/>
                <a:gd name="connsiteX26" fmla="*/ 174082 w 510822"/>
                <a:gd name="connsiteY26" fmla="*/ 50678 h 448853"/>
                <a:gd name="connsiteX27" fmla="*/ 167769 w 510822"/>
                <a:gd name="connsiteY27" fmla="*/ 73178 h 448853"/>
                <a:gd name="connsiteX28" fmla="*/ 132491 w 510822"/>
                <a:gd name="connsiteY28" fmla="*/ 117225 h 448853"/>
                <a:gd name="connsiteX29" fmla="*/ 109440 w 510822"/>
                <a:gd name="connsiteY29" fmla="*/ 109107 h 448853"/>
                <a:gd name="connsiteX30" fmla="*/ 99970 w 510822"/>
                <a:gd name="connsiteY30" fmla="*/ 100688 h 448853"/>
                <a:gd name="connsiteX31" fmla="*/ 96963 w 510822"/>
                <a:gd name="connsiteY31" fmla="*/ 98133 h 448853"/>
                <a:gd name="connsiteX32" fmla="*/ 95710 w 510822"/>
                <a:gd name="connsiteY32" fmla="*/ 98233 h 448853"/>
                <a:gd name="connsiteX33" fmla="*/ 92804 w 510822"/>
                <a:gd name="connsiteY33" fmla="*/ 98584 h 448853"/>
                <a:gd name="connsiteX34" fmla="*/ 90298 w 510822"/>
                <a:gd name="connsiteY34" fmla="*/ 99536 h 448853"/>
                <a:gd name="connsiteX35" fmla="*/ 85939 w 510822"/>
                <a:gd name="connsiteY35" fmla="*/ 100989 h 448853"/>
                <a:gd name="connsiteX36" fmla="*/ 69553 w 510822"/>
                <a:gd name="connsiteY36" fmla="*/ 90366 h 448853"/>
                <a:gd name="connsiteX37" fmla="*/ 67649 w 510822"/>
                <a:gd name="connsiteY37" fmla="*/ 87509 h 448853"/>
                <a:gd name="connsiteX38" fmla="*/ 51513 w 510822"/>
                <a:gd name="connsiteY38" fmla="*/ 104847 h 448853"/>
                <a:gd name="connsiteX39" fmla="*/ 41441 w 510822"/>
                <a:gd name="connsiteY39" fmla="*/ 118327 h 448853"/>
                <a:gd name="connsiteX40" fmla="*/ 40288 w 510822"/>
                <a:gd name="connsiteY40" fmla="*/ 119480 h 448853"/>
                <a:gd name="connsiteX41" fmla="*/ 20194 w 510822"/>
                <a:gd name="connsiteY41" fmla="*/ 113466 h 448853"/>
                <a:gd name="connsiteX42" fmla="*/ 0 w 510822"/>
                <a:gd name="connsiteY42" fmla="*/ 123639 h 448853"/>
                <a:gd name="connsiteX43" fmla="*/ 19443 w 510822"/>
                <a:gd name="connsiteY43" fmla="*/ 172947 h 448853"/>
                <a:gd name="connsiteX44" fmla="*/ 26508 w 510822"/>
                <a:gd name="connsiteY44" fmla="*/ 220151 h 448853"/>
                <a:gd name="connsiteX45" fmla="*/ 29465 w 510822"/>
                <a:gd name="connsiteY45" fmla="*/ 245557 h 448853"/>
                <a:gd name="connsiteX46" fmla="*/ 48156 w 510822"/>
                <a:gd name="connsiteY46" fmla="*/ 253725 h 448853"/>
                <a:gd name="connsiteX47" fmla="*/ 83884 w 510822"/>
                <a:gd name="connsiteY47" fmla="*/ 263296 h 448853"/>
                <a:gd name="connsiteX48" fmla="*/ 88795 w 510822"/>
                <a:gd name="connsiteY48" fmla="*/ 269409 h 448853"/>
                <a:gd name="connsiteX49" fmla="*/ 88945 w 510822"/>
                <a:gd name="connsiteY49" fmla="*/ 269559 h 448853"/>
                <a:gd name="connsiteX50" fmla="*/ 99318 w 510822"/>
                <a:gd name="connsiteY50" fmla="*/ 268557 h 448853"/>
                <a:gd name="connsiteX51" fmla="*/ 122219 w 510822"/>
                <a:gd name="connsiteY51" fmla="*/ 266653 h 448853"/>
                <a:gd name="connsiteX52" fmla="*/ 140559 w 510822"/>
                <a:gd name="connsiteY52" fmla="*/ 275623 h 448853"/>
                <a:gd name="connsiteX53" fmla="*/ 159751 w 510822"/>
                <a:gd name="connsiteY53" fmla="*/ 279732 h 448853"/>
                <a:gd name="connsiteX54" fmla="*/ 178492 w 510822"/>
                <a:gd name="connsiteY54" fmla="*/ 270862 h 448853"/>
                <a:gd name="connsiteX55" fmla="*/ 186560 w 510822"/>
                <a:gd name="connsiteY55" fmla="*/ 267104 h 448853"/>
                <a:gd name="connsiteX56" fmla="*/ 188514 w 510822"/>
                <a:gd name="connsiteY56" fmla="*/ 266202 h 448853"/>
                <a:gd name="connsiteX57" fmla="*/ 189817 w 510822"/>
                <a:gd name="connsiteY57" fmla="*/ 267906 h 448853"/>
                <a:gd name="connsiteX58" fmla="*/ 195981 w 510822"/>
                <a:gd name="connsiteY58" fmla="*/ 275823 h 448853"/>
                <a:gd name="connsiteX59" fmla="*/ 208859 w 510822"/>
                <a:gd name="connsiteY59" fmla="*/ 293262 h 448853"/>
                <a:gd name="connsiteX60" fmla="*/ 214521 w 510822"/>
                <a:gd name="connsiteY60" fmla="*/ 309347 h 448853"/>
                <a:gd name="connsiteX61" fmla="*/ 216075 w 510822"/>
                <a:gd name="connsiteY61" fmla="*/ 324280 h 448853"/>
                <a:gd name="connsiteX62" fmla="*/ 216426 w 510822"/>
                <a:gd name="connsiteY62" fmla="*/ 329391 h 448853"/>
                <a:gd name="connsiteX63" fmla="*/ 220935 w 510822"/>
                <a:gd name="connsiteY63" fmla="*/ 329792 h 448853"/>
                <a:gd name="connsiteX64" fmla="*/ 236019 w 510822"/>
                <a:gd name="connsiteY64" fmla="*/ 331445 h 448853"/>
                <a:gd name="connsiteX65" fmla="*/ 249999 w 510822"/>
                <a:gd name="connsiteY65" fmla="*/ 335254 h 448853"/>
                <a:gd name="connsiteX66" fmla="*/ 279715 w 510822"/>
                <a:gd name="connsiteY66" fmla="*/ 379852 h 448853"/>
                <a:gd name="connsiteX67" fmla="*/ 280065 w 510822"/>
                <a:gd name="connsiteY67" fmla="*/ 385214 h 448853"/>
                <a:gd name="connsiteX68" fmla="*/ 299608 w 510822"/>
                <a:gd name="connsiteY68" fmla="*/ 435674 h 448853"/>
                <a:gd name="connsiteX69" fmla="*/ 300560 w 510822"/>
                <a:gd name="connsiteY69" fmla="*/ 437027 h 448853"/>
                <a:gd name="connsiteX70" fmla="*/ 312587 w 510822"/>
                <a:gd name="connsiteY70" fmla="*/ 443542 h 448853"/>
                <a:gd name="connsiteX71" fmla="*/ 337742 w 510822"/>
                <a:gd name="connsiteY71" fmla="*/ 447150 h 448853"/>
                <a:gd name="connsiteX72" fmla="*/ 348566 w 510822"/>
                <a:gd name="connsiteY72" fmla="*/ 448853 h 448853"/>
                <a:gd name="connsiteX73" fmla="*/ 353777 w 510822"/>
                <a:gd name="connsiteY73" fmla="*/ 444444 h 448853"/>
                <a:gd name="connsiteX74" fmla="*/ 376126 w 510822"/>
                <a:gd name="connsiteY74" fmla="*/ 433470 h 448853"/>
                <a:gd name="connsiteX75" fmla="*/ 379935 w 510822"/>
                <a:gd name="connsiteY75" fmla="*/ 423448 h 448853"/>
                <a:gd name="connsiteX76" fmla="*/ 388453 w 510822"/>
                <a:gd name="connsiteY76" fmla="*/ 388771 h 448853"/>
                <a:gd name="connsiteX77" fmla="*/ 397223 w 510822"/>
                <a:gd name="connsiteY77" fmla="*/ 375542 h 448853"/>
                <a:gd name="connsiteX78" fmla="*/ 433001 w 510822"/>
                <a:gd name="connsiteY78" fmla="*/ 355649 h 448853"/>
                <a:gd name="connsiteX79" fmla="*/ 463418 w 510822"/>
                <a:gd name="connsiteY79" fmla="*/ 329090 h 448853"/>
                <a:gd name="connsiteX80" fmla="*/ 487772 w 510822"/>
                <a:gd name="connsiteY80" fmla="*/ 312353 h 448853"/>
                <a:gd name="connsiteX81" fmla="*/ 488373 w 510822"/>
                <a:gd name="connsiteY81" fmla="*/ 312353 h 448853"/>
                <a:gd name="connsiteX82" fmla="*/ 501702 w 510822"/>
                <a:gd name="connsiteY82" fmla="*/ 311902 h 448853"/>
                <a:gd name="connsiteX83" fmla="*/ 510822 w 510822"/>
                <a:gd name="connsiteY83" fmla="*/ 306841 h 448853"/>
                <a:gd name="connsiteX84" fmla="*/ 508718 w 510822"/>
                <a:gd name="connsiteY84" fmla="*/ 298623 h 448853"/>
                <a:gd name="connsiteX85" fmla="*/ 503206 w 510822"/>
                <a:gd name="connsiteY85" fmla="*/ 276525 h 448853"/>
                <a:gd name="connsiteX86" fmla="*/ 486820 w 510822"/>
                <a:gd name="connsiteY86" fmla="*/ 260840 h 448853"/>
                <a:gd name="connsiteX87" fmla="*/ 464621 w 510822"/>
                <a:gd name="connsiteY87" fmla="*/ 249515 h 448853"/>
                <a:gd name="connsiteX88" fmla="*/ 443124 w 510822"/>
                <a:gd name="connsiteY88" fmla="*/ 229120 h 448853"/>
                <a:gd name="connsiteX89" fmla="*/ 442673 w 510822"/>
                <a:gd name="connsiteY89" fmla="*/ 229221 h 448853"/>
                <a:gd name="connsiteX90" fmla="*/ 446832 w 510822"/>
                <a:gd name="connsiteY90" fmla="*/ 246308 h 448853"/>
                <a:gd name="connsiteX91" fmla="*/ 445028 w 510822"/>
                <a:gd name="connsiteY91" fmla="*/ 247310 h 448853"/>
                <a:gd name="connsiteX92" fmla="*/ 418820 w 510822"/>
                <a:gd name="connsiteY92" fmla="*/ 248313 h 448853"/>
                <a:gd name="connsiteX93" fmla="*/ 390308 w 510822"/>
                <a:gd name="connsiteY93" fmla="*/ 242199 h 448853"/>
                <a:gd name="connsiteX94" fmla="*/ 383743 w 510822"/>
                <a:gd name="connsiteY94" fmla="*/ 242049 h 448853"/>
                <a:gd name="connsiteX95" fmla="*/ 350270 w 510822"/>
                <a:gd name="connsiteY95" fmla="*/ 240496 h 448853"/>
                <a:gd name="connsiteX96" fmla="*/ 336189 w 510822"/>
                <a:gd name="connsiteY96" fmla="*/ 239794 h 448853"/>
                <a:gd name="connsiteX97" fmla="*/ 289737 w 510822"/>
                <a:gd name="connsiteY97" fmla="*/ 258034 h 448853"/>
                <a:gd name="connsiteX98" fmla="*/ 288283 w 510822"/>
                <a:gd name="connsiteY98" fmla="*/ 258134 h 448853"/>
                <a:gd name="connsiteX99" fmla="*/ 287381 w 510822"/>
                <a:gd name="connsiteY99" fmla="*/ 256982 h 448853"/>
                <a:gd name="connsiteX100" fmla="*/ 286229 w 510822"/>
                <a:gd name="connsiteY100" fmla="*/ 255629 h 448853"/>
                <a:gd name="connsiteX101" fmla="*/ 285126 w 510822"/>
                <a:gd name="connsiteY101" fmla="*/ 256080 h 448853"/>
                <a:gd name="connsiteX102" fmla="*/ 285928 w 510822"/>
                <a:gd name="connsiteY102" fmla="*/ 255278 h 448853"/>
                <a:gd name="connsiteX103" fmla="*/ 284225 w 510822"/>
                <a:gd name="connsiteY103" fmla="*/ 253224 h 448853"/>
                <a:gd name="connsiteX104" fmla="*/ 276207 w 510822"/>
                <a:gd name="connsiteY104" fmla="*/ 242550 h 448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10822" h="448853">
                  <a:moveTo>
                    <a:pt x="276307" y="242500"/>
                  </a:moveTo>
                  <a:cubicBezTo>
                    <a:pt x="271747" y="235134"/>
                    <a:pt x="265634" y="231927"/>
                    <a:pt x="257065" y="232277"/>
                  </a:cubicBezTo>
                  <a:cubicBezTo>
                    <a:pt x="253457" y="232478"/>
                    <a:pt x="250049" y="232277"/>
                    <a:pt x="246993" y="231676"/>
                  </a:cubicBezTo>
                  <a:cubicBezTo>
                    <a:pt x="230707" y="228519"/>
                    <a:pt x="219582" y="221153"/>
                    <a:pt x="210913" y="207824"/>
                  </a:cubicBezTo>
                  <a:lnTo>
                    <a:pt x="208909" y="204717"/>
                  </a:lnTo>
                  <a:lnTo>
                    <a:pt x="212467" y="203765"/>
                  </a:lnTo>
                  <a:cubicBezTo>
                    <a:pt x="222539" y="201059"/>
                    <a:pt x="226147" y="193242"/>
                    <a:pt x="230005" y="184924"/>
                  </a:cubicBezTo>
                  <a:lnTo>
                    <a:pt x="233914" y="176655"/>
                  </a:lnTo>
                  <a:cubicBezTo>
                    <a:pt x="237822" y="168387"/>
                    <a:pt x="241881" y="159818"/>
                    <a:pt x="245189" y="151199"/>
                  </a:cubicBezTo>
                  <a:cubicBezTo>
                    <a:pt x="253808" y="128600"/>
                    <a:pt x="263679" y="110710"/>
                    <a:pt x="276257" y="94926"/>
                  </a:cubicBezTo>
                  <a:cubicBezTo>
                    <a:pt x="289286" y="78540"/>
                    <a:pt x="289636" y="66814"/>
                    <a:pt x="277610" y="48474"/>
                  </a:cubicBezTo>
                  <a:cubicBezTo>
                    <a:pt x="272098" y="40055"/>
                    <a:pt x="265784" y="28530"/>
                    <a:pt x="265884" y="14148"/>
                  </a:cubicBezTo>
                  <a:cubicBezTo>
                    <a:pt x="265884" y="13547"/>
                    <a:pt x="265183" y="12344"/>
                    <a:pt x="264531" y="11192"/>
                  </a:cubicBezTo>
                  <a:cubicBezTo>
                    <a:pt x="264231" y="10641"/>
                    <a:pt x="263930" y="10089"/>
                    <a:pt x="263579" y="9538"/>
                  </a:cubicBezTo>
                  <a:cubicBezTo>
                    <a:pt x="262176" y="9388"/>
                    <a:pt x="260823" y="9237"/>
                    <a:pt x="259420" y="9037"/>
                  </a:cubicBezTo>
                  <a:cubicBezTo>
                    <a:pt x="255361" y="8536"/>
                    <a:pt x="251202" y="8085"/>
                    <a:pt x="247193" y="8185"/>
                  </a:cubicBezTo>
                  <a:cubicBezTo>
                    <a:pt x="217929" y="9087"/>
                    <a:pt x="193826" y="6832"/>
                    <a:pt x="171377" y="1170"/>
                  </a:cubicBezTo>
                  <a:cubicBezTo>
                    <a:pt x="170875" y="1019"/>
                    <a:pt x="170324" y="869"/>
                    <a:pt x="169773" y="719"/>
                  </a:cubicBezTo>
                  <a:cubicBezTo>
                    <a:pt x="168320" y="318"/>
                    <a:pt x="166716" y="-183"/>
                    <a:pt x="165814" y="67"/>
                  </a:cubicBezTo>
                  <a:cubicBezTo>
                    <a:pt x="163209" y="819"/>
                    <a:pt x="160703" y="2072"/>
                    <a:pt x="158047" y="3425"/>
                  </a:cubicBezTo>
                  <a:cubicBezTo>
                    <a:pt x="157646" y="3625"/>
                    <a:pt x="157245" y="3826"/>
                    <a:pt x="156845" y="4026"/>
                  </a:cubicBezTo>
                  <a:cubicBezTo>
                    <a:pt x="159701" y="10390"/>
                    <a:pt x="164361" y="13146"/>
                    <a:pt x="172379" y="13346"/>
                  </a:cubicBezTo>
                  <a:cubicBezTo>
                    <a:pt x="183653" y="13647"/>
                    <a:pt x="190869" y="19360"/>
                    <a:pt x="194427" y="30885"/>
                  </a:cubicBezTo>
                  <a:lnTo>
                    <a:pt x="195379" y="33942"/>
                  </a:lnTo>
                  <a:lnTo>
                    <a:pt x="192172" y="34343"/>
                  </a:lnTo>
                  <a:cubicBezTo>
                    <a:pt x="184054" y="35345"/>
                    <a:pt x="180747" y="40456"/>
                    <a:pt x="176538" y="46970"/>
                  </a:cubicBezTo>
                  <a:cubicBezTo>
                    <a:pt x="175736" y="48223"/>
                    <a:pt x="174934" y="49426"/>
                    <a:pt x="174082" y="50678"/>
                  </a:cubicBezTo>
                  <a:cubicBezTo>
                    <a:pt x="169021" y="57995"/>
                    <a:pt x="167919" y="64709"/>
                    <a:pt x="167769" y="73178"/>
                  </a:cubicBezTo>
                  <a:cubicBezTo>
                    <a:pt x="167618" y="83902"/>
                    <a:pt x="141361" y="114970"/>
                    <a:pt x="132491" y="117225"/>
                  </a:cubicBezTo>
                  <a:cubicBezTo>
                    <a:pt x="121617" y="119931"/>
                    <a:pt x="115604" y="115170"/>
                    <a:pt x="109440" y="109107"/>
                  </a:cubicBezTo>
                  <a:cubicBezTo>
                    <a:pt x="106384" y="106100"/>
                    <a:pt x="103127" y="103344"/>
                    <a:pt x="99970" y="100688"/>
                  </a:cubicBezTo>
                  <a:cubicBezTo>
                    <a:pt x="98917" y="99836"/>
                    <a:pt x="97915" y="98935"/>
                    <a:pt x="96963" y="98133"/>
                  </a:cubicBezTo>
                  <a:cubicBezTo>
                    <a:pt x="96512" y="98133"/>
                    <a:pt x="96111" y="98183"/>
                    <a:pt x="95710" y="98233"/>
                  </a:cubicBezTo>
                  <a:cubicBezTo>
                    <a:pt x="94457" y="98333"/>
                    <a:pt x="93505" y="98383"/>
                    <a:pt x="92804" y="98584"/>
                  </a:cubicBezTo>
                  <a:cubicBezTo>
                    <a:pt x="91952" y="98834"/>
                    <a:pt x="91100" y="99185"/>
                    <a:pt x="90298" y="99536"/>
                  </a:cubicBezTo>
                  <a:cubicBezTo>
                    <a:pt x="88945" y="100087"/>
                    <a:pt x="87542" y="100688"/>
                    <a:pt x="85939" y="100989"/>
                  </a:cubicBezTo>
                  <a:cubicBezTo>
                    <a:pt x="76668" y="102542"/>
                    <a:pt x="74413" y="100237"/>
                    <a:pt x="69553" y="90366"/>
                  </a:cubicBezTo>
                  <a:cubicBezTo>
                    <a:pt x="69052" y="89414"/>
                    <a:pt x="68350" y="88462"/>
                    <a:pt x="67649" y="87509"/>
                  </a:cubicBezTo>
                  <a:cubicBezTo>
                    <a:pt x="60182" y="91218"/>
                    <a:pt x="55973" y="97882"/>
                    <a:pt x="51513" y="104847"/>
                  </a:cubicBezTo>
                  <a:cubicBezTo>
                    <a:pt x="48557" y="109458"/>
                    <a:pt x="45550" y="114218"/>
                    <a:pt x="41441" y="118327"/>
                  </a:cubicBezTo>
                  <a:lnTo>
                    <a:pt x="40288" y="119480"/>
                  </a:lnTo>
                  <a:lnTo>
                    <a:pt x="20194" y="113466"/>
                  </a:lnTo>
                  <a:lnTo>
                    <a:pt x="0" y="123639"/>
                  </a:lnTo>
                  <a:cubicBezTo>
                    <a:pt x="3909" y="141127"/>
                    <a:pt x="10623" y="156060"/>
                    <a:pt x="19443" y="172947"/>
                  </a:cubicBezTo>
                  <a:cubicBezTo>
                    <a:pt x="26157" y="185725"/>
                    <a:pt x="32221" y="201360"/>
                    <a:pt x="26508" y="220151"/>
                  </a:cubicBezTo>
                  <a:cubicBezTo>
                    <a:pt x="23953" y="228519"/>
                    <a:pt x="24955" y="237088"/>
                    <a:pt x="29465" y="245557"/>
                  </a:cubicBezTo>
                  <a:cubicBezTo>
                    <a:pt x="35728" y="257333"/>
                    <a:pt x="38384" y="258485"/>
                    <a:pt x="48156" y="253725"/>
                  </a:cubicBezTo>
                  <a:cubicBezTo>
                    <a:pt x="62688" y="246659"/>
                    <a:pt x="74013" y="249666"/>
                    <a:pt x="83884" y="263296"/>
                  </a:cubicBezTo>
                  <a:cubicBezTo>
                    <a:pt x="85588" y="265651"/>
                    <a:pt x="87442" y="267856"/>
                    <a:pt x="88795" y="269409"/>
                  </a:cubicBezTo>
                  <a:lnTo>
                    <a:pt x="88945" y="269559"/>
                  </a:lnTo>
                  <a:cubicBezTo>
                    <a:pt x="92553" y="269209"/>
                    <a:pt x="95961" y="268908"/>
                    <a:pt x="99318" y="268557"/>
                  </a:cubicBezTo>
                  <a:cubicBezTo>
                    <a:pt x="107236" y="267806"/>
                    <a:pt x="114752" y="267054"/>
                    <a:pt x="122219" y="266653"/>
                  </a:cubicBezTo>
                  <a:cubicBezTo>
                    <a:pt x="127580" y="266352"/>
                    <a:pt x="135297" y="267004"/>
                    <a:pt x="140559" y="275623"/>
                  </a:cubicBezTo>
                  <a:cubicBezTo>
                    <a:pt x="144818" y="282538"/>
                    <a:pt x="151282" y="283941"/>
                    <a:pt x="159751" y="279732"/>
                  </a:cubicBezTo>
                  <a:cubicBezTo>
                    <a:pt x="166015" y="276625"/>
                    <a:pt x="172379" y="273719"/>
                    <a:pt x="178492" y="270862"/>
                  </a:cubicBezTo>
                  <a:cubicBezTo>
                    <a:pt x="181248" y="269610"/>
                    <a:pt x="183954" y="268357"/>
                    <a:pt x="186560" y="267104"/>
                  </a:cubicBezTo>
                  <a:lnTo>
                    <a:pt x="188514" y="266202"/>
                  </a:lnTo>
                  <a:lnTo>
                    <a:pt x="189817" y="267906"/>
                  </a:lnTo>
                  <a:cubicBezTo>
                    <a:pt x="191922" y="270662"/>
                    <a:pt x="193976" y="273318"/>
                    <a:pt x="195981" y="275823"/>
                  </a:cubicBezTo>
                  <a:cubicBezTo>
                    <a:pt x="200641" y="281736"/>
                    <a:pt x="205000" y="287349"/>
                    <a:pt x="208859" y="293262"/>
                  </a:cubicBezTo>
                  <a:cubicBezTo>
                    <a:pt x="211415" y="297270"/>
                    <a:pt x="213269" y="302532"/>
                    <a:pt x="214521" y="309347"/>
                  </a:cubicBezTo>
                  <a:cubicBezTo>
                    <a:pt x="215373" y="314157"/>
                    <a:pt x="215724" y="319068"/>
                    <a:pt x="216075" y="324280"/>
                  </a:cubicBezTo>
                  <a:cubicBezTo>
                    <a:pt x="216175" y="325933"/>
                    <a:pt x="216275" y="327637"/>
                    <a:pt x="216426" y="329391"/>
                  </a:cubicBezTo>
                  <a:cubicBezTo>
                    <a:pt x="217979" y="329541"/>
                    <a:pt x="219482" y="329642"/>
                    <a:pt x="220935" y="329792"/>
                  </a:cubicBezTo>
                  <a:cubicBezTo>
                    <a:pt x="226197" y="330243"/>
                    <a:pt x="231108" y="330694"/>
                    <a:pt x="236019" y="331445"/>
                  </a:cubicBezTo>
                  <a:cubicBezTo>
                    <a:pt x="240428" y="332147"/>
                    <a:pt x="244988" y="333400"/>
                    <a:pt x="249999" y="335254"/>
                  </a:cubicBezTo>
                  <a:cubicBezTo>
                    <a:pt x="253808" y="336607"/>
                    <a:pt x="279264" y="377046"/>
                    <a:pt x="279715" y="379852"/>
                  </a:cubicBezTo>
                  <a:cubicBezTo>
                    <a:pt x="280015" y="381606"/>
                    <a:pt x="280266" y="383410"/>
                    <a:pt x="280065" y="385214"/>
                  </a:cubicBezTo>
                  <a:cubicBezTo>
                    <a:pt x="278011" y="405107"/>
                    <a:pt x="288484" y="419990"/>
                    <a:pt x="299608" y="435674"/>
                  </a:cubicBezTo>
                  <a:lnTo>
                    <a:pt x="300560" y="437027"/>
                  </a:lnTo>
                  <a:cubicBezTo>
                    <a:pt x="303316" y="440936"/>
                    <a:pt x="307025" y="442940"/>
                    <a:pt x="312587" y="443542"/>
                  </a:cubicBezTo>
                  <a:cubicBezTo>
                    <a:pt x="320755" y="444444"/>
                    <a:pt x="329023" y="445747"/>
                    <a:pt x="337742" y="447150"/>
                  </a:cubicBezTo>
                  <a:cubicBezTo>
                    <a:pt x="341200" y="447701"/>
                    <a:pt x="344808" y="448302"/>
                    <a:pt x="348566" y="448853"/>
                  </a:cubicBezTo>
                  <a:cubicBezTo>
                    <a:pt x="350270" y="447651"/>
                    <a:pt x="351973" y="446097"/>
                    <a:pt x="353777" y="444444"/>
                  </a:cubicBezTo>
                  <a:cubicBezTo>
                    <a:pt x="359189" y="439483"/>
                    <a:pt x="365904" y="433419"/>
                    <a:pt x="376126" y="433470"/>
                  </a:cubicBezTo>
                  <a:cubicBezTo>
                    <a:pt x="377379" y="430012"/>
                    <a:pt x="378682" y="426705"/>
                    <a:pt x="379935" y="423448"/>
                  </a:cubicBezTo>
                  <a:cubicBezTo>
                    <a:pt x="384695" y="411271"/>
                    <a:pt x="388804" y="400748"/>
                    <a:pt x="388453" y="388771"/>
                  </a:cubicBezTo>
                  <a:cubicBezTo>
                    <a:pt x="388253" y="382457"/>
                    <a:pt x="396321" y="376244"/>
                    <a:pt x="397223" y="375542"/>
                  </a:cubicBezTo>
                  <a:cubicBezTo>
                    <a:pt x="408247" y="367224"/>
                    <a:pt x="419271" y="359457"/>
                    <a:pt x="433001" y="355649"/>
                  </a:cubicBezTo>
                  <a:cubicBezTo>
                    <a:pt x="448987" y="351189"/>
                    <a:pt x="458658" y="342770"/>
                    <a:pt x="463418" y="329090"/>
                  </a:cubicBezTo>
                  <a:cubicBezTo>
                    <a:pt x="467126" y="318367"/>
                    <a:pt x="475795" y="312404"/>
                    <a:pt x="487772" y="312353"/>
                  </a:cubicBezTo>
                  <a:lnTo>
                    <a:pt x="488373" y="312353"/>
                  </a:lnTo>
                  <a:cubicBezTo>
                    <a:pt x="492783" y="312353"/>
                    <a:pt x="497343" y="312353"/>
                    <a:pt x="501702" y="311902"/>
                  </a:cubicBezTo>
                  <a:cubicBezTo>
                    <a:pt x="506062" y="311502"/>
                    <a:pt x="509119" y="310900"/>
                    <a:pt x="510822" y="306841"/>
                  </a:cubicBezTo>
                  <a:lnTo>
                    <a:pt x="508718" y="298623"/>
                  </a:lnTo>
                  <a:cubicBezTo>
                    <a:pt x="506914" y="291407"/>
                    <a:pt x="505010" y="283991"/>
                    <a:pt x="503206" y="276525"/>
                  </a:cubicBezTo>
                  <a:cubicBezTo>
                    <a:pt x="500600" y="265851"/>
                    <a:pt x="495539" y="260991"/>
                    <a:pt x="486820" y="260840"/>
                  </a:cubicBezTo>
                  <a:cubicBezTo>
                    <a:pt x="476898" y="260590"/>
                    <a:pt x="470283" y="255228"/>
                    <a:pt x="464621" y="249515"/>
                  </a:cubicBezTo>
                  <a:cubicBezTo>
                    <a:pt x="457505" y="242299"/>
                    <a:pt x="449888" y="235334"/>
                    <a:pt x="443124" y="229120"/>
                  </a:cubicBezTo>
                  <a:cubicBezTo>
                    <a:pt x="442973" y="229120"/>
                    <a:pt x="442823" y="229171"/>
                    <a:pt x="442673" y="229221"/>
                  </a:cubicBezTo>
                  <a:lnTo>
                    <a:pt x="446832" y="246308"/>
                  </a:lnTo>
                  <a:lnTo>
                    <a:pt x="445028" y="247310"/>
                  </a:lnTo>
                  <a:cubicBezTo>
                    <a:pt x="435306" y="252672"/>
                    <a:pt x="425986" y="253023"/>
                    <a:pt x="418820" y="248313"/>
                  </a:cubicBezTo>
                  <a:cubicBezTo>
                    <a:pt x="409951" y="242450"/>
                    <a:pt x="400380" y="242299"/>
                    <a:pt x="390308" y="242199"/>
                  </a:cubicBezTo>
                  <a:cubicBezTo>
                    <a:pt x="388103" y="242199"/>
                    <a:pt x="385948" y="242149"/>
                    <a:pt x="383743" y="242049"/>
                  </a:cubicBezTo>
                  <a:cubicBezTo>
                    <a:pt x="372769" y="241598"/>
                    <a:pt x="361795" y="241047"/>
                    <a:pt x="350270" y="240496"/>
                  </a:cubicBezTo>
                  <a:lnTo>
                    <a:pt x="336189" y="239794"/>
                  </a:lnTo>
                  <a:cubicBezTo>
                    <a:pt x="315593" y="254827"/>
                    <a:pt x="312286" y="256080"/>
                    <a:pt x="289737" y="258034"/>
                  </a:cubicBezTo>
                  <a:lnTo>
                    <a:pt x="288283" y="258134"/>
                  </a:lnTo>
                  <a:lnTo>
                    <a:pt x="287381" y="256982"/>
                  </a:lnTo>
                  <a:cubicBezTo>
                    <a:pt x="287031" y="256531"/>
                    <a:pt x="286630" y="256080"/>
                    <a:pt x="286229" y="255629"/>
                  </a:cubicBezTo>
                  <a:lnTo>
                    <a:pt x="285126" y="256080"/>
                  </a:lnTo>
                  <a:lnTo>
                    <a:pt x="285928" y="255278"/>
                  </a:lnTo>
                  <a:cubicBezTo>
                    <a:pt x="285377" y="254577"/>
                    <a:pt x="284826" y="253925"/>
                    <a:pt x="284225" y="253224"/>
                  </a:cubicBezTo>
                  <a:cubicBezTo>
                    <a:pt x="281468" y="249916"/>
                    <a:pt x="278562" y="246459"/>
                    <a:pt x="276207" y="24255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36" name="Полилиния: фигура 135">
              <a:extLst>
                <a:ext uri="{FF2B5EF4-FFF2-40B4-BE49-F238E27FC236}">
                  <a16:creationId xmlns:a16="http://schemas.microsoft.com/office/drawing/2014/main" id="{F71C93C9-3887-4636-9C23-8D035CE0CFA9}"/>
                </a:ext>
              </a:extLst>
            </p:cNvPr>
            <p:cNvSpPr/>
            <p:nvPr/>
          </p:nvSpPr>
          <p:spPr>
            <a:xfrm>
              <a:off x="1922329" y="2268480"/>
              <a:ext cx="1374" cy="999"/>
            </a:xfrm>
            <a:custGeom>
              <a:avLst/>
              <a:gdLst>
                <a:gd name="connsiteX0" fmla="*/ 1102 w 1102"/>
                <a:gd name="connsiteY0" fmla="*/ 351 h 801"/>
                <a:gd name="connsiteX1" fmla="*/ 802 w 1102"/>
                <a:gd name="connsiteY1" fmla="*/ 0 h 801"/>
                <a:gd name="connsiteX2" fmla="*/ 0 w 1102"/>
                <a:gd name="connsiteY2" fmla="*/ 802 h 801"/>
                <a:gd name="connsiteX3" fmla="*/ 1102 w 1102"/>
                <a:gd name="connsiteY3" fmla="*/ 351 h 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2" h="801">
                  <a:moveTo>
                    <a:pt x="1102" y="351"/>
                  </a:moveTo>
                  <a:cubicBezTo>
                    <a:pt x="1102" y="351"/>
                    <a:pt x="902" y="150"/>
                    <a:pt x="802" y="0"/>
                  </a:cubicBezTo>
                  <a:lnTo>
                    <a:pt x="0" y="802"/>
                  </a:lnTo>
                  <a:lnTo>
                    <a:pt x="1102" y="351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37" name="Полилиния: фигура 136">
              <a:extLst>
                <a:ext uri="{FF2B5EF4-FFF2-40B4-BE49-F238E27FC236}">
                  <a16:creationId xmlns:a16="http://schemas.microsoft.com/office/drawing/2014/main" id="{00755A2E-DB55-4B00-9132-BC058D680A3D}"/>
                </a:ext>
              </a:extLst>
            </p:cNvPr>
            <p:cNvSpPr/>
            <p:nvPr/>
          </p:nvSpPr>
          <p:spPr>
            <a:xfrm>
              <a:off x="2290275" y="3628459"/>
              <a:ext cx="548331" cy="498575"/>
            </a:xfrm>
            <a:custGeom>
              <a:avLst/>
              <a:gdLst>
                <a:gd name="connsiteX0" fmla="*/ 293707 w 439677"/>
                <a:gd name="connsiteY0" fmla="*/ 373723 h 399780"/>
                <a:gd name="connsiteX1" fmla="*/ 291352 w 439677"/>
                <a:gd name="connsiteY1" fmla="*/ 378233 h 399780"/>
                <a:gd name="connsiteX2" fmla="*/ 290550 w 439677"/>
                <a:gd name="connsiteY2" fmla="*/ 392765 h 399780"/>
                <a:gd name="connsiteX3" fmla="*/ 300321 w 439677"/>
                <a:gd name="connsiteY3" fmla="*/ 399780 h 399780"/>
                <a:gd name="connsiteX4" fmla="*/ 325226 w 439677"/>
                <a:gd name="connsiteY4" fmla="*/ 345812 h 399780"/>
                <a:gd name="connsiteX5" fmla="*/ 325727 w 439677"/>
                <a:gd name="connsiteY5" fmla="*/ 344309 h 399780"/>
                <a:gd name="connsiteX6" fmla="*/ 327280 w 439677"/>
                <a:gd name="connsiteY6" fmla="*/ 344008 h 399780"/>
                <a:gd name="connsiteX7" fmla="*/ 330287 w 439677"/>
                <a:gd name="connsiteY7" fmla="*/ 343256 h 399780"/>
                <a:gd name="connsiteX8" fmla="*/ 335899 w 439677"/>
                <a:gd name="connsiteY8" fmla="*/ 342304 h 399780"/>
                <a:gd name="connsiteX9" fmla="*/ 355843 w 439677"/>
                <a:gd name="connsiteY9" fmla="*/ 326470 h 399780"/>
                <a:gd name="connsiteX10" fmla="*/ 354039 w 439677"/>
                <a:gd name="connsiteY10" fmla="*/ 299059 h 399780"/>
                <a:gd name="connsiteX11" fmla="*/ 357447 w 439677"/>
                <a:gd name="connsiteY11" fmla="*/ 275457 h 399780"/>
                <a:gd name="connsiteX12" fmla="*/ 361906 w 439677"/>
                <a:gd name="connsiteY12" fmla="*/ 271248 h 399780"/>
                <a:gd name="connsiteX13" fmla="*/ 364963 w 439677"/>
                <a:gd name="connsiteY13" fmla="*/ 268442 h 399780"/>
                <a:gd name="connsiteX14" fmla="*/ 366517 w 439677"/>
                <a:gd name="connsiteY14" fmla="*/ 269043 h 399780"/>
                <a:gd name="connsiteX15" fmla="*/ 372329 w 439677"/>
                <a:gd name="connsiteY15" fmla="*/ 271649 h 399780"/>
                <a:gd name="connsiteX16" fmla="*/ 381149 w 439677"/>
                <a:gd name="connsiteY16" fmla="*/ 274455 h 399780"/>
                <a:gd name="connsiteX17" fmla="*/ 439477 w 439677"/>
                <a:gd name="connsiteY17" fmla="*/ 251354 h 399780"/>
                <a:gd name="connsiteX18" fmla="*/ 418331 w 439677"/>
                <a:gd name="connsiteY18" fmla="*/ 226249 h 399780"/>
                <a:gd name="connsiteX19" fmla="*/ 398136 w 439677"/>
                <a:gd name="connsiteY19" fmla="*/ 198789 h 399780"/>
                <a:gd name="connsiteX20" fmla="*/ 397635 w 439677"/>
                <a:gd name="connsiteY20" fmla="*/ 196734 h 399780"/>
                <a:gd name="connsiteX21" fmla="*/ 399489 w 439677"/>
                <a:gd name="connsiteY21" fmla="*/ 195732 h 399780"/>
                <a:gd name="connsiteX22" fmla="*/ 417579 w 439677"/>
                <a:gd name="connsiteY22" fmla="*/ 191874 h 399780"/>
                <a:gd name="connsiteX23" fmla="*/ 439677 w 439677"/>
                <a:gd name="connsiteY23" fmla="*/ 183906 h 399780"/>
                <a:gd name="connsiteX24" fmla="*/ 427701 w 439677"/>
                <a:gd name="connsiteY24" fmla="*/ 186512 h 399780"/>
                <a:gd name="connsiteX25" fmla="*/ 426949 w 439677"/>
                <a:gd name="connsiteY25" fmla="*/ 184257 h 399780"/>
                <a:gd name="connsiteX26" fmla="*/ 425045 w 439677"/>
                <a:gd name="connsiteY26" fmla="*/ 163712 h 399780"/>
                <a:gd name="connsiteX27" fmla="*/ 423392 w 439677"/>
                <a:gd name="connsiteY27" fmla="*/ 145321 h 399780"/>
                <a:gd name="connsiteX28" fmla="*/ 418731 w 439677"/>
                <a:gd name="connsiteY28" fmla="*/ 146925 h 399780"/>
                <a:gd name="connsiteX29" fmla="*/ 419082 w 439677"/>
                <a:gd name="connsiteY29" fmla="*/ 149681 h 399780"/>
                <a:gd name="connsiteX30" fmla="*/ 406104 w 439677"/>
                <a:gd name="connsiteY30" fmla="*/ 172982 h 399780"/>
                <a:gd name="connsiteX31" fmla="*/ 397835 w 439677"/>
                <a:gd name="connsiteY31" fmla="*/ 175839 h 399780"/>
                <a:gd name="connsiteX32" fmla="*/ 394127 w 439677"/>
                <a:gd name="connsiteY32" fmla="*/ 177041 h 399780"/>
                <a:gd name="connsiteX33" fmla="*/ 393075 w 439677"/>
                <a:gd name="connsiteY33" fmla="*/ 176440 h 399780"/>
                <a:gd name="connsiteX34" fmla="*/ 385909 w 439677"/>
                <a:gd name="connsiteY34" fmla="*/ 172331 h 399780"/>
                <a:gd name="connsiteX35" fmla="*/ 369974 w 439677"/>
                <a:gd name="connsiteY35" fmla="*/ 163511 h 399780"/>
                <a:gd name="connsiteX36" fmla="*/ 358299 w 439677"/>
                <a:gd name="connsiteY36" fmla="*/ 159352 h 399780"/>
                <a:gd name="connsiteX37" fmla="*/ 333494 w 439677"/>
                <a:gd name="connsiteY37" fmla="*/ 148328 h 399780"/>
                <a:gd name="connsiteX38" fmla="*/ 325176 w 439677"/>
                <a:gd name="connsiteY38" fmla="*/ 142616 h 399780"/>
                <a:gd name="connsiteX39" fmla="*/ 320315 w 439677"/>
                <a:gd name="connsiteY39" fmla="*/ 139709 h 399780"/>
                <a:gd name="connsiteX40" fmla="*/ 317910 w 439677"/>
                <a:gd name="connsiteY40" fmla="*/ 138106 h 399780"/>
                <a:gd name="connsiteX41" fmla="*/ 308690 w 439677"/>
                <a:gd name="connsiteY41" fmla="*/ 131441 h 399780"/>
                <a:gd name="connsiteX42" fmla="*/ 306084 w 439677"/>
                <a:gd name="connsiteY42" fmla="*/ 126129 h 399780"/>
                <a:gd name="connsiteX43" fmla="*/ 305483 w 439677"/>
                <a:gd name="connsiteY43" fmla="*/ 124075 h 399780"/>
                <a:gd name="connsiteX44" fmla="*/ 304831 w 439677"/>
                <a:gd name="connsiteY44" fmla="*/ 122271 h 399780"/>
                <a:gd name="connsiteX45" fmla="*/ 306334 w 439677"/>
                <a:gd name="connsiteY45" fmla="*/ 121068 h 399780"/>
                <a:gd name="connsiteX46" fmla="*/ 318712 w 439677"/>
                <a:gd name="connsiteY46" fmla="*/ 111096 h 399780"/>
                <a:gd name="connsiteX47" fmla="*/ 314402 w 439677"/>
                <a:gd name="connsiteY47" fmla="*/ 106887 h 399780"/>
                <a:gd name="connsiteX48" fmla="*/ 302877 w 439677"/>
                <a:gd name="connsiteY48" fmla="*/ 93006 h 399780"/>
                <a:gd name="connsiteX49" fmla="*/ 297014 w 439677"/>
                <a:gd name="connsiteY49" fmla="*/ 31321 h 399780"/>
                <a:gd name="connsiteX50" fmla="*/ 299219 w 439677"/>
                <a:gd name="connsiteY50" fmla="*/ 20998 h 399780"/>
                <a:gd name="connsiteX51" fmla="*/ 299720 w 439677"/>
                <a:gd name="connsiteY51" fmla="*/ 18142 h 399780"/>
                <a:gd name="connsiteX52" fmla="*/ 269804 w 439677"/>
                <a:gd name="connsiteY52" fmla="*/ 15687 h 399780"/>
                <a:gd name="connsiteX53" fmla="*/ 263440 w 439677"/>
                <a:gd name="connsiteY53" fmla="*/ 17841 h 399780"/>
                <a:gd name="connsiteX54" fmla="*/ 262338 w 439677"/>
                <a:gd name="connsiteY54" fmla="*/ 18192 h 399780"/>
                <a:gd name="connsiteX55" fmla="*/ 261335 w 439677"/>
                <a:gd name="connsiteY55" fmla="*/ 17591 h 399780"/>
                <a:gd name="connsiteX56" fmla="*/ 256124 w 439677"/>
                <a:gd name="connsiteY56" fmla="*/ 14584 h 399780"/>
                <a:gd name="connsiteX57" fmla="*/ 246302 w 439677"/>
                <a:gd name="connsiteY57" fmla="*/ 8621 h 399780"/>
                <a:gd name="connsiteX58" fmla="*/ 201003 w 439677"/>
                <a:gd name="connsiteY58" fmla="*/ 6416 h 399780"/>
                <a:gd name="connsiteX59" fmla="*/ 188225 w 439677"/>
                <a:gd name="connsiteY59" fmla="*/ 9573 h 399780"/>
                <a:gd name="connsiteX60" fmla="*/ 152647 w 439677"/>
                <a:gd name="connsiteY60" fmla="*/ 17541 h 399780"/>
                <a:gd name="connsiteX61" fmla="*/ 149189 w 439677"/>
                <a:gd name="connsiteY61" fmla="*/ 18844 h 399780"/>
                <a:gd name="connsiteX62" fmla="*/ 147986 w 439677"/>
                <a:gd name="connsiteY62" fmla="*/ 17240 h 399780"/>
                <a:gd name="connsiteX63" fmla="*/ 120576 w 439677"/>
                <a:gd name="connsiteY63" fmla="*/ 16238 h 399780"/>
                <a:gd name="connsiteX64" fmla="*/ 116918 w 439677"/>
                <a:gd name="connsiteY64" fmla="*/ 18042 h 399780"/>
                <a:gd name="connsiteX65" fmla="*/ 113110 w 439677"/>
                <a:gd name="connsiteY65" fmla="*/ 20447 h 399780"/>
                <a:gd name="connsiteX66" fmla="*/ 92966 w 439677"/>
                <a:gd name="connsiteY66" fmla="*/ 30619 h 399780"/>
                <a:gd name="connsiteX67" fmla="*/ 90660 w 439677"/>
                <a:gd name="connsiteY67" fmla="*/ 31070 h 399780"/>
                <a:gd name="connsiteX68" fmla="*/ 73824 w 439677"/>
                <a:gd name="connsiteY68" fmla="*/ 35180 h 399780"/>
                <a:gd name="connsiteX69" fmla="*/ 68562 w 439677"/>
                <a:gd name="connsiteY69" fmla="*/ 36532 h 399780"/>
                <a:gd name="connsiteX70" fmla="*/ 68111 w 439677"/>
                <a:gd name="connsiteY70" fmla="*/ 37635 h 399780"/>
                <a:gd name="connsiteX71" fmla="*/ 68111 w 439677"/>
                <a:gd name="connsiteY71" fmla="*/ 37735 h 399780"/>
                <a:gd name="connsiteX72" fmla="*/ 66207 w 439677"/>
                <a:gd name="connsiteY72" fmla="*/ 72712 h 399780"/>
                <a:gd name="connsiteX73" fmla="*/ 65305 w 439677"/>
                <a:gd name="connsiteY73" fmla="*/ 74967 h 399780"/>
                <a:gd name="connsiteX74" fmla="*/ 51925 w 439677"/>
                <a:gd name="connsiteY74" fmla="*/ 84287 h 399780"/>
                <a:gd name="connsiteX75" fmla="*/ 45812 w 439677"/>
                <a:gd name="connsiteY75" fmla="*/ 84538 h 399780"/>
                <a:gd name="connsiteX76" fmla="*/ 9182 w 439677"/>
                <a:gd name="connsiteY76" fmla="*/ 77773 h 399780"/>
                <a:gd name="connsiteX77" fmla="*/ 5423 w 439677"/>
                <a:gd name="connsiteY77" fmla="*/ 77072 h 399780"/>
                <a:gd name="connsiteX78" fmla="*/ 1114 w 439677"/>
                <a:gd name="connsiteY78" fmla="*/ 80679 h 399780"/>
                <a:gd name="connsiteX79" fmla="*/ 412 w 439677"/>
                <a:gd name="connsiteY79" fmla="*/ 87695 h 399780"/>
                <a:gd name="connsiteX80" fmla="*/ 3469 w 439677"/>
                <a:gd name="connsiteY80" fmla="*/ 91253 h 399780"/>
                <a:gd name="connsiteX81" fmla="*/ 13842 w 439677"/>
                <a:gd name="connsiteY81" fmla="*/ 94961 h 399780"/>
                <a:gd name="connsiteX82" fmla="*/ 42856 w 439677"/>
                <a:gd name="connsiteY82" fmla="*/ 116608 h 399780"/>
                <a:gd name="connsiteX83" fmla="*/ 44509 w 439677"/>
                <a:gd name="connsiteY83" fmla="*/ 119264 h 399780"/>
                <a:gd name="connsiteX84" fmla="*/ 44960 w 439677"/>
                <a:gd name="connsiteY84" fmla="*/ 119916 h 399780"/>
                <a:gd name="connsiteX85" fmla="*/ 78233 w 439677"/>
                <a:gd name="connsiteY85" fmla="*/ 137254 h 399780"/>
                <a:gd name="connsiteX86" fmla="*/ 97977 w 439677"/>
                <a:gd name="connsiteY86" fmla="*/ 137504 h 399780"/>
                <a:gd name="connsiteX87" fmla="*/ 105343 w 439677"/>
                <a:gd name="connsiteY87" fmla="*/ 138005 h 399780"/>
                <a:gd name="connsiteX88" fmla="*/ 106495 w 439677"/>
                <a:gd name="connsiteY88" fmla="*/ 138005 h 399780"/>
                <a:gd name="connsiteX89" fmla="*/ 107247 w 439677"/>
                <a:gd name="connsiteY89" fmla="*/ 138907 h 399780"/>
                <a:gd name="connsiteX90" fmla="*/ 121328 w 439677"/>
                <a:gd name="connsiteY90" fmla="*/ 174536 h 399780"/>
                <a:gd name="connsiteX91" fmla="*/ 125136 w 439677"/>
                <a:gd name="connsiteY91" fmla="*/ 193577 h 399780"/>
                <a:gd name="connsiteX92" fmla="*/ 157808 w 439677"/>
                <a:gd name="connsiteY92" fmla="*/ 242485 h 399780"/>
                <a:gd name="connsiteX93" fmla="*/ 167530 w 439677"/>
                <a:gd name="connsiteY93" fmla="*/ 252056 h 399780"/>
                <a:gd name="connsiteX94" fmla="*/ 171538 w 439677"/>
                <a:gd name="connsiteY94" fmla="*/ 255514 h 399780"/>
                <a:gd name="connsiteX95" fmla="*/ 175447 w 439677"/>
                <a:gd name="connsiteY95" fmla="*/ 254010 h 399780"/>
                <a:gd name="connsiteX96" fmla="*/ 186671 w 439677"/>
                <a:gd name="connsiteY96" fmla="*/ 250052 h 399780"/>
                <a:gd name="connsiteX97" fmla="*/ 221448 w 439677"/>
                <a:gd name="connsiteY97" fmla="*/ 259522 h 399780"/>
                <a:gd name="connsiteX98" fmla="*/ 243496 w 439677"/>
                <a:gd name="connsiteY98" fmla="*/ 303068 h 399780"/>
                <a:gd name="connsiteX99" fmla="*/ 277722 w 439677"/>
                <a:gd name="connsiteY99" fmla="*/ 339248 h 399780"/>
                <a:gd name="connsiteX100" fmla="*/ 291352 w 439677"/>
                <a:gd name="connsiteY100" fmla="*/ 352727 h 399780"/>
                <a:gd name="connsiteX101" fmla="*/ 296914 w 439677"/>
                <a:gd name="connsiteY101" fmla="*/ 368161 h 399780"/>
                <a:gd name="connsiteX102" fmla="*/ 293957 w 439677"/>
                <a:gd name="connsiteY102" fmla="*/ 373723 h 399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439677" h="399780">
                  <a:moveTo>
                    <a:pt x="293707" y="373723"/>
                  </a:moveTo>
                  <a:cubicBezTo>
                    <a:pt x="292654" y="375327"/>
                    <a:pt x="291652" y="376830"/>
                    <a:pt x="291352" y="378233"/>
                  </a:cubicBezTo>
                  <a:cubicBezTo>
                    <a:pt x="290299" y="382994"/>
                    <a:pt x="289347" y="388456"/>
                    <a:pt x="290550" y="392765"/>
                  </a:cubicBezTo>
                  <a:cubicBezTo>
                    <a:pt x="291803" y="397476"/>
                    <a:pt x="295060" y="399731"/>
                    <a:pt x="300321" y="399780"/>
                  </a:cubicBezTo>
                  <a:cubicBezTo>
                    <a:pt x="309592" y="382994"/>
                    <a:pt x="319062" y="365004"/>
                    <a:pt x="325226" y="345812"/>
                  </a:cubicBezTo>
                  <a:lnTo>
                    <a:pt x="325727" y="344309"/>
                  </a:lnTo>
                  <a:lnTo>
                    <a:pt x="327280" y="344008"/>
                  </a:lnTo>
                  <a:cubicBezTo>
                    <a:pt x="328383" y="343757"/>
                    <a:pt x="329385" y="343507"/>
                    <a:pt x="330287" y="343256"/>
                  </a:cubicBezTo>
                  <a:cubicBezTo>
                    <a:pt x="332291" y="342705"/>
                    <a:pt x="334045" y="342354"/>
                    <a:pt x="335899" y="342304"/>
                  </a:cubicBezTo>
                  <a:cubicBezTo>
                    <a:pt x="345220" y="342705"/>
                    <a:pt x="351433" y="337644"/>
                    <a:pt x="355843" y="326470"/>
                  </a:cubicBezTo>
                  <a:cubicBezTo>
                    <a:pt x="360002" y="315946"/>
                    <a:pt x="362307" y="307778"/>
                    <a:pt x="354039" y="299059"/>
                  </a:cubicBezTo>
                  <a:cubicBezTo>
                    <a:pt x="345521" y="290039"/>
                    <a:pt x="350983" y="282072"/>
                    <a:pt x="357447" y="275457"/>
                  </a:cubicBezTo>
                  <a:cubicBezTo>
                    <a:pt x="358900" y="273954"/>
                    <a:pt x="360453" y="272551"/>
                    <a:pt x="361906" y="271248"/>
                  </a:cubicBezTo>
                  <a:lnTo>
                    <a:pt x="364963" y="268442"/>
                  </a:lnTo>
                  <a:lnTo>
                    <a:pt x="366517" y="269043"/>
                  </a:lnTo>
                  <a:cubicBezTo>
                    <a:pt x="368521" y="269795"/>
                    <a:pt x="370425" y="270697"/>
                    <a:pt x="372329" y="271649"/>
                  </a:cubicBezTo>
                  <a:cubicBezTo>
                    <a:pt x="375687" y="273252"/>
                    <a:pt x="378794" y="274756"/>
                    <a:pt x="381149" y="274455"/>
                  </a:cubicBezTo>
                  <a:cubicBezTo>
                    <a:pt x="406304" y="270847"/>
                    <a:pt x="424394" y="263732"/>
                    <a:pt x="439477" y="251354"/>
                  </a:cubicBezTo>
                  <a:cubicBezTo>
                    <a:pt x="436270" y="239729"/>
                    <a:pt x="428954" y="231060"/>
                    <a:pt x="418331" y="226249"/>
                  </a:cubicBezTo>
                  <a:cubicBezTo>
                    <a:pt x="405903" y="220637"/>
                    <a:pt x="401393" y="211567"/>
                    <a:pt x="398136" y="198789"/>
                  </a:cubicBezTo>
                  <a:lnTo>
                    <a:pt x="397635" y="196734"/>
                  </a:lnTo>
                  <a:lnTo>
                    <a:pt x="399489" y="195732"/>
                  </a:lnTo>
                  <a:cubicBezTo>
                    <a:pt x="405101" y="192776"/>
                    <a:pt x="411415" y="192325"/>
                    <a:pt x="417579" y="191874"/>
                  </a:cubicBezTo>
                  <a:cubicBezTo>
                    <a:pt x="426298" y="191272"/>
                    <a:pt x="434015" y="190671"/>
                    <a:pt x="439677" y="183906"/>
                  </a:cubicBezTo>
                  <a:lnTo>
                    <a:pt x="427701" y="186512"/>
                  </a:lnTo>
                  <a:lnTo>
                    <a:pt x="426949" y="184257"/>
                  </a:lnTo>
                  <a:cubicBezTo>
                    <a:pt x="424644" y="177442"/>
                    <a:pt x="424845" y="170477"/>
                    <a:pt x="425045" y="163712"/>
                  </a:cubicBezTo>
                  <a:cubicBezTo>
                    <a:pt x="425246" y="157198"/>
                    <a:pt x="425446" y="151034"/>
                    <a:pt x="423392" y="145321"/>
                  </a:cubicBezTo>
                  <a:cubicBezTo>
                    <a:pt x="420986" y="145923"/>
                    <a:pt x="419082" y="146524"/>
                    <a:pt x="418731" y="146925"/>
                  </a:cubicBezTo>
                  <a:cubicBezTo>
                    <a:pt x="418731" y="147075"/>
                    <a:pt x="418631" y="147627"/>
                    <a:pt x="419082" y="149681"/>
                  </a:cubicBezTo>
                  <a:cubicBezTo>
                    <a:pt x="421437" y="161106"/>
                    <a:pt x="417178" y="168723"/>
                    <a:pt x="406104" y="172982"/>
                  </a:cubicBezTo>
                  <a:cubicBezTo>
                    <a:pt x="403348" y="174034"/>
                    <a:pt x="400541" y="174936"/>
                    <a:pt x="397835" y="175839"/>
                  </a:cubicBezTo>
                  <a:lnTo>
                    <a:pt x="394127" y="177041"/>
                  </a:lnTo>
                  <a:lnTo>
                    <a:pt x="393075" y="176440"/>
                  </a:lnTo>
                  <a:cubicBezTo>
                    <a:pt x="390620" y="175037"/>
                    <a:pt x="388264" y="173684"/>
                    <a:pt x="385909" y="172331"/>
                  </a:cubicBezTo>
                  <a:cubicBezTo>
                    <a:pt x="380447" y="169174"/>
                    <a:pt x="375286" y="166217"/>
                    <a:pt x="369974" y="163511"/>
                  </a:cubicBezTo>
                  <a:cubicBezTo>
                    <a:pt x="366266" y="161607"/>
                    <a:pt x="362007" y="159453"/>
                    <a:pt x="358299" y="159352"/>
                  </a:cubicBezTo>
                  <a:cubicBezTo>
                    <a:pt x="348577" y="159052"/>
                    <a:pt x="340710" y="155544"/>
                    <a:pt x="333494" y="148328"/>
                  </a:cubicBezTo>
                  <a:cubicBezTo>
                    <a:pt x="331239" y="146073"/>
                    <a:pt x="328283" y="144419"/>
                    <a:pt x="325176" y="142616"/>
                  </a:cubicBezTo>
                  <a:cubicBezTo>
                    <a:pt x="323522" y="141664"/>
                    <a:pt x="321869" y="140711"/>
                    <a:pt x="320315" y="139709"/>
                  </a:cubicBezTo>
                  <a:lnTo>
                    <a:pt x="317910" y="138106"/>
                  </a:lnTo>
                  <a:cubicBezTo>
                    <a:pt x="314803" y="136051"/>
                    <a:pt x="311546" y="133997"/>
                    <a:pt x="308690" y="131441"/>
                  </a:cubicBezTo>
                  <a:cubicBezTo>
                    <a:pt x="307086" y="130038"/>
                    <a:pt x="306535" y="127983"/>
                    <a:pt x="306084" y="126129"/>
                  </a:cubicBezTo>
                  <a:cubicBezTo>
                    <a:pt x="305883" y="125428"/>
                    <a:pt x="305733" y="124726"/>
                    <a:pt x="305483" y="124075"/>
                  </a:cubicBezTo>
                  <a:lnTo>
                    <a:pt x="304831" y="122271"/>
                  </a:lnTo>
                  <a:lnTo>
                    <a:pt x="306334" y="121068"/>
                  </a:lnTo>
                  <a:cubicBezTo>
                    <a:pt x="310644" y="117561"/>
                    <a:pt x="314703" y="114353"/>
                    <a:pt x="318712" y="111096"/>
                  </a:cubicBezTo>
                  <a:cubicBezTo>
                    <a:pt x="317258" y="109643"/>
                    <a:pt x="315805" y="108240"/>
                    <a:pt x="314402" y="106887"/>
                  </a:cubicBezTo>
                  <a:cubicBezTo>
                    <a:pt x="309792" y="102477"/>
                    <a:pt x="305432" y="98318"/>
                    <a:pt x="302877" y="93006"/>
                  </a:cubicBezTo>
                  <a:cubicBezTo>
                    <a:pt x="292905" y="72511"/>
                    <a:pt x="290951" y="51766"/>
                    <a:pt x="297014" y="31321"/>
                  </a:cubicBezTo>
                  <a:cubicBezTo>
                    <a:pt x="298016" y="27913"/>
                    <a:pt x="298617" y="24406"/>
                    <a:pt x="299219" y="20998"/>
                  </a:cubicBezTo>
                  <a:cubicBezTo>
                    <a:pt x="299369" y="20046"/>
                    <a:pt x="299570" y="19094"/>
                    <a:pt x="299720" y="18142"/>
                  </a:cubicBezTo>
                  <a:cubicBezTo>
                    <a:pt x="289848" y="8621"/>
                    <a:pt x="280127" y="12079"/>
                    <a:pt x="269804" y="15687"/>
                  </a:cubicBezTo>
                  <a:cubicBezTo>
                    <a:pt x="267649" y="16438"/>
                    <a:pt x="265545" y="17190"/>
                    <a:pt x="263440" y="17841"/>
                  </a:cubicBezTo>
                  <a:lnTo>
                    <a:pt x="262338" y="18192"/>
                  </a:lnTo>
                  <a:lnTo>
                    <a:pt x="261335" y="17591"/>
                  </a:lnTo>
                  <a:cubicBezTo>
                    <a:pt x="259532" y="16538"/>
                    <a:pt x="257778" y="15536"/>
                    <a:pt x="256124" y="14584"/>
                  </a:cubicBezTo>
                  <a:cubicBezTo>
                    <a:pt x="252667" y="12630"/>
                    <a:pt x="249409" y="10776"/>
                    <a:pt x="246302" y="8621"/>
                  </a:cubicBezTo>
                  <a:cubicBezTo>
                    <a:pt x="230718" y="-2102"/>
                    <a:pt x="215886" y="-2804"/>
                    <a:pt x="201003" y="6416"/>
                  </a:cubicBezTo>
                  <a:cubicBezTo>
                    <a:pt x="197395" y="8671"/>
                    <a:pt x="192484" y="9874"/>
                    <a:pt x="188225" y="9573"/>
                  </a:cubicBezTo>
                  <a:cubicBezTo>
                    <a:pt x="176249" y="8721"/>
                    <a:pt x="165325" y="12780"/>
                    <a:pt x="152647" y="17541"/>
                  </a:cubicBezTo>
                  <a:lnTo>
                    <a:pt x="149189" y="18844"/>
                  </a:lnTo>
                  <a:lnTo>
                    <a:pt x="147986" y="17240"/>
                  </a:lnTo>
                  <a:cubicBezTo>
                    <a:pt x="140270" y="7018"/>
                    <a:pt x="132553" y="10174"/>
                    <a:pt x="120576" y="16238"/>
                  </a:cubicBezTo>
                  <a:lnTo>
                    <a:pt x="116918" y="18042"/>
                  </a:lnTo>
                  <a:cubicBezTo>
                    <a:pt x="115415" y="18793"/>
                    <a:pt x="113811" y="19545"/>
                    <a:pt x="113110" y="20447"/>
                  </a:cubicBezTo>
                  <a:cubicBezTo>
                    <a:pt x="107748" y="27613"/>
                    <a:pt x="100232" y="29116"/>
                    <a:pt x="92966" y="30619"/>
                  </a:cubicBezTo>
                  <a:lnTo>
                    <a:pt x="90660" y="31070"/>
                  </a:lnTo>
                  <a:cubicBezTo>
                    <a:pt x="84898" y="32273"/>
                    <a:pt x="79286" y="33726"/>
                    <a:pt x="73824" y="35180"/>
                  </a:cubicBezTo>
                  <a:cubicBezTo>
                    <a:pt x="72020" y="35630"/>
                    <a:pt x="70266" y="36081"/>
                    <a:pt x="68562" y="36532"/>
                  </a:cubicBezTo>
                  <a:cubicBezTo>
                    <a:pt x="68412" y="36933"/>
                    <a:pt x="68261" y="37334"/>
                    <a:pt x="68111" y="37635"/>
                  </a:cubicBezTo>
                  <a:cubicBezTo>
                    <a:pt x="68111" y="37635"/>
                    <a:pt x="68111" y="37685"/>
                    <a:pt x="68111" y="37735"/>
                  </a:cubicBezTo>
                  <a:cubicBezTo>
                    <a:pt x="75277" y="50262"/>
                    <a:pt x="70667" y="61688"/>
                    <a:pt x="66207" y="72712"/>
                  </a:cubicBezTo>
                  <a:lnTo>
                    <a:pt x="65305" y="74967"/>
                  </a:lnTo>
                  <a:cubicBezTo>
                    <a:pt x="63000" y="80780"/>
                    <a:pt x="58239" y="84087"/>
                    <a:pt x="51925" y="84287"/>
                  </a:cubicBezTo>
                  <a:cubicBezTo>
                    <a:pt x="49871" y="84338"/>
                    <a:pt x="47867" y="84438"/>
                    <a:pt x="45812" y="84538"/>
                  </a:cubicBezTo>
                  <a:cubicBezTo>
                    <a:pt x="33585" y="85139"/>
                    <a:pt x="20957" y="85740"/>
                    <a:pt x="9182" y="77773"/>
                  </a:cubicBezTo>
                  <a:cubicBezTo>
                    <a:pt x="8029" y="76971"/>
                    <a:pt x="6726" y="76771"/>
                    <a:pt x="5423" y="77072"/>
                  </a:cubicBezTo>
                  <a:cubicBezTo>
                    <a:pt x="3669" y="77522"/>
                    <a:pt x="2066" y="78825"/>
                    <a:pt x="1114" y="80679"/>
                  </a:cubicBezTo>
                  <a:cubicBezTo>
                    <a:pt x="-39" y="82884"/>
                    <a:pt x="-339" y="85540"/>
                    <a:pt x="412" y="87695"/>
                  </a:cubicBezTo>
                  <a:cubicBezTo>
                    <a:pt x="813" y="88847"/>
                    <a:pt x="1665" y="90401"/>
                    <a:pt x="3469" y="91253"/>
                  </a:cubicBezTo>
                  <a:cubicBezTo>
                    <a:pt x="6927" y="92856"/>
                    <a:pt x="10384" y="94460"/>
                    <a:pt x="13842" y="94961"/>
                  </a:cubicBezTo>
                  <a:cubicBezTo>
                    <a:pt x="29426" y="97366"/>
                    <a:pt x="38646" y="104231"/>
                    <a:pt x="42856" y="116608"/>
                  </a:cubicBezTo>
                  <a:cubicBezTo>
                    <a:pt x="43156" y="117460"/>
                    <a:pt x="43808" y="118312"/>
                    <a:pt x="44509" y="119264"/>
                  </a:cubicBezTo>
                  <a:lnTo>
                    <a:pt x="44960" y="119916"/>
                  </a:lnTo>
                  <a:cubicBezTo>
                    <a:pt x="55333" y="133746"/>
                    <a:pt x="65004" y="138707"/>
                    <a:pt x="78233" y="137254"/>
                  </a:cubicBezTo>
                  <a:cubicBezTo>
                    <a:pt x="84948" y="136502"/>
                    <a:pt x="91913" y="137053"/>
                    <a:pt x="97977" y="137504"/>
                  </a:cubicBezTo>
                  <a:cubicBezTo>
                    <a:pt x="100532" y="137705"/>
                    <a:pt x="102988" y="137905"/>
                    <a:pt x="105343" y="138005"/>
                  </a:cubicBezTo>
                  <a:lnTo>
                    <a:pt x="106495" y="138005"/>
                  </a:lnTo>
                  <a:cubicBezTo>
                    <a:pt x="106495" y="138005"/>
                    <a:pt x="107247" y="138907"/>
                    <a:pt x="107247" y="138907"/>
                  </a:cubicBezTo>
                  <a:cubicBezTo>
                    <a:pt x="116517" y="149180"/>
                    <a:pt x="120877" y="160204"/>
                    <a:pt x="121328" y="174536"/>
                  </a:cubicBezTo>
                  <a:cubicBezTo>
                    <a:pt x="121528" y="181501"/>
                    <a:pt x="122180" y="188617"/>
                    <a:pt x="125136" y="193577"/>
                  </a:cubicBezTo>
                  <a:cubicBezTo>
                    <a:pt x="136060" y="211767"/>
                    <a:pt x="148337" y="229256"/>
                    <a:pt x="157808" y="242485"/>
                  </a:cubicBezTo>
                  <a:cubicBezTo>
                    <a:pt x="160314" y="245993"/>
                    <a:pt x="163821" y="248949"/>
                    <a:pt x="167530" y="252056"/>
                  </a:cubicBezTo>
                  <a:cubicBezTo>
                    <a:pt x="168882" y="253158"/>
                    <a:pt x="170235" y="254311"/>
                    <a:pt x="171538" y="255514"/>
                  </a:cubicBezTo>
                  <a:cubicBezTo>
                    <a:pt x="172891" y="255013"/>
                    <a:pt x="174194" y="254461"/>
                    <a:pt x="175447" y="254010"/>
                  </a:cubicBezTo>
                  <a:cubicBezTo>
                    <a:pt x="179305" y="252507"/>
                    <a:pt x="182913" y="251054"/>
                    <a:pt x="186671" y="250052"/>
                  </a:cubicBezTo>
                  <a:cubicBezTo>
                    <a:pt x="200051" y="246494"/>
                    <a:pt x="211426" y="249601"/>
                    <a:pt x="221448" y="259522"/>
                  </a:cubicBezTo>
                  <a:cubicBezTo>
                    <a:pt x="233675" y="271699"/>
                    <a:pt x="240840" y="285930"/>
                    <a:pt x="243496" y="303068"/>
                  </a:cubicBezTo>
                  <a:cubicBezTo>
                    <a:pt x="257627" y="313391"/>
                    <a:pt x="268852" y="325217"/>
                    <a:pt x="277722" y="339248"/>
                  </a:cubicBezTo>
                  <a:cubicBezTo>
                    <a:pt x="281430" y="345110"/>
                    <a:pt x="284987" y="350172"/>
                    <a:pt x="291352" y="352727"/>
                  </a:cubicBezTo>
                  <a:cubicBezTo>
                    <a:pt x="297114" y="355032"/>
                    <a:pt x="299169" y="360845"/>
                    <a:pt x="296914" y="368161"/>
                  </a:cubicBezTo>
                  <a:cubicBezTo>
                    <a:pt x="296262" y="370266"/>
                    <a:pt x="295110" y="372020"/>
                    <a:pt x="293957" y="37372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38" name="Полилиния: фигура 137">
              <a:extLst>
                <a:ext uri="{FF2B5EF4-FFF2-40B4-BE49-F238E27FC236}">
                  <a16:creationId xmlns:a16="http://schemas.microsoft.com/office/drawing/2014/main" id="{A4B6ACD1-5827-4FBF-9F80-5857780F9306}"/>
                </a:ext>
              </a:extLst>
            </p:cNvPr>
            <p:cNvSpPr/>
            <p:nvPr/>
          </p:nvSpPr>
          <p:spPr>
            <a:xfrm>
              <a:off x="4481496" y="1219463"/>
              <a:ext cx="925726" cy="357464"/>
            </a:xfrm>
            <a:custGeom>
              <a:avLst/>
              <a:gdLst>
                <a:gd name="connsiteX0" fmla="*/ 26458 w 742290"/>
                <a:gd name="connsiteY0" fmla="*/ 236422 h 286631"/>
                <a:gd name="connsiteX1" fmla="*/ 26458 w 742290"/>
                <a:gd name="connsiteY1" fmla="*/ 236422 h 286631"/>
                <a:gd name="connsiteX2" fmla="*/ 30266 w 742290"/>
                <a:gd name="connsiteY2" fmla="*/ 240280 h 286631"/>
                <a:gd name="connsiteX3" fmla="*/ 37632 w 742290"/>
                <a:gd name="connsiteY3" fmla="*/ 249601 h 286631"/>
                <a:gd name="connsiteX4" fmla="*/ 46001 w 742290"/>
                <a:gd name="connsiteY4" fmla="*/ 255263 h 286631"/>
                <a:gd name="connsiteX5" fmla="*/ 53968 w 742290"/>
                <a:gd name="connsiteY5" fmla="*/ 258621 h 286631"/>
                <a:gd name="connsiteX6" fmla="*/ 54820 w 742290"/>
                <a:gd name="connsiteY6" fmla="*/ 259272 h 286631"/>
                <a:gd name="connsiteX7" fmla="*/ 54971 w 742290"/>
                <a:gd name="connsiteY7" fmla="*/ 260324 h 286631"/>
                <a:gd name="connsiteX8" fmla="*/ 55772 w 742290"/>
                <a:gd name="connsiteY8" fmla="*/ 266739 h 286631"/>
                <a:gd name="connsiteX9" fmla="*/ 58077 w 742290"/>
                <a:gd name="connsiteY9" fmla="*/ 281120 h 286631"/>
                <a:gd name="connsiteX10" fmla="*/ 62086 w 742290"/>
                <a:gd name="connsiteY10" fmla="*/ 286181 h 286631"/>
                <a:gd name="connsiteX11" fmla="*/ 64993 w 742290"/>
                <a:gd name="connsiteY11" fmla="*/ 286382 h 286631"/>
                <a:gd name="connsiteX12" fmla="*/ 77169 w 742290"/>
                <a:gd name="connsiteY12" fmla="*/ 282724 h 286631"/>
                <a:gd name="connsiteX13" fmla="*/ 94608 w 742290"/>
                <a:gd name="connsiteY13" fmla="*/ 274806 h 286631"/>
                <a:gd name="connsiteX14" fmla="*/ 93054 w 742290"/>
                <a:gd name="connsiteY14" fmla="*/ 266288 h 286631"/>
                <a:gd name="connsiteX15" fmla="*/ 96662 w 742290"/>
                <a:gd name="connsiteY15" fmla="*/ 240781 h 286631"/>
                <a:gd name="connsiteX16" fmla="*/ 99218 w 742290"/>
                <a:gd name="connsiteY16" fmla="*/ 237675 h 286631"/>
                <a:gd name="connsiteX17" fmla="*/ 101122 w 742290"/>
                <a:gd name="connsiteY17" fmla="*/ 241232 h 286631"/>
                <a:gd name="connsiteX18" fmla="*/ 104129 w 742290"/>
                <a:gd name="connsiteY18" fmla="*/ 247045 h 286631"/>
                <a:gd name="connsiteX19" fmla="*/ 109440 w 742290"/>
                <a:gd name="connsiteY19" fmla="*/ 256316 h 286631"/>
                <a:gd name="connsiteX20" fmla="*/ 116055 w 742290"/>
                <a:gd name="connsiteY20" fmla="*/ 261477 h 286631"/>
                <a:gd name="connsiteX21" fmla="*/ 116055 w 742290"/>
                <a:gd name="connsiteY21" fmla="*/ 261477 h 286631"/>
                <a:gd name="connsiteX22" fmla="*/ 123120 w 742290"/>
                <a:gd name="connsiteY22" fmla="*/ 258571 h 286631"/>
                <a:gd name="connsiteX23" fmla="*/ 125425 w 742290"/>
                <a:gd name="connsiteY23" fmla="*/ 257318 h 286631"/>
                <a:gd name="connsiteX24" fmla="*/ 122068 w 742290"/>
                <a:gd name="connsiteY24" fmla="*/ 252156 h 286631"/>
                <a:gd name="connsiteX25" fmla="*/ 112347 w 742290"/>
                <a:gd name="connsiteY25" fmla="*/ 236372 h 286631"/>
                <a:gd name="connsiteX26" fmla="*/ 115454 w 742290"/>
                <a:gd name="connsiteY26" fmla="*/ 218733 h 286631"/>
                <a:gd name="connsiteX27" fmla="*/ 116155 w 742290"/>
                <a:gd name="connsiteY27" fmla="*/ 218332 h 286631"/>
                <a:gd name="connsiteX28" fmla="*/ 116957 w 742290"/>
                <a:gd name="connsiteY28" fmla="*/ 218332 h 286631"/>
                <a:gd name="connsiteX29" fmla="*/ 144718 w 742290"/>
                <a:gd name="connsiteY29" fmla="*/ 235269 h 286631"/>
                <a:gd name="connsiteX30" fmla="*/ 145419 w 742290"/>
                <a:gd name="connsiteY30" fmla="*/ 236021 h 286631"/>
                <a:gd name="connsiteX31" fmla="*/ 149228 w 742290"/>
                <a:gd name="connsiteY31" fmla="*/ 217581 h 286631"/>
                <a:gd name="connsiteX32" fmla="*/ 146622 w 742290"/>
                <a:gd name="connsiteY32" fmla="*/ 206356 h 286631"/>
                <a:gd name="connsiteX33" fmla="*/ 146622 w 742290"/>
                <a:gd name="connsiteY33" fmla="*/ 205454 h 286631"/>
                <a:gd name="connsiteX34" fmla="*/ 147223 w 742290"/>
                <a:gd name="connsiteY34" fmla="*/ 204752 h 286631"/>
                <a:gd name="connsiteX35" fmla="*/ 173331 w 742290"/>
                <a:gd name="connsiteY35" fmla="*/ 190571 h 286631"/>
                <a:gd name="connsiteX36" fmla="*/ 174533 w 742290"/>
                <a:gd name="connsiteY36" fmla="*/ 190772 h 286631"/>
                <a:gd name="connsiteX37" fmla="*/ 175185 w 742290"/>
                <a:gd name="connsiteY37" fmla="*/ 191774 h 286631"/>
                <a:gd name="connsiteX38" fmla="*/ 178241 w 742290"/>
                <a:gd name="connsiteY38" fmla="*/ 208110 h 286631"/>
                <a:gd name="connsiteX39" fmla="*/ 179995 w 742290"/>
                <a:gd name="connsiteY39" fmla="*/ 220938 h 286631"/>
                <a:gd name="connsiteX40" fmla="*/ 217227 w 742290"/>
                <a:gd name="connsiteY40" fmla="*/ 186362 h 286631"/>
                <a:gd name="connsiteX41" fmla="*/ 216275 w 742290"/>
                <a:gd name="connsiteY41" fmla="*/ 184508 h 286631"/>
                <a:gd name="connsiteX42" fmla="*/ 213068 w 742290"/>
                <a:gd name="connsiteY42" fmla="*/ 176089 h 286631"/>
                <a:gd name="connsiteX43" fmla="*/ 216025 w 742290"/>
                <a:gd name="connsiteY43" fmla="*/ 163311 h 286631"/>
                <a:gd name="connsiteX44" fmla="*/ 224694 w 742290"/>
                <a:gd name="connsiteY44" fmla="*/ 160706 h 286631"/>
                <a:gd name="connsiteX45" fmla="*/ 227951 w 742290"/>
                <a:gd name="connsiteY45" fmla="*/ 160405 h 286631"/>
                <a:gd name="connsiteX46" fmla="*/ 230005 w 742290"/>
                <a:gd name="connsiteY46" fmla="*/ 160054 h 286631"/>
                <a:gd name="connsiteX47" fmla="*/ 230857 w 742290"/>
                <a:gd name="connsiteY47" fmla="*/ 162008 h 286631"/>
                <a:gd name="connsiteX48" fmla="*/ 232210 w 742290"/>
                <a:gd name="connsiteY48" fmla="*/ 164865 h 286631"/>
                <a:gd name="connsiteX49" fmla="*/ 234164 w 742290"/>
                <a:gd name="connsiteY49" fmla="*/ 170327 h 286631"/>
                <a:gd name="connsiteX50" fmla="*/ 242733 w 742290"/>
                <a:gd name="connsiteY50" fmla="*/ 183706 h 286631"/>
                <a:gd name="connsiteX51" fmla="*/ 252655 w 742290"/>
                <a:gd name="connsiteY51" fmla="*/ 176039 h 286631"/>
                <a:gd name="connsiteX52" fmla="*/ 255060 w 742290"/>
                <a:gd name="connsiteY52" fmla="*/ 172030 h 286631"/>
                <a:gd name="connsiteX53" fmla="*/ 256614 w 742290"/>
                <a:gd name="connsiteY53" fmla="*/ 167871 h 286631"/>
                <a:gd name="connsiteX54" fmla="*/ 265283 w 742290"/>
                <a:gd name="connsiteY54" fmla="*/ 158050 h 286631"/>
                <a:gd name="connsiteX55" fmla="*/ 266185 w 742290"/>
                <a:gd name="connsiteY55" fmla="*/ 157899 h 286631"/>
                <a:gd name="connsiteX56" fmla="*/ 266986 w 742290"/>
                <a:gd name="connsiteY56" fmla="*/ 158300 h 286631"/>
                <a:gd name="connsiteX57" fmla="*/ 273300 w 742290"/>
                <a:gd name="connsiteY57" fmla="*/ 168473 h 286631"/>
                <a:gd name="connsiteX58" fmla="*/ 276508 w 742290"/>
                <a:gd name="connsiteY58" fmla="*/ 174987 h 286631"/>
                <a:gd name="connsiteX59" fmla="*/ 277409 w 742290"/>
                <a:gd name="connsiteY59" fmla="*/ 171178 h 286631"/>
                <a:gd name="connsiteX60" fmla="*/ 286028 w 742290"/>
                <a:gd name="connsiteY60" fmla="*/ 160305 h 286631"/>
                <a:gd name="connsiteX61" fmla="*/ 300310 w 742290"/>
                <a:gd name="connsiteY61" fmla="*/ 167821 h 286631"/>
                <a:gd name="connsiteX62" fmla="*/ 302414 w 742290"/>
                <a:gd name="connsiteY62" fmla="*/ 170677 h 286631"/>
                <a:gd name="connsiteX63" fmla="*/ 310432 w 742290"/>
                <a:gd name="connsiteY63" fmla="*/ 160355 h 286631"/>
                <a:gd name="connsiteX64" fmla="*/ 312236 w 742290"/>
                <a:gd name="connsiteY64" fmla="*/ 160956 h 286631"/>
                <a:gd name="connsiteX65" fmla="*/ 314240 w 742290"/>
                <a:gd name="connsiteY65" fmla="*/ 161658 h 286631"/>
                <a:gd name="connsiteX66" fmla="*/ 318249 w 742290"/>
                <a:gd name="connsiteY66" fmla="*/ 162860 h 286631"/>
                <a:gd name="connsiteX67" fmla="*/ 322559 w 742290"/>
                <a:gd name="connsiteY67" fmla="*/ 162159 h 286631"/>
                <a:gd name="connsiteX68" fmla="*/ 322408 w 742290"/>
                <a:gd name="connsiteY68" fmla="*/ 158751 h 286631"/>
                <a:gd name="connsiteX69" fmla="*/ 320454 w 742290"/>
                <a:gd name="connsiteY69" fmla="*/ 155845 h 286631"/>
                <a:gd name="connsiteX70" fmla="*/ 318550 w 742290"/>
                <a:gd name="connsiteY70" fmla="*/ 144420 h 286631"/>
                <a:gd name="connsiteX71" fmla="*/ 319101 w 742290"/>
                <a:gd name="connsiteY71" fmla="*/ 143518 h 286631"/>
                <a:gd name="connsiteX72" fmla="*/ 320103 w 742290"/>
                <a:gd name="connsiteY72" fmla="*/ 143217 h 286631"/>
                <a:gd name="connsiteX73" fmla="*/ 330125 w 742290"/>
                <a:gd name="connsiteY73" fmla="*/ 140311 h 286631"/>
                <a:gd name="connsiteX74" fmla="*/ 351622 w 742290"/>
                <a:gd name="connsiteY74" fmla="*/ 133746 h 286631"/>
                <a:gd name="connsiteX75" fmla="*/ 358036 w 742290"/>
                <a:gd name="connsiteY75" fmla="*/ 131491 h 286631"/>
                <a:gd name="connsiteX76" fmla="*/ 405090 w 742290"/>
                <a:gd name="connsiteY76" fmla="*/ 120968 h 286631"/>
                <a:gd name="connsiteX77" fmla="*/ 415463 w 742290"/>
                <a:gd name="connsiteY77" fmla="*/ 118362 h 286631"/>
                <a:gd name="connsiteX78" fmla="*/ 458307 w 742290"/>
                <a:gd name="connsiteY78" fmla="*/ 112199 h 286631"/>
                <a:gd name="connsiteX79" fmla="*/ 485817 w 742290"/>
                <a:gd name="connsiteY79" fmla="*/ 112199 h 286631"/>
                <a:gd name="connsiteX80" fmla="*/ 519792 w 742290"/>
                <a:gd name="connsiteY80" fmla="*/ 112299 h 286631"/>
                <a:gd name="connsiteX81" fmla="*/ 665813 w 742290"/>
                <a:gd name="connsiteY81" fmla="*/ 105885 h 286631"/>
                <a:gd name="connsiteX82" fmla="*/ 712766 w 742290"/>
                <a:gd name="connsiteY82" fmla="*/ 81181 h 286631"/>
                <a:gd name="connsiteX83" fmla="*/ 733662 w 742290"/>
                <a:gd name="connsiteY83" fmla="*/ 53921 h 286631"/>
                <a:gd name="connsiteX84" fmla="*/ 742281 w 742290"/>
                <a:gd name="connsiteY84" fmla="*/ 42145 h 286631"/>
                <a:gd name="connsiteX85" fmla="*/ 721184 w 742290"/>
                <a:gd name="connsiteY85" fmla="*/ 15086 h 286631"/>
                <a:gd name="connsiteX86" fmla="*/ 712265 w 742290"/>
                <a:gd name="connsiteY86" fmla="*/ 11678 h 286631"/>
                <a:gd name="connsiteX87" fmla="*/ 703546 w 742290"/>
                <a:gd name="connsiteY87" fmla="*/ 8371 h 286631"/>
                <a:gd name="connsiteX88" fmla="*/ 691419 w 742290"/>
                <a:gd name="connsiteY88" fmla="*/ 7068 h 286631"/>
                <a:gd name="connsiteX89" fmla="*/ 677238 w 742290"/>
                <a:gd name="connsiteY89" fmla="*/ 11177 h 286631"/>
                <a:gd name="connsiteX90" fmla="*/ 640307 w 742290"/>
                <a:gd name="connsiteY90" fmla="*/ 33225 h 286631"/>
                <a:gd name="connsiteX91" fmla="*/ 629483 w 742290"/>
                <a:gd name="connsiteY91" fmla="*/ 41193 h 286631"/>
                <a:gd name="connsiteX92" fmla="*/ 617657 w 742290"/>
                <a:gd name="connsiteY92" fmla="*/ 37986 h 286631"/>
                <a:gd name="connsiteX93" fmla="*/ 594656 w 742290"/>
                <a:gd name="connsiteY93" fmla="*/ 32123 h 286631"/>
                <a:gd name="connsiteX94" fmla="*/ 576967 w 742290"/>
                <a:gd name="connsiteY94" fmla="*/ 31973 h 286631"/>
                <a:gd name="connsiteX95" fmla="*/ 519491 w 742290"/>
                <a:gd name="connsiteY95" fmla="*/ 32273 h 286631"/>
                <a:gd name="connsiteX96" fmla="*/ 479804 w 742290"/>
                <a:gd name="connsiteY96" fmla="*/ 15987 h 286631"/>
                <a:gd name="connsiteX97" fmla="*/ 470083 w 742290"/>
                <a:gd name="connsiteY97" fmla="*/ 6467 h 286631"/>
                <a:gd name="connsiteX98" fmla="*/ 455651 w 742290"/>
                <a:gd name="connsiteY98" fmla="*/ 53 h 286631"/>
                <a:gd name="connsiteX99" fmla="*/ 430295 w 742290"/>
                <a:gd name="connsiteY99" fmla="*/ 19445 h 286631"/>
                <a:gd name="connsiteX100" fmla="*/ 414310 w 742290"/>
                <a:gd name="connsiteY100" fmla="*/ 18493 h 286631"/>
                <a:gd name="connsiteX101" fmla="*/ 399979 w 742290"/>
                <a:gd name="connsiteY101" fmla="*/ 17441 h 286631"/>
                <a:gd name="connsiteX102" fmla="*/ 375074 w 742290"/>
                <a:gd name="connsiteY102" fmla="*/ 17992 h 286631"/>
                <a:gd name="connsiteX103" fmla="*/ 331328 w 742290"/>
                <a:gd name="connsiteY103" fmla="*/ 18343 h 286631"/>
                <a:gd name="connsiteX104" fmla="*/ 317347 w 742290"/>
                <a:gd name="connsiteY104" fmla="*/ 24055 h 286631"/>
                <a:gd name="connsiteX105" fmla="*/ 284275 w 742290"/>
                <a:gd name="connsiteY105" fmla="*/ 33676 h 286631"/>
                <a:gd name="connsiteX106" fmla="*/ 266085 w 742290"/>
                <a:gd name="connsiteY106" fmla="*/ 58080 h 286631"/>
                <a:gd name="connsiteX107" fmla="*/ 264581 w 742290"/>
                <a:gd name="connsiteY107" fmla="*/ 59182 h 286631"/>
                <a:gd name="connsiteX108" fmla="*/ 246040 w 742290"/>
                <a:gd name="connsiteY108" fmla="*/ 46605 h 286631"/>
                <a:gd name="connsiteX109" fmla="*/ 239727 w 742290"/>
                <a:gd name="connsiteY109" fmla="*/ 51716 h 286631"/>
                <a:gd name="connsiteX110" fmla="*/ 210112 w 742290"/>
                <a:gd name="connsiteY110" fmla="*/ 68202 h 286631"/>
                <a:gd name="connsiteX111" fmla="*/ 208157 w 742290"/>
                <a:gd name="connsiteY111" fmla="*/ 68603 h 286631"/>
                <a:gd name="connsiteX112" fmla="*/ 197985 w 742290"/>
                <a:gd name="connsiteY112" fmla="*/ 49261 h 286631"/>
                <a:gd name="connsiteX113" fmla="*/ 191521 w 742290"/>
                <a:gd name="connsiteY113" fmla="*/ 54171 h 286631"/>
                <a:gd name="connsiteX114" fmla="*/ 204399 w 742290"/>
                <a:gd name="connsiteY114" fmla="*/ 81983 h 286631"/>
                <a:gd name="connsiteX115" fmla="*/ 203447 w 742290"/>
                <a:gd name="connsiteY115" fmla="*/ 83285 h 286631"/>
                <a:gd name="connsiteX116" fmla="*/ 191521 w 742290"/>
                <a:gd name="connsiteY116" fmla="*/ 88246 h 286631"/>
                <a:gd name="connsiteX117" fmla="*/ 184004 w 742290"/>
                <a:gd name="connsiteY117" fmla="*/ 91253 h 286631"/>
                <a:gd name="connsiteX118" fmla="*/ 193024 w 742290"/>
                <a:gd name="connsiteY118" fmla="*/ 121519 h 286631"/>
                <a:gd name="connsiteX119" fmla="*/ 189616 w 742290"/>
                <a:gd name="connsiteY119" fmla="*/ 121720 h 286631"/>
                <a:gd name="connsiteX120" fmla="*/ 169973 w 742290"/>
                <a:gd name="connsiteY120" fmla="*/ 116909 h 286631"/>
                <a:gd name="connsiteX121" fmla="*/ 160753 w 742290"/>
                <a:gd name="connsiteY121" fmla="*/ 113502 h 286631"/>
                <a:gd name="connsiteX122" fmla="*/ 156744 w 742290"/>
                <a:gd name="connsiteY122" fmla="*/ 112449 h 286631"/>
                <a:gd name="connsiteX123" fmla="*/ 145620 w 742290"/>
                <a:gd name="connsiteY123" fmla="*/ 112800 h 286631"/>
                <a:gd name="connsiteX124" fmla="*/ 148526 w 742290"/>
                <a:gd name="connsiteY124" fmla="*/ 132443 h 286631"/>
                <a:gd name="connsiteX125" fmla="*/ 145970 w 742290"/>
                <a:gd name="connsiteY125" fmla="*/ 132894 h 286631"/>
                <a:gd name="connsiteX126" fmla="*/ 124072 w 742290"/>
                <a:gd name="connsiteY126" fmla="*/ 136953 h 286631"/>
                <a:gd name="connsiteX127" fmla="*/ 118611 w 742290"/>
                <a:gd name="connsiteY127" fmla="*/ 151435 h 286631"/>
                <a:gd name="connsiteX128" fmla="*/ 106033 w 742290"/>
                <a:gd name="connsiteY128" fmla="*/ 155694 h 286631"/>
                <a:gd name="connsiteX129" fmla="*/ 110392 w 742290"/>
                <a:gd name="connsiteY129" fmla="*/ 180098 h 286631"/>
                <a:gd name="connsiteX130" fmla="*/ 105732 w 742290"/>
                <a:gd name="connsiteY130" fmla="*/ 178044 h 286631"/>
                <a:gd name="connsiteX131" fmla="*/ 101072 w 742290"/>
                <a:gd name="connsiteY131" fmla="*/ 176089 h 286631"/>
                <a:gd name="connsiteX132" fmla="*/ 94858 w 742290"/>
                <a:gd name="connsiteY132" fmla="*/ 172932 h 286631"/>
                <a:gd name="connsiteX133" fmla="*/ 88294 w 742290"/>
                <a:gd name="connsiteY133" fmla="*/ 166969 h 286631"/>
                <a:gd name="connsiteX134" fmla="*/ 82632 w 742290"/>
                <a:gd name="connsiteY134" fmla="*/ 161758 h 286631"/>
                <a:gd name="connsiteX135" fmla="*/ 74063 w 742290"/>
                <a:gd name="connsiteY135" fmla="*/ 158200 h 286631"/>
                <a:gd name="connsiteX136" fmla="*/ 66897 w 742290"/>
                <a:gd name="connsiteY136" fmla="*/ 163913 h 286631"/>
                <a:gd name="connsiteX137" fmla="*/ 63990 w 742290"/>
                <a:gd name="connsiteY137" fmla="*/ 170076 h 286631"/>
                <a:gd name="connsiteX138" fmla="*/ 62587 w 742290"/>
                <a:gd name="connsiteY138" fmla="*/ 173484 h 286631"/>
                <a:gd name="connsiteX139" fmla="*/ 61335 w 742290"/>
                <a:gd name="connsiteY139" fmla="*/ 176290 h 286631"/>
                <a:gd name="connsiteX140" fmla="*/ 58729 w 742290"/>
                <a:gd name="connsiteY140" fmla="*/ 174686 h 286631"/>
                <a:gd name="connsiteX141" fmla="*/ 27360 w 742290"/>
                <a:gd name="connsiteY141" fmla="*/ 172181 h 286631"/>
                <a:gd name="connsiteX142" fmla="*/ 24754 w 742290"/>
                <a:gd name="connsiteY142" fmla="*/ 174035 h 286631"/>
                <a:gd name="connsiteX143" fmla="*/ 22048 w 742290"/>
                <a:gd name="connsiteY143" fmla="*/ 178946 h 286631"/>
                <a:gd name="connsiteX144" fmla="*/ 24353 w 742290"/>
                <a:gd name="connsiteY144" fmla="*/ 184207 h 286631"/>
                <a:gd name="connsiteX145" fmla="*/ 35478 w 742290"/>
                <a:gd name="connsiteY145" fmla="*/ 190671 h 286631"/>
                <a:gd name="connsiteX146" fmla="*/ 46252 w 742290"/>
                <a:gd name="connsiteY146" fmla="*/ 193828 h 286631"/>
                <a:gd name="connsiteX147" fmla="*/ 55822 w 742290"/>
                <a:gd name="connsiteY147" fmla="*/ 196534 h 286631"/>
                <a:gd name="connsiteX148" fmla="*/ 62287 w 742290"/>
                <a:gd name="connsiteY148" fmla="*/ 215175 h 286631"/>
                <a:gd name="connsiteX149" fmla="*/ 62036 w 742290"/>
                <a:gd name="connsiteY149" fmla="*/ 216729 h 286631"/>
                <a:gd name="connsiteX150" fmla="*/ 60533 w 742290"/>
                <a:gd name="connsiteY150" fmla="*/ 217280 h 286631"/>
                <a:gd name="connsiteX151" fmla="*/ 31719 w 742290"/>
                <a:gd name="connsiteY151" fmla="*/ 219886 h 286631"/>
                <a:gd name="connsiteX152" fmla="*/ 0 w 742290"/>
                <a:gd name="connsiteY152" fmla="*/ 223644 h 286631"/>
                <a:gd name="connsiteX153" fmla="*/ 1854 w 742290"/>
                <a:gd name="connsiteY153" fmla="*/ 224496 h 286631"/>
                <a:gd name="connsiteX154" fmla="*/ 2806 w 742290"/>
                <a:gd name="connsiteY154" fmla="*/ 224496 h 286631"/>
                <a:gd name="connsiteX155" fmla="*/ 26508 w 742290"/>
                <a:gd name="connsiteY155" fmla="*/ 236322 h 286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742290" h="286631">
                  <a:moveTo>
                    <a:pt x="26458" y="236422"/>
                  </a:moveTo>
                  <a:lnTo>
                    <a:pt x="26458" y="236422"/>
                  </a:lnTo>
                  <a:cubicBezTo>
                    <a:pt x="27610" y="237775"/>
                    <a:pt x="28913" y="239028"/>
                    <a:pt x="30266" y="240280"/>
                  </a:cubicBezTo>
                  <a:cubicBezTo>
                    <a:pt x="33123" y="243036"/>
                    <a:pt x="36129" y="245893"/>
                    <a:pt x="37632" y="249601"/>
                  </a:cubicBezTo>
                  <a:cubicBezTo>
                    <a:pt x="39136" y="253359"/>
                    <a:pt x="41792" y="254211"/>
                    <a:pt x="46001" y="255263"/>
                  </a:cubicBezTo>
                  <a:cubicBezTo>
                    <a:pt x="48707" y="255965"/>
                    <a:pt x="51513" y="256666"/>
                    <a:pt x="53968" y="258621"/>
                  </a:cubicBezTo>
                  <a:lnTo>
                    <a:pt x="54820" y="259272"/>
                  </a:lnTo>
                  <a:lnTo>
                    <a:pt x="54971" y="260324"/>
                  </a:lnTo>
                  <a:cubicBezTo>
                    <a:pt x="55271" y="262479"/>
                    <a:pt x="55522" y="264584"/>
                    <a:pt x="55772" y="266739"/>
                  </a:cubicBezTo>
                  <a:cubicBezTo>
                    <a:pt x="56374" y="271750"/>
                    <a:pt x="56925" y="276460"/>
                    <a:pt x="58077" y="281120"/>
                  </a:cubicBezTo>
                  <a:cubicBezTo>
                    <a:pt x="58579" y="283225"/>
                    <a:pt x="60182" y="285279"/>
                    <a:pt x="62086" y="286181"/>
                  </a:cubicBezTo>
                  <a:cubicBezTo>
                    <a:pt x="62838" y="286532"/>
                    <a:pt x="63940" y="286883"/>
                    <a:pt x="64993" y="286382"/>
                  </a:cubicBezTo>
                  <a:cubicBezTo>
                    <a:pt x="68901" y="284578"/>
                    <a:pt x="73110" y="283676"/>
                    <a:pt x="77169" y="282724"/>
                  </a:cubicBezTo>
                  <a:cubicBezTo>
                    <a:pt x="83884" y="281220"/>
                    <a:pt x="90248" y="279767"/>
                    <a:pt x="94608" y="274806"/>
                  </a:cubicBezTo>
                  <a:cubicBezTo>
                    <a:pt x="94508" y="272050"/>
                    <a:pt x="93806" y="269244"/>
                    <a:pt x="93054" y="266288"/>
                  </a:cubicBezTo>
                  <a:cubicBezTo>
                    <a:pt x="91150" y="258771"/>
                    <a:pt x="88995" y="250252"/>
                    <a:pt x="96662" y="240781"/>
                  </a:cubicBezTo>
                  <a:lnTo>
                    <a:pt x="99218" y="237675"/>
                  </a:lnTo>
                  <a:lnTo>
                    <a:pt x="101122" y="241232"/>
                  </a:lnTo>
                  <a:cubicBezTo>
                    <a:pt x="102224" y="243287"/>
                    <a:pt x="103227" y="245241"/>
                    <a:pt x="104129" y="247045"/>
                  </a:cubicBezTo>
                  <a:cubicBezTo>
                    <a:pt x="105933" y="250603"/>
                    <a:pt x="107486" y="253710"/>
                    <a:pt x="109440" y="256316"/>
                  </a:cubicBezTo>
                  <a:cubicBezTo>
                    <a:pt x="111595" y="259172"/>
                    <a:pt x="114552" y="261477"/>
                    <a:pt x="116055" y="261477"/>
                  </a:cubicBezTo>
                  <a:lnTo>
                    <a:pt x="116055" y="261477"/>
                  </a:lnTo>
                  <a:cubicBezTo>
                    <a:pt x="118009" y="261477"/>
                    <a:pt x="120264" y="260224"/>
                    <a:pt x="123120" y="258571"/>
                  </a:cubicBezTo>
                  <a:cubicBezTo>
                    <a:pt x="123872" y="258170"/>
                    <a:pt x="124624" y="257719"/>
                    <a:pt x="125425" y="257318"/>
                  </a:cubicBezTo>
                  <a:cubicBezTo>
                    <a:pt x="124273" y="255514"/>
                    <a:pt x="123170" y="253810"/>
                    <a:pt x="122068" y="252156"/>
                  </a:cubicBezTo>
                  <a:cubicBezTo>
                    <a:pt x="118560" y="246745"/>
                    <a:pt x="115253" y="241633"/>
                    <a:pt x="112347" y="236372"/>
                  </a:cubicBezTo>
                  <a:cubicBezTo>
                    <a:pt x="107937" y="228404"/>
                    <a:pt x="108989" y="222491"/>
                    <a:pt x="115454" y="218733"/>
                  </a:cubicBezTo>
                  <a:lnTo>
                    <a:pt x="116155" y="218332"/>
                  </a:lnTo>
                  <a:lnTo>
                    <a:pt x="116957" y="218332"/>
                  </a:lnTo>
                  <a:cubicBezTo>
                    <a:pt x="129986" y="218984"/>
                    <a:pt x="137803" y="227653"/>
                    <a:pt x="144718" y="235269"/>
                  </a:cubicBezTo>
                  <a:lnTo>
                    <a:pt x="145419" y="236021"/>
                  </a:lnTo>
                  <a:cubicBezTo>
                    <a:pt x="154089" y="230659"/>
                    <a:pt x="152034" y="225097"/>
                    <a:pt x="149228" y="217581"/>
                  </a:cubicBezTo>
                  <a:cubicBezTo>
                    <a:pt x="147875" y="213922"/>
                    <a:pt x="146422" y="210164"/>
                    <a:pt x="146622" y="206356"/>
                  </a:cubicBezTo>
                  <a:lnTo>
                    <a:pt x="146622" y="205454"/>
                  </a:lnTo>
                  <a:cubicBezTo>
                    <a:pt x="146622" y="205454"/>
                    <a:pt x="147223" y="204752"/>
                    <a:pt x="147223" y="204752"/>
                  </a:cubicBezTo>
                  <a:cubicBezTo>
                    <a:pt x="160052" y="189419"/>
                    <a:pt x="160803" y="188467"/>
                    <a:pt x="173331" y="190571"/>
                  </a:cubicBezTo>
                  <a:lnTo>
                    <a:pt x="174533" y="190772"/>
                  </a:lnTo>
                  <a:lnTo>
                    <a:pt x="175185" y="191774"/>
                  </a:lnTo>
                  <a:cubicBezTo>
                    <a:pt x="178442" y="196935"/>
                    <a:pt x="178342" y="202598"/>
                    <a:pt x="178241" y="208110"/>
                  </a:cubicBezTo>
                  <a:cubicBezTo>
                    <a:pt x="178141" y="212720"/>
                    <a:pt x="178091" y="217079"/>
                    <a:pt x="179995" y="220938"/>
                  </a:cubicBezTo>
                  <a:cubicBezTo>
                    <a:pt x="197584" y="212519"/>
                    <a:pt x="211415" y="204251"/>
                    <a:pt x="217227" y="186362"/>
                  </a:cubicBezTo>
                  <a:cubicBezTo>
                    <a:pt x="216927" y="185761"/>
                    <a:pt x="216576" y="185159"/>
                    <a:pt x="216275" y="184508"/>
                  </a:cubicBezTo>
                  <a:cubicBezTo>
                    <a:pt x="214972" y="182002"/>
                    <a:pt x="213469" y="179196"/>
                    <a:pt x="213068" y="176089"/>
                  </a:cubicBezTo>
                  <a:cubicBezTo>
                    <a:pt x="212667" y="172882"/>
                    <a:pt x="212817" y="166619"/>
                    <a:pt x="216025" y="163311"/>
                  </a:cubicBezTo>
                  <a:cubicBezTo>
                    <a:pt x="218179" y="161106"/>
                    <a:pt x="221486" y="160906"/>
                    <a:pt x="224694" y="160706"/>
                  </a:cubicBezTo>
                  <a:cubicBezTo>
                    <a:pt x="225796" y="160655"/>
                    <a:pt x="226949" y="160555"/>
                    <a:pt x="227951" y="160405"/>
                  </a:cubicBezTo>
                  <a:lnTo>
                    <a:pt x="230005" y="160054"/>
                  </a:lnTo>
                  <a:lnTo>
                    <a:pt x="230857" y="162008"/>
                  </a:lnTo>
                  <a:cubicBezTo>
                    <a:pt x="231308" y="163061"/>
                    <a:pt x="231809" y="164013"/>
                    <a:pt x="232210" y="164865"/>
                  </a:cubicBezTo>
                  <a:cubicBezTo>
                    <a:pt x="233162" y="166769"/>
                    <a:pt x="233964" y="168423"/>
                    <a:pt x="234164" y="170327"/>
                  </a:cubicBezTo>
                  <a:cubicBezTo>
                    <a:pt x="234916" y="178645"/>
                    <a:pt x="236470" y="183004"/>
                    <a:pt x="242733" y="183706"/>
                  </a:cubicBezTo>
                  <a:cubicBezTo>
                    <a:pt x="247744" y="184257"/>
                    <a:pt x="249648" y="181301"/>
                    <a:pt x="252655" y="176039"/>
                  </a:cubicBezTo>
                  <a:cubicBezTo>
                    <a:pt x="253407" y="174686"/>
                    <a:pt x="254208" y="173283"/>
                    <a:pt x="255060" y="172030"/>
                  </a:cubicBezTo>
                  <a:cubicBezTo>
                    <a:pt x="255812" y="170978"/>
                    <a:pt x="256213" y="169475"/>
                    <a:pt x="256614" y="167871"/>
                  </a:cubicBezTo>
                  <a:cubicBezTo>
                    <a:pt x="257616" y="164263"/>
                    <a:pt x="258969" y="159302"/>
                    <a:pt x="265283" y="158050"/>
                  </a:cubicBezTo>
                  <a:lnTo>
                    <a:pt x="266185" y="157899"/>
                  </a:lnTo>
                  <a:lnTo>
                    <a:pt x="266986" y="158300"/>
                  </a:lnTo>
                  <a:cubicBezTo>
                    <a:pt x="271446" y="160505"/>
                    <a:pt x="272498" y="164915"/>
                    <a:pt x="273300" y="168473"/>
                  </a:cubicBezTo>
                  <a:cubicBezTo>
                    <a:pt x="274052" y="171780"/>
                    <a:pt x="274603" y="173884"/>
                    <a:pt x="276508" y="174987"/>
                  </a:cubicBezTo>
                  <a:cubicBezTo>
                    <a:pt x="276858" y="173734"/>
                    <a:pt x="277159" y="172431"/>
                    <a:pt x="277409" y="171178"/>
                  </a:cubicBezTo>
                  <a:cubicBezTo>
                    <a:pt x="277910" y="167821"/>
                    <a:pt x="278913" y="161557"/>
                    <a:pt x="286028" y="160305"/>
                  </a:cubicBezTo>
                  <a:cubicBezTo>
                    <a:pt x="292793" y="159102"/>
                    <a:pt x="297754" y="161708"/>
                    <a:pt x="300310" y="167821"/>
                  </a:cubicBezTo>
                  <a:cubicBezTo>
                    <a:pt x="300661" y="168623"/>
                    <a:pt x="301412" y="169475"/>
                    <a:pt x="302414" y="170677"/>
                  </a:cubicBezTo>
                  <a:lnTo>
                    <a:pt x="310432" y="160355"/>
                  </a:lnTo>
                  <a:lnTo>
                    <a:pt x="312236" y="160956"/>
                  </a:lnTo>
                  <a:cubicBezTo>
                    <a:pt x="312887" y="161156"/>
                    <a:pt x="313589" y="161407"/>
                    <a:pt x="314240" y="161658"/>
                  </a:cubicBezTo>
                  <a:cubicBezTo>
                    <a:pt x="315643" y="162159"/>
                    <a:pt x="316946" y="162660"/>
                    <a:pt x="318249" y="162860"/>
                  </a:cubicBezTo>
                  <a:cubicBezTo>
                    <a:pt x="320705" y="163261"/>
                    <a:pt x="322108" y="162760"/>
                    <a:pt x="322559" y="162159"/>
                  </a:cubicBezTo>
                  <a:cubicBezTo>
                    <a:pt x="323060" y="161557"/>
                    <a:pt x="323010" y="160305"/>
                    <a:pt x="322408" y="158751"/>
                  </a:cubicBezTo>
                  <a:cubicBezTo>
                    <a:pt x="322057" y="157849"/>
                    <a:pt x="321256" y="156847"/>
                    <a:pt x="320454" y="155845"/>
                  </a:cubicBezTo>
                  <a:cubicBezTo>
                    <a:pt x="318450" y="153339"/>
                    <a:pt x="315393" y="149581"/>
                    <a:pt x="318550" y="144420"/>
                  </a:cubicBezTo>
                  <a:lnTo>
                    <a:pt x="319101" y="143518"/>
                  </a:lnTo>
                  <a:lnTo>
                    <a:pt x="320103" y="143217"/>
                  </a:lnTo>
                  <a:cubicBezTo>
                    <a:pt x="323461" y="142215"/>
                    <a:pt x="326768" y="141263"/>
                    <a:pt x="330125" y="140311"/>
                  </a:cubicBezTo>
                  <a:cubicBezTo>
                    <a:pt x="337592" y="138206"/>
                    <a:pt x="344607" y="136152"/>
                    <a:pt x="351622" y="133746"/>
                  </a:cubicBezTo>
                  <a:lnTo>
                    <a:pt x="358036" y="131491"/>
                  </a:lnTo>
                  <a:cubicBezTo>
                    <a:pt x="372919" y="126280"/>
                    <a:pt x="388203" y="121018"/>
                    <a:pt x="405090" y="120968"/>
                  </a:cubicBezTo>
                  <a:cubicBezTo>
                    <a:pt x="408547" y="120768"/>
                    <a:pt x="412506" y="119615"/>
                    <a:pt x="415463" y="118362"/>
                  </a:cubicBezTo>
                  <a:cubicBezTo>
                    <a:pt x="430045" y="112399"/>
                    <a:pt x="445278" y="112099"/>
                    <a:pt x="458307" y="112199"/>
                  </a:cubicBezTo>
                  <a:cubicBezTo>
                    <a:pt x="467477" y="112299"/>
                    <a:pt x="476647" y="112249"/>
                    <a:pt x="485817" y="112199"/>
                  </a:cubicBezTo>
                  <a:cubicBezTo>
                    <a:pt x="496942" y="112199"/>
                    <a:pt x="508467" y="112099"/>
                    <a:pt x="519792" y="112299"/>
                  </a:cubicBezTo>
                  <a:cubicBezTo>
                    <a:pt x="566996" y="113201"/>
                    <a:pt x="616154" y="111046"/>
                    <a:pt x="665813" y="105885"/>
                  </a:cubicBezTo>
                  <a:cubicBezTo>
                    <a:pt x="684955" y="103881"/>
                    <a:pt x="700339" y="95763"/>
                    <a:pt x="712766" y="81181"/>
                  </a:cubicBezTo>
                  <a:cubicBezTo>
                    <a:pt x="720132" y="72562"/>
                    <a:pt x="726696" y="63492"/>
                    <a:pt x="733662" y="53921"/>
                  </a:cubicBezTo>
                  <a:cubicBezTo>
                    <a:pt x="736518" y="50012"/>
                    <a:pt x="739374" y="46054"/>
                    <a:pt x="742281" y="42145"/>
                  </a:cubicBezTo>
                  <a:cubicBezTo>
                    <a:pt x="742582" y="28214"/>
                    <a:pt x="735666" y="19345"/>
                    <a:pt x="721184" y="15086"/>
                  </a:cubicBezTo>
                  <a:cubicBezTo>
                    <a:pt x="718078" y="14184"/>
                    <a:pt x="715121" y="12881"/>
                    <a:pt x="712265" y="11678"/>
                  </a:cubicBezTo>
                  <a:cubicBezTo>
                    <a:pt x="709308" y="10375"/>
                    <a:pt x="706502" y="9173"/>
                    <a:pt x="703546" y="8371"/>
                  </a:cubicBezTo>
                  <a:cubicBezTo>
                    <a:pt x="700239" y="7419"/>
                    <a:pt x="694776" y="5865"/>
                    <a:pt x="691419" y="7068"/>
                  </a:cubicBezTo>
                  <a:cubicBezTo>
                    <a:pt x="686809" y="8722"/>
                    <a:pt x="681948" y="9974"/>
                    <a:pt x="677238" y="11177"/>
                  </a:cubicBezTo>
                  <a:cubicBezTo>
                    <a:pt x="662606" y="14985"/>
                    <a:pt x="648775" y="18543"/>
                    <a:pt x="640307" y="33225"/>
                  </a:cubicBezTo>
                  <a:cubicBezTo>
                    <a:pt x="637851" y="37485"/>
                    <a:pt x="633893" y="40391"/>
                    <a:pt x="629483" y="41193"/>
                  </a:cubicBezTo>
                  <a:cubicBezTo>
                    <a:pt x="625224" y="41945"/>
                    <a:pt x="621065" y="40792"/>
                    <a:pt x="617657" y="37986"/>
                  </a:cubicBezTo>
                  <a:cubicBezTo>
                    <a:pt x="610642" y="32173"/>
                    <a:pt x="603225" y="32173"/>
                    <a:pt x="594656" y="32123"/>
                  </a:cubicBezTo>
                  <a:lnTo>
                    <a:pt x="576967" y="31973"/>
                  </a:lnTo>
                  <a:cubicBezTo>
                    <a:pt x="558126" y="31822"/>
                    <a:pt x="538633" y="31622"/>
                    <a:pt x="519491" y="32273"/>
                  </a:cubicBezTo>
                  <a:cubicBezTo>
                    <a:pt x="507014" y="32674"/>
                    <a:pt x="491279" y="31171"/>
                    <a:pt x="479804" y="15987"/>
                  </a:cubicBezTo>
                  <a:cubicBezTo>
                    <a:pt x="477098" y="12380"/>
                    <a:pt x="473390" y="9223"/>
                    <a:pt x="470083" y="6467"/>
                  </a:cubicBezTo>
                  <a:cubicBezTo>
                    <a:pt x="465673" y="2708"/>
                    <a:pt x="461865" y="-449"/>
                    <a:pt x="455651" y="53"/>
                  </a:cubicBezTo>
                  <a:cubicBezTo>
                    <a:pt x="450590" y="8571"/>
                    <a:pt x="442271" y="14885"/>
                    <a:pt x="430295" y="19445"/>
                  </a:cubicBezTo>
                  <a:cubicBezTo>
                    <a:pt x="426086" y="21049"/>
                    <a:pt x="419772" y="23404"/>
                    <a:pt x="414310" y="18493"/>
                  </a:cubicBezTo>
                  <a:cubicBezTo>
                    <a:pt x="410101" y="14685"/>
                    <a:pt x="405691" y="14384"/>
                    <a:pt x="399979" y="17441"/>
                  </a:cubicBezTo>
                  <a:cubicBezTo>
                    <a:pt x="391711" y="21901"/>
                    <a:pt x="383793" y="22101"/>
                    <a:pt x="375074" y="17992"/>
                  </a:cubicBezTo>
                  <a:cubicBezTo>
                    <a:pt x="362446" y="12029"/>
                    <a:pt x="348916" y="12129"/>
                    <a:pt x="331328" y="18343"/>
                  </a:cubicBezTo>
                  <a:cubicBezTo>
                    <a:pt x="326618" y="19996"/>
                    <a:pt x="321907" y="22051"/>
                    <a:pt x="317347" y="24055"/>
                  </a:cubicBezTo>
                  <a:cubicBezTo>
                    <a:pt x="306924" y="28665"/>
                    <a:pt x="296201" y="33376"/>
                    <a:pt x="284275" y="33676"/>
                  </a:cubicBezTo>
                  <a:cubicBezTo>
                    <a:pt x="278462" y="49060"/>
                    <a:pt x="277760" y="49812"/>
                    <a:pt x="266085" y="58080"/>
                  </a:cubicBezTo>
                  <a:lnTo>
                    <a:pt x="264581" y="59182"/>
                  </a:lnTo>
                  <a:lnTo>
                    <a:pt x="246040" y="46605"/>
                  </a:lnTo>
                  <a:cubicBezTo>
                    <a:pt x="243886" y="48258"/>
                    <a:pt x="241781" y="50012"/>
                    <a:pt x="239727" y="51716"/>
                  </a:cubicBezTo>
                  <a:cubicBezTo>
                    <a:pt x="231358" y="58631"/>
                    <a:pt x="222739" y="65747"/>
                    <a:pt x="210112" y="68202"/>
                  </a:cubicBezTo>
                  <a:lnTo>
                    <a:pt x="208157" y="68603"/>
                  </a:lnTo>
                  <a:lnTo>
                    <a:pt x="197985" y="49261"/>
                  </a:lnTo>
                  <a:lnTo>
                    <a:pt x="191521" y="54171"/>
                  </a:lnTo>
                  <a:lnTo>
                    <a:pt x="204399" y="81983"/>
                  </a:lnTo>
                  <a:lnTo>
                    <a:pt x="203447" y="83285"/>
                  </a:lnTo>
                  <a:cubicBezTo>
                    <a:pt x="200240" y="87645"/>
                    <a:pt x="195429" y="87996"/>
                    <a:pt x="191521" y="88246"/>
                  </a:cubicBezTo>
                  <a:cubicBezTo>
                    <a:pt x="187562" y="88497"/>
                    <a:pt x="185307" y="88797"/>
                    <a:pt x="184004" y="91253"/>
                  </a:cubicBezTo>
                  <a:lnTo>
                    <a:pt x="193024" y="121519"/>
                  </a:lnTo>
                  <a:lnTo>
                    <a:pt x="189616" y="121720"/>
                  </a:lnTo>
                  <a:cubicBezTo>
                    <a:pt x="181599" y="122171"/>
                    <a:pt x="175435" y="119365"/>
                    <a:pt x="169973" y="116909"/>
                  </a:cubicBezTo>
                  <a:cubicBezTo>
                    <a:pt x="166816" y="115456"/>
                    <a:pt x="163810" y="114103"/>
                    <a:pt x="160753" y="113502"/>
                  </a:cubicBezTo>
                  <a:cubicBezTo>
                    <a:pt x="159400" y="113251"/>
                    <a:pt x="158047" y="112850"/>
                    <a:pt x="156744" y="112449"/>
                  </a:cubicBezTo>
                  <a:cubicBezTo>
                    <a:pt x="152635" y="111247"/>
                    <a:pt x="149328" y="110245"/>
                    <a:pt x="145620" y="112800"/>
                  </a:cubicBezTo>
                  <a:lnTo>
                    <a:pt x="148526" y="132443"/>
                  </a:lnTo>
                  <a:lnTo>
                    <a:pt x="145970" y="132894"/>
                  </a:lnTo>
                  <a:cubicBezTo>
                    <a:pt x="138554" y="134297"/>
                    <a:pt x="131439" y="135600"/>
                    <a:pt x="124072" y="136953"/>
                  </a:cubicBezTo>
                  <a:lnTo>
                    <a:pt x="118611" y="151435"/>
                  </a:lnTo>
                  <a:lnTo>
                    <a:pt x="106033" y="155694"/>
                  </a:lnTo>
                  <a:lnTo>
                    <a:pt x="110392" y="180098"/>
                  </a:lnTo>
                  <a:lnTo>
                    <a:pt x="105732" y="178044"/>
                  </a:lnTo>
                  <a:cubicBezTo>
                    <a:pt x="103928" y="177242"/>
                    <a:pt x="102375" y="176641"/>
                    <a:pt x="101072" y="176089"/>
                  </a:cubicBezTo>
                  <a:cubicBezTo>
                    <a:pt x="98516" y="175087"/>
                    <a:pt x="96512" y="174285"/>
                    <a:pt x="94858" y="172932"/>
                  </a:cubicBezTo>
                  <a:cubicBezTo>
                    <a:pt x="92503" y="171078"/>
                    <a:pt x="90348" y="168974"/>
                    <a:pt x="88294" y="166969"/>
                  </a:cubicBezTo>
                  <a:cubicBezTo>
                    <a:pt x="86440" y="165165"/>
                    <a:pt x="84636" y="163411"/>
                    <a:pt x="82632" y="161758"/>
                  </a:cubicBezTo>
                  <a:cubicBezTo>
                    <a:pt x="79374" y="159052"/>
                    <a:pt x="76468" y="157849"/>
                    <a:pt x="74063" y="158200"/>
                  </a:cubicBezTo>
                  <a:cubicBezTo>
                    <a:pt x="71657" y="158551"/>
                    <a:pt x="69252" y="160455"/>
                    <a:pt x="66897" y="163913"/>
                  </a:cubicBezTo>
                  <a:cubicBezTo>
                    <a:pt x="65694" y="165666"/>
                    <a:pt x="64892" y="167821"/>
                    <a:pt x="63990" y="170076"/>
                  </a:cubicBezTo>
                  <a:cubicBezTo>
                    <a:pt x="63540" y="171229"/>
                    <a:pt x="63088" y="172331"/>
                    <a:pt x="62587" y="173484"/>
                  </a:cubicBezTo>
                  <a:lnTo>
                    <a:pt x="61335" y="176290"/>
                  </a:lnTo>
                  <a:lnTo>
                    <a:pt x="58729" y="174686"/>
                  </a:lnTo>
                  <a:cubicBezTo>
                    <a:pt x="39988" y="163311"/>
                    <a:pt x="38785" y="164163"/>
                    <a:pt x="27360" y="172181"/>
                  </a:cubicBezTo>
                  <a:lnTo>
                    <a:pt x="24754" y="174035"/>
                  </a:lnTo>
                  <a:cubicBezTo>
                    <a:pt x="23101" y="175187"/>
                    <a:pt x="22149" y="176941"/>
                    <a:pt x="22048" y="178946"/>
                  </a:cubicBezTo>
                  <a:cubicBezTo>
                    <a:pt x="21948" y="180950"/>
                    <a:pt x="22800" y="182854"/>
                    <a:pt x="24353" y="184207"/>
                  </a:cubicBezTo>
                  <a:cubicBezTo>
                    <a:pt x="27561" y="186913"/>
                    <a:pt x="31469" y="189218"/>
                    <a:pt x="35478" y="190671"/>
                  </a:cubicBezTo>
                  <a:cubicBezTo>
                    <a:pt x="38935" y="191974"/>
                    <a:pt x="42493" y="192876"/>
                    <a:pt x="46252" y="193828"/>
                  </a:cubicBezTo>
                  <a:cubicBezTo>
                    <a:pt x="49408" y="194630"/>
                    <a:pt x="52665" y="195482"/>
                    <a:pt x="55822" y="196534"/>
                  </a:cubicBezTo>
                  <a:cubicBezTo>
                    <a:pt x="64391" y="199441"/>
                    <a:pt x="64191" y="203299"/>
                    <a:pt x="62287" y="215175"/>
                  </a:cubicBezTo>
                  <a:lnTo>
                    <a:pt x="62036" y="216729"/>
                  </a:lnTo>
                  <a:lnTo>
                    <a:pt x="60533" y="217280"/>
                  </a:lnTo>
                  <a:cubicBezTo>
                    <a:pt x="51212" y="220687"/>
                    <a:pt x="41291" y="220286"/>
                    <a:pt x="31719" y="219886"/>
                  </a:cubicBezTo>
                  <a:cubicBezTo>
                    <a:pt x="21146" y="219485"/>
                    <a:pt x="10273" y="219034"/>
                    <a:pt x="0" y="223644"/>
                  </a:cubicBezTo>
                  <a:cubicBezTo>
                    <a:pt x="802" y="224095"/>
                    <a:pt x="1453" y="224395"/>
                    <a:pt x="1854" y="224496"/>
                  </a:cubicBezTo>
                  <a:cubicBezTo>
                    <a:pt x="2155" y="224496"/>
                    <a:pt x="2506" y="224496"/>
                    <a:pt x="2806" y="224496"/>
                  </a:cubicBezTo>
                  <a:cubicBezTo>
                    <a:pt x="11926" y="224496"/>
                    <a:pt x="19693" y="228354"/>
                    <a:pt x="26508" y="23632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39" name="Полилиния: фигура 138">
              <a:extLst>
                <a:ext uri="{FF2B5EF4-FFF2-40B4-BE49-F238E27FC236}">
                  <a16:creationId xmlns:a16="http://schemas.microsoft.com/office/drawing/2014/main" id="{CE8377F4-7765-4B22-AB2B-133C202ADFCA}"/>
                </a:ext>
              </a:extLst>
            </p:cNvPr>
            <p:cNvSpPr/>
            <p:nvPr/>
          </p:nvSpPr>
          <p:spPr>
            <a:xfrm>
              <a:off x="2104683" y="2897789"/>
              <a:ext cx="606710" cy="347325"/>
            </a:xfrm>
            <a:custGeom>
              <a:avLst/>
              <a:gdLst>
                <a:gd name="connsiteX0" fmla="*/ 244938 w 486488"/>
                <a:gd name="connsiteY0" fmla="*/ 240328 h 278501"/>
                <a:gd name="connsiteX1" fmla="*/ 245940 w 486488"/>
                <a:gd name="connsiteY1" fmla="*/ 239075 h 278501"/>
                <a:gd name="connsiteX2" fmla="*/ 264732 w 486488"/>
                <a:gd name="connsiteY2" fmla="*/ 227400 h 278501"/>
                <a:gd name="connsiteX3" fmla="*/ 265834 w 486488"/>
                <a:gd name="connsiteY3" fmla="*/ 227400 h 278501"/>
                <a:gd name="connsiteX4" fmla="*/ 266686 w 486488"/>
                <a:gd name="connsiteY4" fmla="*/ 228051 h 278501"/>
                <a:gd name="connsiteX5" fmla="*/ 271496 w 486488"/>
                <a:gd name="connsiteY5" fmla="*/ 232110 h 278501"/>
                <a:gd name="connsiteX6" fmla="*/ 301011 w 486488"/>
                <a:gd name="connsiteY6" fmla="*/ 270695 h 278501"/>
                <a:gd name="connsiteX7" fmla="*/ 302715 w 486488"/>
                <a:gd name="connsiteY7" fmla="*/ 271096 h 278501"/>
                <a:gd name="connsiteX8" fmla="*/ 309129 w 486488"/>
                <a:gd name="connsiteY8" fmla="*/ 272850 h 278501"/>
                <a:gd name="connsiteX9" fmla="*/ 381137 w 486488"/>
                <a:gd name="connsiteY9" fmla="*/ 261274 h 278501"/>
                <a:gd name="connsiteX10" fmla="*/ 400680 w 486488"/>
                <a:gd name="connsiteY10" fmla="*/ 255211 h 278501"/>
                <a:gd name="connsiteX11" fmla="*/ 426237 w 486488"/>
                <a:gd name="connsiteY11" fmla="*/ 254860 h 278501"/>
                <a:gd name="connsiteX12" fmla="*/ 447533 w 486488"/>
                <a:gd name="connsiteY12" fmla="*/ 254058 h 278501"/>
                <a:gd name="connsiteX13" fmla="*/ 468930 w 486488"/>
                <a:gd name="connsiteY13" fmla="*/ 245640 h 278501"/>
                <a:gd name="connsiteX14" fmla="*/ 483162 w 486488"/>
                <a:gd name="connsiteY14" fmla="*/ 187362 h 278501"/>
                <a:gd name="connsiteX15" fmla="*/ 485216 w 486488"/>
                <a:gd name="connsiteY15" fmla="*/ 171727 h 278501"/>
                <a:gd name="connsiteX16" fmla="*/ 469482 w 486488"/>
                <a:gd name="connsiteY16" fmla="*/ 160403 h 278501"/>
                <a:gd name="connsiteX17" fmla="*/ 468229 w 486488"/>
                <a:gd name="connsiteY17" fmla="*/ 161204 h 278501"/>
                <a:gd name="connsiteX18" fmla="*/ 463819 w 486488"/>
                <a:gd name="connsiteY18" fmla="*/ 164612 h 278501"/>
                <a:gd name="connsiteX19" fmla="*/ 431097 w 486488"/>
                <a:gd name="connsiteY19" fmla="*/ 171577 h 278501"/>
                <a:gd name="connsiteX20" fmla="*/ 418119 w 486488"/>
                <a:gd name="connsiteY20" fmla="*/ 171978 h 278501"/>
                <a:gd name="connsiteX21" fmla="*/ 393114 w 486488"/>
                <a:gd name="connsiteY21" fmla="*/ 169873 h 278501"/>
                <a:gd name="connsiteX22" fmla="*/ 381388 w 486488"/>
                <a:gd name="connsiteY22" fmla="*/ 161355 h 278501"/>
                <a:gd name="connsiteX23" fmla="*/ 354579 w 486488"/>
                <a:gd name="connsiteY23" fmla="*/ 142663 h 278501"/>
                <a:gd name="connsiteX24" fmla="*/ 319853 w 486488"/>
                <a:gd name="connsiteY24" fmla="*/ 103177 h 278501"/>
                <a:gd name="connsiteX25" fmla="*/ 308528 w 486488"/>
                <a:gd name="connsiteY25" fmla="*/ 87693 h 278501"/>
                <a:gd name="connsiteX26" fmla="*/ 281669 w 486488"/>
                <a:gd name="connsiteY26" fmla="*/ 63540 h 278501"/>
                <a:gd name="connsiteX27" fmla="*/ 272849 w 486488"/>
                <a:gd name="connsiteY27" fmla="*/ 58980 h 278501"/>
                <a:gd name="connsiteX28" fmla="*/ 270845 w 486488"/>
                <a:gd name="connsiteY28" fmla="*/ 58328 h 278501"/>
                <a:gd name="connsiteX29" fmla="*/ 265183 w 486488"/>
                <a:gd name="connsiteY29" fmla="*/ 56775 h 278501"/>
                <a:gd name="connsiteX30" fmla="*/ 248095 w 486488"/>
                <a:gd name="connsiteY30" fmla="*/ 47905 h 278501"/>
                <a:gd name="connsiteX31" fmla="*/ 247544 w 486488"/>
                <a:gd name="connsiteY31" fmla="*/ 47254 h 278501"/>
                <a:gd name="connsiteX32" fmla="*/ 247143 w 486488"/>
                <a:gd name="connsiteY32" fmla="*/ 42694 h 278501"/>
                <a:gd name="connsiteX33" fmla="*/ 246191 w 486488"/>
                <a:gd name="connsiteY33" fmla="*/ 32822 h 278501"/>
                <a:gd name="connsiteX34" fmla="*/ 236369 w 486488"/>
                <a:gd name="connsiteY34" fmla="*/ 14332 h 278501"/>
                <a:gd name="connsiteX35" fmla="*/ 225596 w 486488"/>
                <a:gd name="connsiteY35" fmla="*/ 12427 h 278501"/>
                <a:gd name="connsiteX36" fmla="*/ 193625 w 486488"/>
                <a:gd name="connsiteY36" fmla="*/ 8970 h 278501"/>
                <a:gd name="connsiteX37" fmla="*/ 183403 w 486488"/>
                <a:gd name="connsiteY37" fmla="*/ 5763 h 278501"/>
                <a:gd name="connsiteX38" fmla="*/ 167167 w 486488"/>
                <a:gd name="connsiteY38" fmla="*/ 1403 h 278501"/>
                <a:gd name="connsiteX39" fmla="*/ 162056 w 486488"/>
                <a:gd name="connsiteY39" fmla="*/ 0 h 278501"/>
                <a:gd name="connsiteX40" fmla="*/ 136550 w 486488"/>
                <a:gd name="connsiteY40" fmla="*/ 19944 h 278501"/>
                <a:gd name="connsiteX41" fmla="*/ 109841 w 486488"/>
                <a:gd name="connsiteY41" fmla="*/ 46452 h 278501"/>
                <a:gd name="connsiteX42" fmla="*/ 107436 w 486488"/>
                <a:gd name="connsiteY42" fmla="*/ 50611 h 278501"/>
                <a:gd name="connsiteX43" fmla="*/ 105732 w 486488"/>
                <a:gd name="connsiteY43" fmla="*/ 52716 h 278501"/>
                <a:gd name="connsiteX44" fmla="*/ 105331 w 486488"/>
                <a:gd name="connsiteY44" fmla="*/ 53267 h 278501"/>
                <a:gd name="connsiteX45" fmla="*/ 104730 w 486488"/>
                <a:gd name="connsiteY45" fmla="*/ 53568 h 278501"/>
                <a:gd name="connsiteX46" fmla="*/ 80677 w 486488"/>
                <a:gd name="connsiteY46" fmla="*/ 64191 h 278501"/>
                <a:gd name="connsiteX47" fmla="*/ 0 w 486488"/>
                <a:gd name="connsiteY47" fmla="*/ 110743 h 278501"/>
                <a:gd name="connsiteX48" fmla="*/ 301 w 486488"/>
                <a:gd name="connsiteY48" fmla="*/ 111495 h 278501"/>
                <a:gd name="connsiteX49" fmla="*/ 1002 w 486488"/>
                <a:gd name="connsiteY49" fmla="*/ 113048 h 278501"/>
                <a:gd name="connsiteX50" fmla="*/ 18841 w 486488"/>
                <a:gd name="connsiteY50" fmla="*/ 123622 h 278501"/>
                <a:gd name="connsiteX51" fmla="*/ 39386 w 486488"/>
                <a:gd name="connsiteY51" fmla="*/ 135849 h 278501"/>
                <a:gd name="connsiteX52" fmla="*/ 58529 w 486488"/>
                <a:gd name="connsiteY52" fmla="*/ 134997 h 278501"/>
                <a:gd name="connsiteX53" fmla="*/ 68901 w 486488"/>
                <a:gd name="connsiteY53" fmla="*/ 127731 h 278501"/>
                <a:gd name="connsiteX54" fmla="*/ 74113 w 486488"/>
                <a:gd name="connsiteY54" fmla="*/ 124023 h 278501"/>
                <a:gd name="connsiteX55" fmla="*/ 75416 w 486488"/>
                <a:gd name="connsiteY55" fmla="*/ 124473 h 278501"/>
                <a:gd name="connsiteX56" fmla="*/ 77019 w 486488"/>
                <a:gd name="connsiteY56" fmla="*/ 124975 h 278501"/>
                <a:gd name="connsiteX57" fmla="*/ 79675 w 486488"/>
                <a:gd name="connsiteY57" fmla="*/ 126227 h 278501"/>
                <a:gd name="connsiteX58" fmla="*/ 80326 w 486488"/>
                <a:gd name="connsiteY58" fmla="*/ 126779 h 278501"/>
                <a:gd name="connsiteX59" fmla="*/ 83634 w 486488"/>
                <a:gd name="connsiteY59" fmla="*/ 130737 h 278501"/>
                <a:gd name="connsiteX60" fmla="*/ 131940 w 486488"/>
                <a:gd name="connsiteY60" fmla="*/ 178993 h 278501"/>
                <a:gd name="connsiteX61" fmla="*/ 136299 w 486488"/>
                <a:gd name="connsiteY61" fmla="*/ 183353 h 278501"/>
                <a:gd name="connsiteX62" fmla="*/ 137602 w 486488"/>
                <a:gd name="connsiteY62" fmla="*/ 185207 h 278501"/>
                <a:gd name="connsiteX63" fmla="*/ 138504 w 486488"/>
                <a:gd name="connsiteY63" fmla="*/ 186359 h 278501"/>
                <a:gd name="connsiteX64" fmla="*/ 131890 w 486488"/>
                <a:gd name="connsiteY64" fmla="*/ 205502 h 278501"/>
                <a:gd name="connsiteX65" fmla="*/ 132942 w 486488"/>
                <a:gd name="connsiteY65" fmla="*/ 205802 h 278501"/>
                <a:gd name="connsiteX66" fmla="*/ 153738 w 486488"/>
                <a:gd name="connsiteY66" fmla="*/ 220033 h 278501"/>
                <a:gd name="connsiteX67" fmla="*/ 192172 w 486488"/>
                <a:gd name="connsiteY67" fmla="*/ 249749 h 278501"/>
                <a:gd name="connsiteX68" fmla="*/ 245038 w 486488"/>
                <a:gd name="connsiteY68" fmla="*/ 240278 h 27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86488" h="278501">
                  <a:moveTo>
                    <a:pt x="244938" y="240328"/>
                  </a:moveTo>
                  <a:lnTo>
                    <a:pt x="245940" y="239075"/>
                  </a:lnTo>
                  <a:cubicBezTo>
                    <a:pt x="250049" y="234165"/>
                    <a:pt x="255111" y="228001"/>
                    <a:pt x="264732" y="227400"/>
                  </a:cubicBezTo>
                  <a:lnTo>
                    <a:pt x="265834" y="227400"/>
                  </a:lnTo>
                  <a:cubicBezTo>
                    <a:pt x="265834" y="227400"/>
                    <a:pt x="266686" y="228051"/>
                    <a:pt x="266686" y="228051"/>
                  </a:cubicBezTo>
                  <a:cubicBezTo>
                    <a:pt x="268289" y="229404"/>
                    <a:pt x="269893" y="230757"/>
                    <a:pt x="271496" y="232110"/>
                  </a:cubicBezTo>
                  <a:cubicBezTo>
                    <a:pt x="283774" y="242383"/>
                    <a:pt x="296401" y="253006"/>
                    <a:pt x="301011" y="270695"/>
                  </a:cubicBezTo>
                  <a:cubicBezTo>
                    <a:pt x="301563" y="270845"/>
                    <a:pt x="302164" y="270945"/>
                    <a:pt x="302715" y="271096"/>
                  </a:cubicBezTo>
                  <a:cubicBezTo>
                    <a:pt x="304920" y="271597"/>
                    <a:pt x="307025" y="272098"/>
                    <a:pt x="309129" y="272850"/>
                  </a:cubicBezTo>
                  <a:cubicBezTo>
                    <a:pt x="337993" y="283122"/>
                    <a:pt x="360893" y="279464"/>
                    <a:pt x="381137" y="261274"/>
                  </a:cubicBezTo>
                  <a:cubicBezTo>
                    <a:pt x="385898" y="257015"/>
                    <a:pt x="394316" y="254409"/>
                    <a:pt x="400680" y="255211"/>
                  </a:cubicBezTo>
                  <a:cubicBezTo>
                    <a:pt x="409199" y="256313"/>
                    <a:pt x="417818" y="255562"/>
                    <a:pt x="426237" y="254860"/>
                  </a:cubicBezTo>
                  <a:cubicBezTo>
                    <a:pt x="433152" y="254259"/>
                    <a:pt x="440317" y="253657"/>
                    <a:pt x="447533" y="254058"/>
                  </a:cubicBezTo>
                  <a:cubicBezTo>
                    <a:pt x="456403" y="254459"/>
                    <a:pt x="463268" y="251853"/>
                    <a:pt x="468930" y="245640"/>
                  </a:cubicBezTo>
                  <a:cubicBezTo>
                    <a:pt x="469732" y="224844"/>
                    <a:pt x="474543" y="205251"/>
                    <a:pt x="483162" y="187362"/>
                  </a:cubicBezTo>
                  <a:cubicBezTo>
                    <a:pt x="486068" y="181348"/>
                    <a:pt x="487822" y="176989"/>
                    <a:pt x="485216" y="171727"/>
                  </a:cubicBezTo>
                  <a:cubicBezTo>
                    <a:pt x="481408" y="163960"/>
                    <a:pt x="476848" y="160653"/>
                    <a:pt x="469482" y="160403"/>
                  </a:cubicBezTo>
                  <a:cubicBezTo>
                    <a:pt x="469081" y="160653"/>
                    <a:pt x="468680" y="160954"/>
                    <a:pt x="468229" y="161204"/>
                  </a:cubicBezTo>
                  <a:cubicBezTo>
                    <a:pt x="466725" y="162156"/>
                    <a:pt x="465022" y="163259"/>
                    <a:pt x="463819" y="164612"/>
                  </a:cubicBezTo>
                  <a:cubicBezTo>
                    <a:pt x="454048" y="175486"/>
                    <a:pt x="443023" y="177841"/>
                    <a:pt x="431097" y="171577"/>
                  </a:cubicBezTo>
                  <a:cubicBezTo>
                    <a:pt x="426487" y="169172"/>
                    <a:pt x="422378" y="169272"/>
                    <a:pt x="418119" y="171978"/>
                  </a:cubicBezTo>
                  <a:cubicBezTo>
                    <a:pt x="410402" y="176839"/>
                    <a:pt x="401983" y="176137"/>
                    <a:pt x="393114" y="169873"/>
                  </a:cubicBezTo>
                  <a:cubicBezTo>
                    <a:pt x="389205" y="167067"/>
                    <a:pt x="385296" y="164211"/>
                    <a:pt x="381388" y="161355"/>
                  </a:cubicBezTo>
                  <a:cubicBezTo>
                    <a:pt x="372719" y="154991"/>
                    <a:pt x="363749" y="148426"/>
                    <a:pt x="354579" y="142663"/>
                  </a:cubicBezTo>
                  <a:cubicBezTo>
                    <a:pt x="338093" y="132291"/>
                    <a:pt x="326768" y="119362"/>
                    <a:pt x="319853" y="103177"/>
                  </a:cubicBezTo>
                  <a:cubicBezTo>
                    <a:pt x="318099" y="99018"/>
                    <a:pt x="314240" y="91451"/>
                    <a:pt x="308528" y="87693"/>
                  </a:cubicBezTo>
                  <a:cubicBezTo>
                    <a:pt x="298756" y="81279"/>
                    <a:pt x="288684" y="74664"/>
                    <a:pt x="281669" y="63540"/>
                  </a:cubicBezTo>
                  <a:cubicBezTo>
                    <a:pt x="280366" y="61485"/>
                    <a:pt x="276207" y="60132"/>
                    <a:pt x="272849" y="58980"/>
                  </a:cubicBezTo>
                  <a:lnTo>
                    <a:pt x="270845" y="58328"/>
                  </a:lnTo>
                  <a:cubicBezTo>
                    <a:pt x="268991" y="57727"/>
                    <a:pt x="267087" y="57276"/>
                    <a:pt x="265183" y="56775"/>
                  </a:cubicBezTo>
                  <a:cubicBezTo>
                    <a:pt x="259470" y="55422"/>
                    <a:pt x="253006" y="53868"/>
                    <a:pt x="248095" y="47905"/>
                  </a:cubicBezTo>
                  <a:lnTo>
                    <a:pt x="247544" y="47254"/>
                  </a:lnTo>
                  <a:lnTo>
                    <a:pt x="247143" y="42694"/>
                  </a:lnTo>
                  <a:cubicBezTo>
                    <a:pt x="246842" y="39487"/>
                    <a:pt x="246542" y="36129"/>
                    <a:pt x="246191" y="32822"/>
                  </a:cubicBezTo>
                  <a:cubicBezTo>
                    <a:pt x="245339" y="25005"/>
                    <a:pt x="241581" y="17940"/>
                    <a:pt x="236369" y="14332"/>
                  </a:cubicBezTo>
                  <a:cubicBezTo>
                    <a:pt x="233012" y="12027"/>
                    <a:pt x="229354" y="11375"/>
                    <a:pt x="225596" y="12427"/>
                  </a:cubicBezTo>
                  <a:cubicBezTo>
                    <a:pt x="213269" y="15785"/>
                    <a:pt x="203297" y="12327"/>
                    <a:pt x="193625" y="8970"/>
                  </a:cubicBezTo>
                  <a:cubicBezTo>
                    <a:pt x="190268" y="7817"/>
                    <a:pt x="186810" y="6615"/>
                    <a:pt x="183403" y="5763"/>
                  </a:cubicBezTo>
                  <a:cubicBezTo>
                    <a:pt x="178141" y="4460"/>
                    <a:pt x="172880" y="3007"/>
                    <a:pt x="167167" y="1403"/>
                  </a:cubicBezTo>
                  <a:lnTo>
                    <a:pt x="162056" y="0"/>
                  </a:lnTo>
                  <a:cubicBezTo>
                    <a:pt x="156895" y="12277"/>
                    <a:pt x="148526" y="18791"/>
                    <a:pt x="136550" y="19944"/>
                  </a:cubicBezTo>
                  <a:cubicBezTo>
                    <a:pt x="120916" y="21447"/>
                    <a:pt x="112146" y="30116"/>
                    <a:pt x="109841" y="46452"/>
                  </a:cubicBezTo>
                  <a:cubicBezTo>
                    <a:pt x="109591" y="48106"/>
                    <a:pt x="108589" y="49258"/>
                    <a:pt x="107436" y="50611"/>
                  </a:cubicBezTo>
                  <a:cubicBezTo>
                    <a:pt x="106935" y="51213"/>
                    <a:pt x="106334" y="51864"/>
                    <a:pt x="105732" y="52716"/>
                  </a:cubicBezTo>
                  <a:lnTo>
                    <a:pt x="105331" y="53267"/>
                  </a:lnTo>
                  <a:lnTo>
                    <a:pt x="104730" y="53568"/>
                  </a:lnTo>
                  <a:cubicBezTo>
                    <a:pt x="96863" y="57226"/>
                    <a:pt x="88645" y="60734"/>
                    <a:pt x="80677" y="64191"/>
                  </a:cubicBezTo>
                  <a:cubicBezTo>
                    <a:pt x="52465" y="76318"/>
                    <a:pt x="23301" y="88845"/>
                    <a:pt x="0" y="110743"/>
                  </a:cubicBezTo>
                  <a:cubicBezTo>
                    <a:pt x="100" y="110994"/>
                    <a:pt x="200" y="111295"/>
                    <a:pt x="301" y="111495"/>
                  </a:cubicBezTo>
                  <a:cubicBezTo>
                    <a:pt x="501" y="112046"/>
                    <a:pt x="802" y="112848"/>
                    <a:pt x="1002" y="113048"/>
                  </a:cubicBezTo>
                  <a:cubicBezTo>
                    <a:pt x="6815" y="116506"/>
                    <a:pt x="12828" y="120064"/>
                    <a:pt x="18841" y="123622"/>
                  </a:cubicBezTo>
                  <a:cubicBezTo>
                    <a:pt x="25707" y="127681"/>
                    <a:pt x="32622" y="131689"/>
                    <a:pt x="39386" y="135849"/>
                  </a:cubicBezTo>
                  <a:cubicBezTo>
                    <a:pt x="45801" y="139807"/>
                    <a:pt x="51864" y="139507"/>
                    <a:pt x="58529" y="134997"/>
                  </a:cubicBezTo>
                  <a:cubicBezTo>
                    <a:pt x="62136" y="132591"/>
                    <a:pt x="65644" y="130086"/>
                    <a:pt x="68901" y="127731"/>
                  </a:cubicBezTo>
                  <a:lnTo>
                    <a:pt x="74113" y="124023"/>
                  </a:lnTo>
                  <a:lnTo>
                    <a:pt x="75416" y="124473"/>
                  </a:lnTo>
                  <a:cubicBezTo>
                    <a:pt x="76067" y="124724"/>
                    <a:pt x="76618" y="124874"/>
                    <a:pt x="77019" y="124975"/>
                  </a:cubicBezTo>
                  <a:cubicBezTo>
                    <a:pt x="78021" y="125275"/>
                    <a:pt x="78873" y="125526"/>
                    <a:pt x="79675" y="126227"/>
                  </a:cubicBezTo>
                  <a:lnTo>
                    <a:pt x="80326" y="126779"/>
                  </a:lnTo>
                  <a:cubicBezTo>
                    <a:pt x="81529" y="127731"/>
                    <a:pt x="82982" y="128984"/>
                    <a:pt x="83634" y="130737"/>
                  </a:cubicBezTo>
                  <a:cubicBezTo>
                    <a:pt x="91852" y="153938"/>
                    <a:pt x="107687" y="169723"/>
                    <a:pt x="131940" y="178993"/>
                  </a:cubicBezTo>
                  <a:cubicBezTo>
                    <a:pt x="133994" y="179795"/>
                    <a:pt x="135147" y="181599"/>
                    <a:pt x="136299" y="183353"/>
                  </a:cubicBezTo>
                  <a:cubicBezTo>
                    <a:pt x="136700" y="184004"/>
                    <a:pt x="137101" y="184656"/>
                    <a:pt x="137602" y="185207"/>
                  </a:cubicBezTo>
                  <a:lnTo>
                    <a:pt x="138504" y="186359"/>
                  </a:lnTo>
                  <a:lnTo>
                    <a:pt x="131890" y="205502"/>
                  </a:lnTo>
                  <a:cubicBezTo>
                    <a:pt x="132240" y="205602"/>
                    <a:pt x="132591" y="205702"/>
                    <a:pt x="132942" y="205802"/>
                  </a:cubicBezTo>
                  <a:cubicBezTo>
                    <a:pt x="141561" y="208408"/>
                    <a:pt x="149729" y="210863"/>
                    <a:pt x="153738" y="220033"/>
                  </a:cubicBezTo>
                  <a:cubicBezTo>
                    <a:pt x="161004" y="236670"/>
                    <a:pt x="176688" y="243836"/>
                    <a:pt x="192172" y="249749"/>
                  </a:cubicBezTo>
                  <a:cubicBezTo>
                    <a:pt x="215724" y="258719"/>
                    <a:pt x="232010" y="255812"/>
                    <a:pt x="245038" y="24027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40" name="Полилиния: фигура 139">
              <a:extLst>
                <a:ext uri="{FF2B5EF4-FFF2-40B4-BE49-F238E27FC236}">
                  <a16:creationId xmlns:a16="http://schemas.microsoft.com/office/drawing/2014/main" id="{2FC226F1-849F-4F78-B82E-2A6501362688}"/>
                </a:ext>
              </a:extLst>
            </p:cNvPr>
            <p:cNvSpPr/>
            <p:nvPr/>
          </p:nvSpPr>
          <p:spPr>
            <a:xfrm>
              <a:off x="880290" y="4372892"/>
              <a:ext cx="348178" cy="484465"/>
            </a:xfrm>
            <a:custGeom>
              <a:avLst/>
              <a:gdLst>
                <a:gd name="connsiteX0" fmla="*/ 205320 w 279185"/>
                <a:gd name="connsiteY0" fmla="*/ 76162 h 388466"/>
                <a:gd name="connsiteX1" fmla="*/ 202313 w 279185"/>
                <a:gd name="connsiteY1" fmla="*/ 71401 h 388466"/>
                <a:gd name="connsiteX2" fmla="*/ 200860 w 279185"/>
                <a:gd name="connsiteY2" fmla="*/ 69497 h 388466"/>
                <a:gd name="connsiteX3" fmla="*/ 188182 w 279185"/>
                <a:gd name="connsiteY3" fmla="*/ 68144 h 388466"/>
                <a:gd name="connsiteX4" fmla="*/ 146591 w 279185"/>
                <a:gd name="connsiteY4" fmla="*/ 55717 h 388466"/>
                <a:gd name="connsiteX5" fmla="*/ 145638 w 279185"/>
                <a:gd name="connsiteY5" fmla="*/ 54965 h 388466"/>
                <a:gd name="connsiteX6" fmla="*/ 144787 w 279185"/>
                <a:gd name="connsiteY6" fmla="*/ 42538 h 388466"/>
                <a:gd name="connsiteX7" fmla="*/ 127098 w 279185"/>
                <a:gd name="connsiteY7" fmla="*/ 49353 h 388466"/>
                <a:gd name="connsiteX8" fmla="*/ 126045 w 279185"/>
                <a:gd name="connsiteY8" fmla="*/ 47098 h 388466"/>
                <a:gd name="connsiteX9" fmla="*/ 88112 w 279185"/>
                <a:gd name="connsiteY9" fmla="*/ 45 h 388466"/>
                <a:gd name="connsiteX10" fmla="*/ 85707 w 279185"/>
                <a:gd name="connsiteY10" fmla="*/ 45 h 388466"/>
                <a:gd name="connsiteX11" fmla="*/ 85105 w 279185"/>
                <a:gd name="connsiteY11" fmla="*/ 45 h 388466"/>
                <a:gd name="connsiteX12" fmla="*/ 71526 w 279185"/>
                <a:gd name="connsiteY12" fmla="*/ 21442 h 388466"/>
                <a:gd name="connsiteX13" fmla="*/ 41359 w 279185"/>
                <a:gd name="connsiteY13" fmla="*/ 8363 h 388466"/>
                <a:gd name="connsiteX14" fmla="*/ 30135 w 279185"/>
                <a:gd name="connsiteY14" fmla="*/ 53462 h 388466"/>
                <a:gd name="connsiteX15" fmla="*/ 33041 w 279185"/>
                <a:gd name="connsiteY15" fmla="*/ 74659 h 388466"/>
                <a:gd name="connsiteX16" fmla="*/ 33993 w 279185"/>
                <a:gd name="connsiteY16" fmla="*/ 92648 h 388466"/>
                <a:gd name="connsiteX17" fmla="*/ 34344 w 279185"/>
                <a:gd name="connsiteY17" fmla="*/ 101217 h 388466"/>
                <a:gd name="connsiteX18" fmla="*/ 34344 w 279185"/>
                <a:gd name="connsiteY18" fmla="*/ 101868 h 388466"/>
                <a:gd name="connsiteX19" fmla="*/ 34093 w 279185"/>
                <a:gd name="connsiteY19" fmla="*/ 102470 h 388466"/>
                <a:gd name="connsiteX20" fmla="*/ 6483 w 279185"/>
                <a:gd name="connsiteY20" fmla="*/ 131333 h 388466"/>
                <a:gd name="connsiteX21" fmla="*/ 1371 w 279185"/>
                <a:gd name="connsiteY21" fmla="*/ 150876 h 388466"/>
                <a:gd name="connsiteX22" fmla="*/ 3626 w 279185"/>
                <a:gd name="connsiteY22" fmla="*/ 154885 h 388466"/>
                <a:gd name="connsiteX23" fmla="*/ 4679 w 279185"/>
                <a:gd name="connsiteY23" fmla="*/ 156538 h 388466"/>
                <a:gd name="connsiteX24" fmla="*/ 22017 w 279185"/>
                <a:gd name="connsiteY24" fmla="*/ 184801 h 388466"/>
                <a:gd name="connsiteX25" fmla="*/ 25424 w 279185"/>
                <a:gd name="connsiteY25" fmla="*/ 190313 h 388466"/>
                <a:gd name="connsiteX26" fmla="*/ 30987 w 279185"/>
                <a:gd name="connsiteY26" fmla="*/ 193369 h 388466"/>
                <a:gd name="connsiteX27" fmla="*/ 46571 w 279185"/>
                <a:gd name="connsiteY27" fmla="*/ 202890 h 388466"/>
                <a:gd name="connsiteX28" fmla="*/ 50680 w 279185"/>
                <a:gd name="connsiteY28" fmla="*/ 215668 h 388466"/>
                <a:gd name="connsiteX29" fmla="*/ 40858 w 279185"/>
                <a:gd name="connsiteY29" fmla="*/ 226492 h 388466"/>
                <a:gd name="connsiteX30" fmla="*/ 31337 w 279185"/>
                <a:gd name="connsiteY30" fmla="*/ 227494 h 388466"/>
                <a:gd name="connsiteX31" fmla="*/ 26477 w 279185"/>
                <a:gd name="connsiteY31" fmla="*/ 227795 h 388466"/>
                <a:gd name="connsiteX32" fmla="*/ 20263 w 279185"/>
                <a:gd name="connsiteY32" fmla="*/ 230200 h 388466"/>
                <a:gd name="connsiteX33" fmla="*/ 24823 w 279185"/>
                <a:gd name="connsiteY33" fmla="*/ 236264 h 388466"/>
                <a:gd name="connsiteX34" fmla="*/ 25825 w 279185"/>
                <a:gd name="connsiteY34" fmla="*/ 237616 h 388466"/>
                <a:gd name="connsiteX35" fmla="*/ 15803 w 279185"/>
                <a:gd name="connsiteY35" fmla="*/ 257360 h 388466"/>
                <a:gd name="connsiteX36" fmla="*/ 22267 w 279185"/>
                <a:gd name="connsiteY36" fmla="*/ 259615 h 388466"/>
                <a:gd name="connsiteX37" fmla="*/ 38703 w 279185"/>
                <a:gd name="connsiteY37" fmla="*/ 265277 h 388466"/>
                <a:gd name="connsiteX38" fmla="*/ 56192 w 279185"/>
                <a:gd name="connsiteY38" fmla="*/ 283267 h 388466"/>
                <a:gd name="connsiteX39" fmla="*/ 82450 w 279185"/>
                <a:gd name="connsiteY39" fmla="*/ 305065 h 388466"/>
                <a:gd name="connsiteX40" fmla="*/ 112466 w 279185"/>
                <a:gd name="connsiteY40" fmla="*/ 320398 h 388466"/>
                <a:gd name="connsiteX41" fmla="*/ 126897 w 279185"/>
                <a:gd name="connsiteY41" fmla="*/ 332826 h 388466"/>
                <a:gd name="connsiteX42" fmla="*/ 133863 w 279185"/>
                <a:gd name="connsiteY42" fmla="*/ 338438 h 388466"/>
                <a:gd name="connsiteX43" fmla="*/ 135366 w 279185"/>
                <a:gd name="connsiteY43" fmla="*/ 339691 h 388466"/>
                <a:gd name="connsiteX44" fmla="*/ 129252 w 279185"/>
                <a:gd name="connsiteY44" fmla="*/ 354975 h 388466"/>
                <a:gd name="connsiteX45" fmla="*/ 141830 w 279185"/>
                <a:gd name="connsiteY45" fmla="*/ 374317 h 388466"/>
                <a:gd name="connsiteX46" fmla="*/ 146340 w 279185"/>
                <a:gd name="connsiteY46" fmla="*/ 384840 h 388466"/>
                <a:gd name="connsiteX47" fmla="*/ 174702 w 279185"/>
                <a:gd name="connsiteY47" fmla="*/ 371110 h 388466"/>
                <a:gd name="connsiteX48" fmla="*/ 178360 w 279185"/>
                <a:gd name="connsiteY48" fmla="*/ 376522 h 388466"/>
                <a:gd name="connsiteX49" fmla="*/ 183021 w 279185"/>
                <a:gd name="connsiteY49" fmla="*/ 383487 h 388466"/>
                <a:gd name="connsiteX50" fmla="*/ 190888 w 279185"/>
                <a:gd name="connsiteY50" fmla="*/ 387997 h 388466"/>
                <a:gd name="connsiteX51" fmla="*/ 195448 w 279185"/>
                <a:gd name="connsiteY51" fmla="*/ 378176 h 388466"/>
                <a:gd name="connsiteX52" fmla="*/ 192141 w 279185"/>
                <a:gd name="connsiteY52" fmla="*/ 370509 h 388466"/>
                <a:gd name="connsiteX53" fmla="*/ 191640 w 279185"/>
                <a:gd name="connsiteY53" fmla="*/ 369657 h 388466"/>
                <a:gd name="connsiteX54" fmla="*/ 189284 w 279185"/>
                <a:gd name="connsiteY54" fmla="*/ 367602 h 388466"/>
                <a:gd name="connsiteX55" fmla="*/ 184073 w 279185"/>
                <a:gd name="connsiteY55" fmla="*/ 355927 h 388466"/>
                <a:gd name="connsiteX56" fmla="*/ 184474 w 279185"/>
                <a:gd name="connsiteY56" fmla="*/ 354022 h 388466"/>
                <a:gd name="connsiteX57" fmla="*/ 212285 w 279185"/>
                <a:gd name="connsiteY57" fmla="*/ 351316 h 388466"/>
                <a:gd name="connsiteX58" fmla="*/ 210230 w 279185"/>
                <a:gd name="connsiteY58" fmla="*/ 339140 h 388466"/>
                <a:gd name="connsiteX59" fmla="*/ 211633 w 279185"/>
                <a:gd name="connsiteY59" fmla="*/ 338187 h 388466"/>
                <a:gd name="connsiteX60" fmla="*/ 216043 w 279185"/>
                <a:gd name="connsiteY60" fmla="*/ 335081 h 388466"/>
                <a:gd name="connsiteX61" fmla="*/ 223560 w 279185"/>
                <a:gd name="connsiteY61" fmla="*/ 329869 h 388466"/>
                <a:gd name="connsiteX62" fmla="*/ 239745 w 279185"/>
                <a:gd name="connsiteY62" fmla="*/ 328216 h 388466"/>
                <a:gd name="connsiteX63" fmla="*/ 239745 w 279185"/>
                <a:gd name="connsiteY63" fmla="*/ 328216 h 388466"/>
                <a:gd name="connsiteX64" fmla="*/ 256181 w 279185"/>
                <a:gd name="connsiteY64" fmla="*/ 325259 h 388466"/>
                <a:gd name="connsiteX65" fmla="*/ 269911 w 279185"/>
                <a:gd name="connsiteY65" fmla="*/ 315538 h 388466"/>
                <a:gd name="connsiteX66" fmla="*/ 279032 w 279185"/>
                <a:gd name="connsiteY66" fmla="*/ 309124 h 388466"/>
                <a:gd name="connsiteX67" fmla="*/ 252624 w 279185"/>
                <a:gd name="connsiteY67" fmla="*/ 223736 h 388466"/>
                <a:gd name="connsiteX68" fmla="*/ 238843 w 279185"/>
                <a:gd name="connsiteY68" fmla="*/ 154935 h 388466"/>
                <a:gd name="connsiteX69" fmla="*/ 232279 w 279185"/>
                <a:gd name="connsiteY69" fmla="*/ 123917 h 388466"/>
                <a:gd name="connsiteX70" fmla="*/ 205370 w 279185"/>
                <a:gd name="connsiteY70" fmla="*/ 76112 h 388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279185" h="388466">
                  <a:moveTo>
                    <a:pt x="205320" y="76162"/>
                  </a:moveTo>
                  <a:cubicBezTo>
                    <a:pt x="204718" y="74608"/>
                    <a:pt x="203616" y="73155"/>
                    <a:pt x="202313" y="71401"/>
                  </a:cubicBezTo>
                  <a:cubicBezTo>
                    <a:pt x="201862" y="70800"/>
                    <a:pt x="201361" y="70149"/>
                    <a:pt x="200860" y="69497"/>
                  </a:cubicBezTo>
                  <a:cubicBezTo>
                    <a:pt x="196701" y="68896"/>
                    <a:pt x="192391" y="68495"/>
                    <a:pt x="188182" y="68144"/>
                  </a:cubicBezTo>
                  <a:cubicBezTo>
                    <a:pt x="174001" y="66891"/>
                    <a:pt x="159319" y="65589"/>
                    <a:pt x="146591" y="55717"/>
                  </a:cubicBezTo>
                  <a:lnTo>
                    <a:pt x="145638" y="54965"/>
                  </a:lnTo>
                  <a:lnTo>
                    <a:pt x="144787" y="42538"/>
                  </a:lnTo>
                  <a:lnTo>
                    <a:pt x="127098" y="49353"/>
                  </a:lnTo>
                  <a:lnTo>
                    <a:pt x="126045" y="47098"/>
                  </a:lnTo>
                  <a:cubicBezTo>
                    <a:pt x="117226" y="28457"/>
                    <a:pt x="104799" y="13073"/>
                    <a:pt x="88112" y="45"/>
                  </a:cubicBezTo>
                  <a:cubicBezTo>
                    <a:pt x="87811" y="-56"/>
                    <a:pt x="86458" y="45"/>
                    <a:pt x="85707" y="45"/>
                  </a:cubicBezTo>
                  <a:cubicBezTo>
                    <a:pt x="85506" y="45"/>
                    <a:pt x="85306" y="45"/>
                    <a:pt x="85105" y="45"/>
                  </a:cubicBezTo>
                  <a:lnTo>
                    <a:pt x="71526" y="21442"/>
                  </a:lnTo>
                  <a:lnTo>
                    <a:pt x="41359" y="8363"/>
                  </a:lnTo>
                  <a:cubicBezTo>
                    <a:pt x="29082" y="24799"/>
                    <a:pt x="26376" y="35973"/>
                    <a:pt x="30135" y="53462"/>
                  </a:cubicBezTo>
                  <a:cubicBezTo>
                    <a:pt x="31788" y="61079"/>
                    <a:pt x="32540" y="68796"/>
                    <a:pt x="33041" y="74659"/>
                  </a:cubicBezTo>
                  <a:cubicBezTo>
                    <a:pt x="33542" y="80521"/>
                    <a:pt x="33743" y="86434"/>
                    <a:pt x="33993" y="92648"/>
                  </a:cubicBezTo>
                  <a:cubicBezTo>
                    <a:pt x="34093" y="95404"/>
                    <a:pt x="34194" y="98260"/>
                    <a:pt x="34344" y="101217"/>
                  </a:cubicBezTo>
                  <a:lnTo>
                    <a:pt x="34344" y="101868"/>
                  </a:lnTo>
                  <a:cubicBezTo>
                    <a:pt x="34344" y="101868"/>
                    <a:pt x="34093" y="102470"/>
                    <a:pt x="34093" y="102470"/>
                  </a:cubicBezTo>
                  <a:cubicBezTo>
                    <a:pt x="28531" y="114546"/>
                    <a:pt x="18960" y="124518"/>
                    <a:pt x="6483" y="131333"/>
                  </a:cubicBezTo>
                  <a:cubicBezTo>
                    <a:pt x="-633" y="135242"/>
                    <a:pt x="-1134" y="144161"/>
                    <a:pt x="1371" y="150876"/>
                  </a:cubicBezTo>
                  <a:cubicBezTo>
                    <a:pt x="1873" y="152229"/>
                    <a:pt x="2724" y="153532"/>
                    <a:pt x="3626" y="154885"/>
                  </a:cubicBezTo>
                  <a:cubicBezTo>
                    <a:pt x="3977" y="155436"/>
                    <a:pt x="4328" y="155987"/>
                    <a:pt x="4679" y="156538"/>
                  </a:cubicBezTo>
                  <a:cubicBezTo>
                    <a:pt x="10391" y="165909"/>
                    <a:pt x="16154" y="175279"/>
                    <a:pt x="22017" y="184801"/>
                  </a:cubicBezTo>
                  <a:lnTo>
                    <a:pt x="25424" y="190313"/>
                  </a:lnTo>
                  <a:cubicBezTo>
                    <a:pt x="27228" y="191315"/>
                    <a:pt x="29082" y="192317"/>
                    <a:pt x="30987" y="193369"/>
                  </a:cubicBezTo>
                  <a:cubicBezTo>
                    <a:pt x="36248" y="196176"/>
                    <a:pt x="41660" y="199082"/>
                    <a:pt x="46571" y="202890"/>
                  </a:cubicBezTo>
                  <a:cubicBezTo>
                    <a:pt x="50179" y="205646"/>
                    <a:pt x="51782" y="210557"/>
                    <a:pt x="50680" y="215668"/>
                  </a:cubicBezTo>
                  <a:cubicBezTo>
                    <a:pt x="49477" y="221130"/>
                    <a:pt x="45669" y="225390"/>
                    <a:pt x="40858" y="226492"/>
                  </a:cubicBezTo>
                  <a:cubicBezTo>
                    <a:pt x="37701" y="227244"/>
                    <a:pt x="34444" y="227394"/>
                    <a:pt x="31337" y="227494"/>
                  </a:cubicBezTo>
                  <a:cubicBezTo>
                    <a:pt x="29684" y="227544"/>
                    <a:pt x="28080" y="227645"/>
                    <a:pt x="26477" y="227795"/>
                  </a:cubicBezTo>
                  <a:cubicBezTo>
                    <a:pt x="22718" y="228146"/>
                    <a:pt x="21015" y="228447"/>
                    <a:pt x="20263" y="230200"/>
                  </a:cubicBezTo>
                  <a:cubicBezTo>
                    <a:pt x="21816" y="232255"/>
                    <a:pt x="23320" y="234259"/>
                    <a:pt x="24823" y="236264"/>
                  </a:cubicBezTo>
                  <a:lnTo>
                    <a:pt x="25825" y="237616"/>
                  </a:lnTo>
                  <a:lnTo>
                    <a:pt x="15803" y="257360"/>
                  </a:lnTo>
                  <a:lnTo>
                    <a:pt x="22267" y="259615"/>
                  </a:lnTo>
                  <a:cubicBezTo>
                    <a:pt x="28080" y="261619"/>
                    <a:pt x="33342" y="263473"/>
                    <a:pt x="38703" y="265277"/>
                  </a:cubicBezTo>
                  <a:cubicBezTo>
                    <a:pt x="48575" y="268584"/>
                    <a:pt x="54288" y="274448"/>
                    <a:pt x="56192" y="283267"/>
                  </a:cubicBezTo>
                  <a:cubicBezTo>
                    <a:pt x="59700" y="299252"/>
                    <a:pt x="72428" y="303962"/>
                    <a:pt x="82450" y="305065"/>
                  </a:cubicBezTo>
                  <a:cubicBezTo>
                    <a:pt x="94225" y="306368"/>
                    <a:pt x="103496" y="311128"/>
                    <a:pt x="112466" y="320398"/>
                  </a:cubicBezTo>
                  <a:cubicBezTo>
                    <a:pt x="116775" y="324858"/>
                    <a:pt x="121686" y="328717"/>
                    <a:pt x="126897" y="332826"/>
                  </a:cubicBezTo>
                  <a:cubicBezTo>
                    <a:pt x="129202" y="334680"/>
                    <a:pt x="131557" y="336534"/>
                    <a:pt x="133863" y="338438"/>
                  </a:cubicBezTo>
                  <a:lnTo>
                    <a:pt x="135366" y="339691"/>
                  </a:lnTo>
                  <a:lnTo>
                    <a:pt x="129252" y="354975"/>
                  </a:lnTo>
                  <a:cubicBezTo>
                    <a:pt x="136568" y="359685"/>
                    <a:pt x="139224" y="367101"/>
                    <a:pt x="141830" y="374317"/>
                  </a:cubicBezTo>
                  <a:cubicBezTo>
                    <a:pt x="143133" y="377875"/>
                    <a:pt x="144436" y="381533"/>
                    <a:pt x="146340" y="384840"/>
                  </a:cubicBezTo>
                  <a:lnTo>
                    <a:pt x="174702" y="371110"/>
                  </a:lnTo>
                  <a:lnTo>
                    <a:pt x="178360" y="376522"/>
                  </a:lnTo>
                  <a:cubicBezTo>
                    <a:pt x="180064" y="378977"/>
                    <a:pt x="181567" y="381182"/>
                    <a:pt x="183021" y="383487"/>
                  </a:cubicBezTo>
                  <a:cubicBezTo>
                    <a:pt x="184023" y="385041"/>
                    <a:pt x="187581" y="390001"/>
                    <a:pt x="190888" y="387997"/>
                  </a:cubicBezTo>
                  <a:cubicBezTo>
                    <a:pt x="192942" y="386744"/>
                    <a:pt x="194947" y="382334"/>
                    <a:pt x="195448" y="378176"/>
                  </a:cubicBezTo>
                  <a:cubicBezTo>
                    <a:pt x="195648" y="376171"/>
                    <a:pt x="193694" y="373014"/>
                    <a:pt x="192141" y="370509"/>
                  </a:cubicBezTo>
                  <a:lnTo>
                    <a:pt x="191640" y="369657"/>
                  </a:lnTo>
                  <a:cubicBezTo>
                    <a:pt x="191189" y="368955"/>
                    <a:pt x="190287" y="368304"/>
                    <a:pt x="189284" y="367602"/>
                  </a:cubicBezTo>
                  <a:cubicBezTo>
                    <a:pt x="186629" y="365698"/>
                    <a:pt x="182620" y="362892"/>
                    <a:pt x="184073" y="355927"/>
                  </a:cubicBezTo>
                  <a:lnTo>
                    <a:pt x="184474" y="354022"/>
                  </a:lnTo>
                  <a:lnTo>
                    <a:pt x="212285" y="351316"/>
                  </a:lnTo>
                  <a:lnTo>
                    <a:pt x="210230" y="339140"/>
                  </a:lnTo>
                  <a:lnTo>
                    <a:pt x="211633" y="338187"/>
                  </a:lnTo>
                  <a:cubicBezTo>
                    <a:pt x="213137" y="337135"/>
                    <a:pt x="214590" y="336083"/>
                    <a:pt x="216043" y="335081"/>
                  </a:cubicBezTo>
                  <a:cubicBezTo>
                    <a:pt x="218599" y="333277"/>
                    <a:pt x="221004" y="331523"/>
                    <a:pt x="223560" y="329869"/>
                  </a:cubicBezTo>
                  <a:cubicBezTo>
                    <a:pt x="229673" y="325910"/>
                    <a:pt x="235085" y="325359"/>
                    <a:pt x="239745" y="328216"/>
                  </a:cubicBezTo>
                  <a:lnTo>
                    <a:pt x="239745" y="328216"/>
                  </a:lnTo>
                  <a:cubicBezTo>
                    <a:pt x="245859" y="332024"/>
                    <a:pt x="250419" y="329368"/>
                    <a:pt x="256181" y="325259"/>
                  </a:cubicBezTo>
                  <a:cubicBezTo>
                    <a:pt x="260791" y="322002"/>
                    <a:pt x="265452" y="318695"/>
                    <a:pt x="269911" y="315538"/>
                  </a:cubicBezTo>
                  <a:lnTo>
                    <a:pt x="279032" y="309124"/>
                  </a:lnTo>
                  <a:cubicBezTo>
                    <a:pt x="280435" y="281112"/>
                    <a:pt x="272267" y="254704"/>
                    <a:pt x="252624" y="223736"/>
                  </a:cubicBezTo>
                  <a:cubicBezTo>
                    <a:pt x="236588" y="198480"/>
                    <a:pt x="232479" y="177935"/>
                    <a:pt x="238843" y="154935"/>
                  </a:cubicBezTo>
                  <a:cubicBezTo>
                    <a:pt x="241900" y="143861"/>
                    <a:pt x="239645" y="133187"/>
                    <a:pt x="232279" y="123917"/>
                  </a:cubicBezTo>
                  <a:cubicBezTo>
                    <a:pt x="221405" y="110287"/>
                    <a:pt x="212586" y="94652"/>
                    <a:pt x="205370" y="7611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41" name="Полилиния: фигура 140">
              <a:extLst>
                <a:ext uri="{FF2B5EF4-FFF2-40B4-BE49-F238E27FC236}">
                  <a16:creationId xmlns:a16="http://schemas.microsoft.com/office/drawing/2014/main" id="{4B99CD81-02CC-4294-8594-BB7B5EF758E3}"/>
                </a:ext>
              </a:extLst>
            </p:cNvPr>
            <p:cNvSpPr/>
            <p:nvPr/>
          </p:nvSpPr>
          <p:spPr>
            <a:xfrm>
              <a:off x="1486851" y="2279144"/>
              <a:ext cx="470534" cy="366438"/>
            </a:xfrm>
            <a:custGeom>
              <a:avLst/>
              <a:gdLst>
                <a:gd name="connsiteX0" fmla="*/ 49327 w 377296"/>
                <a:gd name="connsiteY0" fmla="*/ 106452 h 293827"/>
                <a:gd name="connsiteX1" fmla="*/ 32691 w 377296"/>
                <a:gd name="connsiteY1" fmla="*/ 121936 h 293827"/>
                <a:gd name="connsiteX2" fmla="*/ 23320 w 377296"/>
                <a:gd name="connsiteY2" fmla="*/ 125844 h 293827"/>
                <a:gd name="connsiteX3" fmla="*/ 21817 w 377296"/>
                <a:gd name="connsiteY3" fmla="*/ 126496 h 293827"/>
                <a:gd name="connsiteX4" fmla="*/ 17357 w 377296"/>
                <a:gd name="connsiteY4" fmla="*/ 134313 h 293827"/>
                <a:gd name="connsiteX5" fmla="*/ 7185 w 377296"/>
                <a:gd name="connsiteY5" fmla="*/ 151200 h 293827"/>
                <a:gd name="connsiteX6" fmla="*/ 6283 w 377296"/>
                <a:gd name="connsiteY6" fmla="*/ 184573 h 293827"/>
                <a:gd name="connsiteX7" fmla="*/ 26778 w 377296"/>
                <a:gd name="connsiteY7" fmla="*/ 201010 h 293827"/>
                <a:gd name="connsiteX8" fmla="*/ 38153 w 377296"/>
                <a:gd name="connsiteY8" fmla="*/ 205269 h 293827"/>
                <a:gd name="connsiteX9" fmla="*/ 91570 w 377296"/>
                <a:gd name="connsiteY9" fmla="*/ 221204 h 293827"/>
                <a:gd name="connsiteX10" fmla="*/ 152604 w 377296"/>
                <a:gd name="connsiteY10" fmla="*/ 243803 h 293827"/>
                <a:gd name="connsiteX11" fmla="*/ 161574 w 377296"/>
                <a:gd name="connsiteY11" fmla="*/ 241198 h 293827"/>
                <a:gd name="connsiteX12" fmla="*/ 221856 w 377296"/>
                <a:gd name="connsiteY12" fmla="*/ 208827 h 293827"/>
                <a:gd name="connsiteX13" fmla="*/ 223310 w 377296"/>
                <a:gd name="connsiteY13" fmla="*/ 206972 h 293827"/>
                <a:gd name="connsiteX14" fmla="*/ 225314 w 377296"/>
                <a:gd name="connsiteY14" fmla="*/ 208175 h 293827"/>
                <a:gd name="connsiteX15" fmla="*/ 235035 w 377296"/>
                <a:gd name="connsiteY15" fmla="*/ 213737 h 293827"/>
                <a:gd name="connsiteX16" fmla="*/ 260892 w 377296"/>
                <a:gd name="connsiteY16" fmla="*/ 234734 h 293827"/>
                <a:gd name="connsiteX17" fmla="*/ 288453 w 377296"/>
                <a:gd name="connsiteY17" fmla="*/ 260540 h 293827"/>
                <a:gd name="connsiteX18" fmla="*/ 296520 w 377296"/>
                <a:gd name="connsiteY18" fmla="*/ 266102 h 293827"/>
                <a:gd name="connsiteX19" fmla="*/ 313057 w 377296"/>
                <a:gd name="connsiteY19" fmla="*/ 267606 h 293827"/>
                <a:gd name="connsiteX20" fmla="*/ 323229 w 377296"/>
                <a:gd name="connsiteY20" fmla="*/ 264499 h 293827"/>
                <a:gd name="connsiteX21" fmla="*/ 335907 w 377296"/>
                <a:gd name="connsiteY21" fmla="*/ 267756 h 293827"/>
                <a:gd name="connsiteX22" fmla="*/ 356552 w 377296"/>
                <a:gd name="connsiteY22" fmla="*/ 285345 h 293827"/>
                <a:gd name="connsiteX23" fmla="*/ 376296 w 377296"/>
                <a:gd name="connsiteY23" fmla="*/ 293663 h 293827"/>
                <a:gd name="connsiteX24" fmla="*/ 376546 w 377296"/>
                <a:gd name="connsiteY24" fmla="*/ 290807 h 293827"/>
                <a:gd name="connsiteX25" fmla="*/ 377248 w 377296"/>
                <a:gd name="connsiteY25" fmla="*/ 281136 h 293827"/>
                <a:gd name="connsiteX26" fmla="*/ 377047 w 377296"/>
                <a:gd name="connsiteY26" fmla="*/ 262394 h 293827"/>
                <a:gd name="connsiteX27" fmla="*/ 368529 w 377296"/>
                <a:gd name="connsiteY27" fmla="*/ 249767 h 293827"/>
                <a:gd name="connsiteX28" fmla="*/ 350840 w 377296"/>
                <a:gd name="connsiteY28" fmla="*/ 208225 h 293827"/>
                <a:gd name="connsiteX29" fmla="*/ 351692 w 377296"/>
                <a:gd name="connsiteY29" fmla="*/ 205319 h 293827"/>
                <a:gd name="connsiteX30" fmla="*/ 345628 w 377296"/>
                <a:gd name="connsiteY30" fmla="*/ 168989 h 293827"/>
                <a:gd name="connsiteX31" fmla="*/ 344626 w 377296"/>
                <a:gd name="connsiteY31" fmla="*/ 167636 h 293827"/>
                <a:gd name="connsiteX32" fmla="*/ 332449 w 377296"/>
                <a:gd name="connsiteY32" fmla="*/ 142531 h 293827"/>
                <a:gd name="connsiteX33" fmla="*/ 312906 w 377296"/>
                <a:gd name="connsiteY33" fmla="*/ 93623 h 293827"/>
                <a:gd name="connsiteX34" fmla="*/ 311203 w 377296"/>
                <a:gd name="connsiteY34" fmla="*/ 89765 h 293827"/>
                <a:gd name="connsiteX35" fmla="*/ 310852 w 377296"/>
                <a:gd name="connsiteY35" fmla="*/ 88462 h 293827"/>
                <a:gd name="connsiteX36" fmla="*/ 300379 w 377296"/>
                <a:gd name="connsiteY36" fmla="*/ 81196 h 293827"/>
                <a:gd name="connsiteX37" fmla="*/ 292862 w 377296"/>
                <a:gd name="connsiteY37" fmla="*/ 80996 h 293827"/>
                <a:gd name="connsiteX38" fmla="*/ 281337 w 377296"/>
                <a:gd name="connsiteY38" fmla="*/ 80444 h 293827"/>
                <a:gd name="connsiteX39" fmla="*/ 271766 w 377296"/>
                <a:gd name="connsiteY39" fmla="*/ 78039 h 293827"/>
                <a:gd name="connsiteX40" fmla="*/ 267106 w 377296"/>
                <a:gd name="connsiteY40" fmla="*/ 76636 h 293827"/>
                <a:gd name="connsiteX41" fmla="*/ 265101 w 377296"/>
                <a:gd name="connsiteY41" fmla="*/ 76085 h 293827"/>
                <a:gd name="connsiteX42" fmla="*/ 265202 w 377296"/>
                <a:gd name="connsiteY42" fmla="*/ 70523 h 293827"/>
                <a:gd name="connsiteX43" fmla="*/ 243754 w 377296"/>
                <a:gd name="connsiteY43" fmla="*/ 21615 h 293827"/>
                <a:gd name="connsiteX44" fmla="*/ 238242 w 377296"/>
                <a:gd name="connsiteY44" fmla="*/ 24121 h 293827"/>
                <a:gd name="connsiteX45" fmla="*/ 224312 w 377296"/>
                <a:gd name="connsiteY45" fmla="*/ 30485 h 293827"/>
                <a:gd name="connsiteX46" fmla="*/ 206021 w 377296"/>
                <a:gd name="connsiteY46" fmla="*/ 30234 h 293827"/>
                <a:gd name="connsiteX47" fmla="*/ 202764 w 377296"/>
                <a:gd name="connsiteY47" fmla="*/ 28581 h 293827"/>
                <a:gd name="connsiteX48" fmla="*/ 193243 w 377296"/>
                <a:gd name="connsiteY48" fmla="*/ 22167 h 293827"/>
                <a:gd name="connsiteX49" fmla="*/ 168188 w 377296"/>
                <a:gd name="connsiteY49" fmla="*/ 17105 h 293827"/>
                <a:gd name="connsiteX50" fmla="*/ 156212 w 377296"/>
                <a:gd name="connsiteY50" fmla="*/ 21315 h 293827"/>
                <a:gd name="connsiteX51" fmla="*/ 151201 w 377296"/>
                <a:gd name="connsiteY51" fmla="*/ 23219 h 293827"/>
                <a:gd name="connsiteX52" fmla="*/ 149648 w 377296"/>
                <a:gd name="connsiteY52" fmla="*/ 23820 h 293827"/>
                <a:gd name="connsiteX53" fmla="*/ 148445 w 377296"/>
                <a:gd name="connsiteY53" fmla="*/ 22668 h 293827"/>
                <a:gd name="connsiteX54" fmla="*/ 146090 w 377296"/>
                <a:gd name="connsiteY54" fmla="*/ 20513 h 293827"/>
                <a:gd name="connsiteX55" fmla="*/ 142432 w 377296"/>
                <a:gd name="connsiteY55" fmla="*/ 16855 h 293827"/>
                <a:gd name="connsiteX56" fmla="*/ 138022 w 377296"/>
                <a:gd name="connsiteY56" fmla="*/ 11092 h 293827"/>
                <a:gd name="connsiteX57" fmla="*/ 129453 w 377296"/>
                <a:gd name="connsiteY57" fmla="*/ 1321 h 293827"/>
                <a:gd name="connsiteX58" fmla="*/ 118780 w 377296"/>
                <a:gd name="connsiteY58" fmla="*/ 2223 h 293827"/>
                <a:gd name="connsiteX59" fmla="*/ 111464 w 377296"/>
                <a:gd name="connsiteY59" fmla="*/ 4778 h 293827"/>
                <a:gd name="connsiteX60" fmla="*/ 106854 w 377296"/>
                <a:gd name="connsiteY60" fmla="*/ 5279 h 293827"/>
                <a:gd name="connsiteX61" fmla="*/ 100089 w 377296"/>
                <a:gd name="connsiteY61" fmla="*/ 6282 h 293827"/>
                <a:gd name="connsiteX62" fmla="*/ 57094 w 377296"/>
                <a:gd name="connsiteY62" fmla="*/ 24271 h 293827"/>
                <a:gd name="connsiteX63" fmla="*/ 64661 w 377296"/>
                <a:gd name="connsiteY63" fmla="*/ 65111 h 293827"/>
                <a:gd name="connsiteX64" fmla="*/ 69772 w 377296"/>
                <a:gd name="connsiteY64" fmla="*/ 84103 h 293827"/>
                <a:gd name="connsiteX65" fmla="*/ 70073 w 377296"/>
                <a:gd name="connsiteY65" fmla="*/ 85556 h 293827"/>
                <a:gd name="connsiteX66" fmla="*/ 69071 w 377296"/>
                <a:gd name="connsiteY66" fmla="*/ 86608 h 293827"/>
                <a:gd name="connsiteX67" fmla="*/ 65914 w 377296"/>
                <a:gd name="connsiteY67" fmla="*/ 90066 h 293827"/>
                <a:gd name="connsiteX68" fmla="*/ 57295 w 377296"/>
                <a:gd name="connsiteY68" fmla="*/ 98133 h 293827"/>
                <a:gd name="connsiteX69" fmla="*/ 49277 w 377296"/>
                <a:gd name="connsiteY69" fmla="*/ 106502 h 293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377296" h="293827">
                  <a:moveTo>
                    <a:pt x="49327" y="106452"/>
                  </a:moveTo>
                  <a:cubicBezTo>
                    <a:pt x="46972" y="116524"/>
                    <a:pt x="38704" y="119631"/>
                    <a:pt x="32691" y="121936"/>
                  </a:cubicBezTo>
                  <a:cubicBezTo>
                    <a:pt x="29333" y="123188"/>
                    <a:pt x="26076" y="124642"/>
                    <a:pt x="23320" y="125844"/>
                  </a:cubicBezTo>
                  <a:lnTo>
                    <a:pt x="21817" y="126496"/>
                  </a:lnTo>
                  <a:cubicBezTo>
                    <a:pt x="20263" y="129202"/>
                    <a:pt x="18810" y="131807"/>
                    <a:pt x="17357" y="134313"/>
                  </a:cubicBezTo>
                  <a:cubicBezTo>
                    <a:pt x="14000" y="140276"/>
                    <a:pt x="10843" y="145888"/>
                    <a:pt x="7185" y="151200"/>
                  </a:cubicBezTo>
                  <a:cubicBezTo>
                    <a:pt x="-2136" y="164680"/>
                    <a:pt x="-2336" y="171845"/>
                    <a:pt x="6283" y="184573"/>
                  </a:cubicBezTo>
                  <a:cubicBezTo>
                    <a:pt x="11594" y="192441"/>
                    <a:pt x="18510" y="197953"/>
                    <a:pt x="26778" y="201010"/>
                  </a:cubicBezTo>
                  <a:cubicBezTo>
                    <a:pt x="30586" y="202413"/>
                    <a:pt x="34344" y="203816"/>
                    <a:pt x="38153" y="205269"/>
                  </a:cubicBezTo>
                  <a:cubicBezTo>
                    <a:pt x="55340" y="211783"/>
                    <a:pt x="73079" y="218498"/>
                    <a:pt x="91570" y="221204"/>
                  </a:cubicBezTo>
                  <a:cubicBezTo>
                    <a:pt x="112616" y="224261"/>
                    <a:pt x="134615" y="228570"/>
                    <a:pt x="152604" y="243803"/>
                  </a:cubicBezTo>
                  <a:cubicBezTo>
                    <a:pt x="155611" y="242901"/>
                    <a:pt x="158567" y="242050"/>
                    <a:pt x="161574" y="241198"/>
                  </a:cubicBezTo>
                  <a:cubicBezTo>
                    <a:pt x="184474" y="234683"/>
                    <a:pt x="206072" y="228520"/>
                    <a:pt x="221856" y="208827"/>
                  </a:cubicBezTo>
                  <a:lnTo>
                    <a:pt x="223310" y="206972"/>
                  </a:lnTo>
                  <a:lnTo>
                    <a:pt x="225314" y="208175"/>
                  </a:lnTo>
                  <a:cubicBezTo>
                    <a:pt x="228621" y="210180"/>
                    <a:pt x="231878" y="211983"/>
                    <a:pt x="235035" y="213737"/>
                  </a:cubicBezTo>
                  <a:cubicBezTo>
                    <a:pt x="245508" y="219500"/>
                    <a:pt x="255380" y="225012"/>
                    <a:pt x="260892" y="234734"/>
                  </a:cubicBezTo>
                  <a:cubicBezTo>
                    <a:pt x="267557" y="246409"/>
                    <a:pt x="277729" y="253274"/>
                    <a:pt x="288453" y="260540"/>
                  </a:cubicBezTo>
                  <a:cubicBezTo>
                    <a:pt x="291159" y="262394"/>
                    <a:pt x="293865" y="264198"/>
                    <a:pt x="296520" y="266102"/>
                  </a:cubicBezTo>
                  <a:cubicBezTo>
                    <a:pt x="302934" y="270713"/>
                    <a:pt x="307745" y="271164"/>
                    <a:pt x="313057" y="267606"/>
                  </a:cubicBezTo>
                  <a:cubicBezTo>
                    <a:pt x="316464" y="265351"/>
                    <a:pt x="319922" y="264499"/>
                    <a:pt x="323229" y="264499"/>
                  </a:cubicBezTo>
                  <a:cubicBezTo>
                    <a:pt x="327839" y="264499"/>
                    <a:pt x="332199" y="266102"/>
                    <a:pt x="335907" y="267756"/>
                  </a:cubicBezTo>
                  <a:cubicBezTo>
                    <a:pt x="343273" y="271114"/>
                    <a:pt x="351491" y="275774"/>
                    <a:pt x="356552" y="285345"/>
                  </a:cubicBezTo>
                  <a:cubicBezTo>
                    <a:pt x="360110" y="292110"/>
                    <a:pt x="365722" y="294515"/>
                    <a:pt x="376296" y="293663"/>
                  </a:cubicBezTo>
                  <a:cubicBezTo>
                    <a:pt x="376396" y="292711"/>
                    <a:pt x="376496" y="291759"/>
                    <a:pt x="376546" y="290807"/>
                  </a:cubicBezTo>
                  <a:cubicBezTo>
                    <a:pt x="376897" y="287249"/>
                    <a:pt x="377198" y="284192"/>
                    <a:pt x="377248" y="281136"/>
                  </a:cubicBezTo>
                  <a:cubicBezTo>
                    <a:pt x="377348" y="275724"/>
                    <a:pt x="377298" y="269911"/>
                    <a:pt x="377047" y="262394"/>
                  </a:cubicBezTo>
                  <a:cubicBezTo>
                    <a:pt x="376847" y="257033"/>
                    <a:pt x="374391" y="253374"/>
                    <a:pt x="368529" y="249767"/>
                  </a:cubicBezTo>
                  <a:cubicBezTo>
                    <a:pt x="349036" y="237790"/>
                    <a:pt x="345879" y="230424"/>
                    <a:pt x="350840" y="208225"/>
                  </a:cubicBezTo>
                  <a:cubicBezTo>
                    <a:pt x="351090" y="207023"/>
                    <a:pt x="351241" y="206171"/>
                    <a:pt x="351692" y="205319"/>
                  </a:cubicBezTo>
                  <a:cubicBezTo>
                    <a:pt x="358958" y="192040"/>
                    <a:pt x="354498" y="181216"/>
                    <a:pt x="345628" y="168989"/>
                  </a:cubicBezTo>
                  <a:lnTo>
                    <a:pt x="344626" y="167636"/>
                  </a:lnTo>
                  <a:cubicBezTo>
                    <a:pt x="339014" y="159969"/>
                    <a:pt x="332650" y="151350"/>
                    <a:pt x="332449" y="142531"/>
                  </a:cubicBezTo>
                  <a:cubicBezTo>
                    <a:pt x="331998" y="123188"/>
                    <a:pt x="325785" y="107654"/>
                    <a:pt x="312906" y="93623"/>
                  </a:cubicBezTo>
                  <a:cubicBezTo>
                    <a:pt x="311804" y="92421"/>
                    <a:pt x="311503" y="90968"/>
                    <a:pt x="311203" y="89765"/>
                  </a:cubicBezTo>
                  <a:cubicBezTo>
                    <a:pt x="311102" y="89314"/>
                    <a:pt x="311002" y="88863"/>
                    <a:pt x="310852" y="88462"/>
                  </a:cubicBezTo>
                  <a:cubicBezTo>
                    <a:pt x="308847" y="83852"/>
                    <a:pt x="305440" y="81447"/>
                    <a:pt x="300379" y="81196"/>
                  </a:cubicBezTo>
                  <a:cubicBezTo>
                    <a:pt x="297873" y="81046"/>
                    <a:pt x="295368" y="80996"/>
                    <a:pt x="292862" y="80996"/>
                  </a:cubicBezTo>
                  <a:cubicBezTo>
                    <a:pt x="289104" y="80996"/>
                    <a:pt x="285195" y="80896"/>
                    <a:pt x="281337" y="80444"/>
                  </a:cubicBezTo>
                  <a:cubicBezTo>
                    <a:pt x="278080" y="80044"/>
                    <a:pt x="275023" y="79092"/>
                    <a:pt x="271766" y="78039"/>
                  </a:cubicBezTo>
                  <a:cubicBezTo>
                    <a:pt x="270313" y="77588"/>
                    <a:pt x="268759" y="77087"/>
                    <a:pt x="267106" y="76636"/>
                  </a:cubicBezTo>
                  <a:lnTo>
                    <a:pt x="265101" y="76085"/>
                  </a:lnTo>
                  <a:lnTo>
                    <a:pt x="265202" y="70523"/>
                  </a:lnTo>
                  <a:cubicBezTo>
                    <a:pt x="265502" y="50378"/>
                    <a:pt x="265803" y="31337"/>
                    <a:pt x="243754" y="21615"/>
                  </a:cubicBezTo>
                  <a:lnTo>
                    <a:pt x="238242" y="24121"/>
                  </a:lnTo>
                  <a:cubicBezTo>
                    <a:pt x="233732" y="26175"/>
                    <a:pt x="229022" y="28280"/>
                    <a:pt x="224312" y="30485"/>
                  </a:cubicBezTo>
                  <a:cubicBezTo>
                    <a:pt x="217948" y="33491"/>
                    <a:pt x="211784" y="33391"/>
                    <a:pt x="206021" y="30234"/>
                  </a:cubicBezTo>
                  <a:cubicBezTo>
                    <a:pt x="204969" y="29683"/>
                    <a:pt x="203867" y="29132"/>
                    <a:pt x="202764" y="28581"/>
                  </a:cubicBezTo>
                  <a:cubicBezTo>
                    <a:pt x="199307" y="26927"/>
                    <a:pt x="195699" y="25173"/>
                    <a:pt x="193243" y="22167"/>
                  </a:cubicBezTo>
                  <a:cubicBezTo>
                    <a:pt x="186579" y="13948"/>
                    <a:pt x="178712" y="14149"/>
                    <a:pt x="168188" y="17105"/>
                  </a:cubicBezTo>
                  <a:cubicBezTo>
                    <a:pt x="164129" y="18258"/>
                    <a:pt x="160121" y="19811"/>
                    <a:pt x="156212" y="21315"/>
                  </a:cubicBezTo>
                  <a:cubicBezTo>
                    <a:pt x="154508" y="21966"/>
                    <a:pt x="152855" y="22618"/>
                    <a:pt x="151201" y="23219"/>
                  </a:cubicBezTo>
                  <a:lnTo>
                    <a:pt x="149648" y="23820"/>
                  </a:lnTo>
                  <a:lnTo>
                    <a:pt x="148445" y="22668"/>
                  </a:lnTo>
                  <a:cubicBezTo>
                    <a:pt x="147593" y="21866"/>
                    <a:pt x="146791" y="21164"/>
                    <a:pt x="146090" y="20513"/>
                  </a:cubicBezTo>
                  <a:cubicBezTo>
                    <a:pt x="144687" y="19260"/>
                    <a:pt x="143484" y="18158"/>
                    <a:pt x="142432" y="16855"/>
                  </a:cubicBezTo>
                  <a:cubicBezTo>
                    <a:pt x="140929" y="15051"/>
                    <a:pt x="139475" y="13046"/>
                    <a:pt x="138022" y="11092"/>
                  </a:cubicBezTo>
                  <a:cubicBezTo>
                    <a:pt x="135316" y="7334"/>
                    <a:pt x="132761" y="3776"/>
                    <a:pt x="129453" y="1321"/>
                  </a:cubicBezTo>
                  <a:cubicBezTo>
                    <a:pt x="126397" y="-1034"/>
                    <a:pt x="123540" y="68"/>
                    <a:pt x="118780" y="2223"/>
                  </a:cubicBezTo>
                  <a:cubicBezTo>
                    <a:pt x="116475" y="3275"/>
                    <a:pt x="114019" y="4377"/>
                    <a:pt x="111464" y="4778"/>
                  </a:cubicBezTo>
                  <a:cubicBezTo>
                    <a:pt x="109910" y="5029"/>
                    <a:pt x="108407" y="5179"/>
                    <a:pt x="106854" y="5279"/>
                  </a:cubicBezTo>
                  <a:cubicBezTo>
                    <a:pt x="104448" y="5480"/>
                    <a:pt x="102193" y="5680"/>
                    <a:pt x="100089" y="6282"/>
                  </a:cubicBezTo>
                  <a:cubicBezTo>
                    <a:pt x="83202" y="10892"/>
                    <a:pt x="69271" y="15151"/>
                    <a:pt x="57094" y="24271"/>
                  </a:cubicBezTo>
                  <a:cubicBezTo>
                    <a:pt x="56894" y="38502"/>
                    <a:pt x="60702" y="51431"/>
                    <a:pt x="64661" y="65111"/>
                  </a:cubicBezTo>
                  <a:cubicBezTo>
                    <a:pt x="66465" y="71274"/>
                    <a:pt x="68319" y="77588"/>
                    <a:pt x="69772" y="84103"/>
                  </a:cubicBezTo>
                  <a:lnTo>
                    <a:pt x="70073" y="85556"/>
                  </a:lnTo>
                  <a:lnTo>
                    <a:pt x="69071" y="86608"/>
                  </a:lnTo>
                  <a:cubicBezTo>
                    <a:pt x="68018" y="87710"/>
                    <a:pt x="66966" y="88863"/>
                    <a:pt x="65914" y="90066"/>
                  </a:cubicBezTo>
                  <a:cubicBezTo>
                    <a:pt x="63358" y="92972"/>
                    <a:pt x="60702" y="96029"/>
                    <a:pt x="57295" y="98133"/>
                  </a:cubicBezTo>
                  <a:cubicBezTo>
                    <a:pt x="53136" y="100689"/>
                    <a:pt x="50129" y="102794"/>
                    <a:pt x="49277" y="10650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42" name="Полилиния: фигура 141">
              <a:extLst>
                <a:ext uri="{FF2B5EF4-FFF2-40B4-BE49-F238E27FC236}">
                  <a16:creationId xmlns:a16="http://schemas.microsoft.com/office/drawing/2014/main" id="{1E7E4EF5-FE95-44BF-806C-EF7F1A27D815}"/>
                </a:ext>
              </a:extLst>
            </p:cNvPr>
            <p:cNvSpPr/>
            <p:nvPr/>
          </p:nvSpPr>
          <p:spPr>
            <a:xfrm>
              <a:off x="1239338" y="2115372"/>
              <a:ext cx="351587" cy="533756"/>
            </a:xfrm>
            <a:custGeom>
              <a:avLst/>
              <a:gdLst>
                <a:gd name="connsiteX0" fmla="*/ 11425 w 281919"/>
                <a:gd name="connsiteY0" fmla="*/ 254108 h 427990"/>
                <a:gd name="connsiteX1" fmla="*/ 15484 w 281919"/>
                <a:gd name="connsiteY1" fmla="*/ 264882 h 427990"/>
                <a:gd name="connsiteX2" fmla="*/ 21046 w 281919"/>
                <a:gd name="connsiteY2" fmla="*/ 279464 h 427990"/>
                <a:gd name="connsiteX3" fmla="*/ 29264 w 281919"/>
                <a:gd name="connsiteY3" fmla="*/ 292142 h 427990"/>
                <a:gd name="connsiteX4" fmla="*/ 32321 w 281919"/>
                <a:gd name="connsiteY4" fmla="*/ 297404 h 427990"/>
                <a:gd name="connsiteX5" fmla="*/ 32972 w 281919"/>
                <a:gd name="connsiteY5" fmla="*/ 298456 h 427990"/>
                <a:gd name="connsiteX6" fmla="*/ 23702 w 281919"/>
                <a:gd name="connsiteY6" fmla="*/ 327069 h 427990"/>
                <a:gd name="connsiteX7" fmla="*/ 41541 w 281919"/>
                <a:gd name="connsiteY7" fmla="*/ 339947 h 427990"/>
                <a:gd name="connsiteX8" fmla="*/ 49008 w 281919"/>
                <a:gd name="connsiteY8" fmla="*/ 342452 h 427990"/>
                <a:gd name="connsiteX9" fmla="*/ 49910 w 281919"/>
                <a:gd name="connsiteY9" fmla="*/ 342853 h 427990"/>
                <a:gd name="connsiteX10" fmla="*/ 50361 w 281919"/>
                <a:gd name="connsiteY10" fmla="*/ 343755 h 427990"/>
                <a:gd name="connsiteX11" fmla="*/ 71958 w 281919"/>
                <a:gd name="connsiteY11" fmla="*/ 413058 h 427990"/>
                <a:gd name="connsiteX12" fmla="*/ 101373 w 281919"/>
                <a:gd name="connsiteY12" fmla="*/ 427990 h 427990"/>
                <a:gd name="connsiteX13" fmla="*/ 122870 w 281919"/>
                <a:gd name="connsiteY13" fmla="*/ 413108 h 427990"/>
                <a:gd name="connsiteX14" fmla="*/ 132541 w 281919"/>
                <a:gd name="connsiteY14" fmla="*/ 405491 h 427990"/>
                <a:gd name="connsiteX15" fmla="*/ 143165 w 281919"/>
                <a:gd name="connsiteY15" fmla="*/ 387602 h 427990"/>
                <a:gd name="connsiteX16" fmla="*/ 144417 w 281919"/>
                <a:gd name="connsiteY16" fmla="*/ 381488 h 427990"/>
                <a:gd name="connsiteX17" fmla="*/ 145820 w 281919"/>
                <a:gd name="connsiteY17" fmla="*/ 371817 h 427990"/>
                <a:gd name="connsiteX18" fmla="*/ 157596 w 281919"/>
                <a:gd name="connsiteY18" fmla="*/ 339847 h 427990"/>
                <a:gd name="connsiteX19" fmla="*/ 158097 w 281919"/>
                <a:gd name="connsiteY19" fmla="*/ 334034 h 427990"/>
                <a:gd name="connsiteX20" fmla="*/ 157747 w 281919"/>
                <a:gd name="connsiteY20" fmla="*/ 324864 h 427990"/>
                <a:gd name="connsiteX21" fmla="*/ 158047 w 281919"/>
                <a:gd name="connsiteY21" fmla="*/ 324212 h 427990"/>
                <a:gd name="connsiteX22" fmla="*/ 183553 w 281919"/>
                <a:gd name="connsiteY22" fmla="*/ 304870 h 427990"/>
                <a:gd name="connsiteX23" fmla="*/ 196532 w 281919"/>
                <a:gd name="connsiteY23" fmla="*/ 272348 h 427990"/>
                <a:gd name="connsiteX24" fmla="*/ 202345 w 281919"/>
                <a:gd name="connsiteY24" fmla="*/ 261474 h 427990"/>
                <a:gd name="connsiteX25" fmla="*/ 221236 w 281919"/>
                <a:gd name="connsiteY25" fmla="*/ 242082 h 427990"/>
                <a:gd name="connsiteX26" fmla="*/ 232711 w 281919"/>
                <a:gd name="connsiteY26" fmla="*/ 235618 h 427990"/>
                <a:gd name="connsiteX27" fmla="*/ 252705 w 281919"/>
                <a:gd name="connsiteY27" fmla="*/ 213920 h 427990"/>
                <a:gd name="connsiteX28" fmla="*/ 247444 w 281919"/>
                <a:gd name="connsiteY28" fmla="*/ 190519 h 427990"/>
                <a:gd name="connsiteX29" fmla="*/ 242132 w 281919"/>
                <a:gd name="connsiteY29" fmla="*/ 148176 h 427990"/>
                <a:gd name="connsiteX30" fmla="*/ 242282 w 281919"/>
                <a:gd name="connsiteY30" fmla="*/ 147224 h 427990"/>
                <a:gd name="connsiteX31" fmla="*/ 243034 w 281919"/>
                <a:gd name="connsiteY31" fmla="*/ 146572 h 427990"/>
                <a:gd name="connsiteX32" fmla="*/ 263329 w 281919"/>
                <a:gd name="connsiteY32" fmla="*/ 135598 h 427990"/>
                <a:gd name="connsiteX33" fmla="*/ 281919 w 281919"/>
                <a:gd name="connsiteY33" fmla="*/ 125726 h 427990"/>
                <a:gd name="connsiteX34" fmla="*/ 277309 w 281919"/>
                <a:gd name="connsiteY34" fmla="*/ 73010 h 427990"/>
                <a:gd name="connsiteX35" fmla="*/ 273250 w 281919"/>
                <a:gd name="connsiteY35" fmla="*/ 54369 h 427990"/>
                <a:gd name="connsiteX36" fmla="*/ 252505 w 281919"/>
                <a:gd name="connsiteY36" fmla="*/ 7066 h 427990"/>
                <a:gd name="connsiteX37" fmla="*/ 250450 w 281919"/>
                <a:gd name="connsiteY37" fmla="*/ 2606 h 427990"/>
                <a:gd name="connsiteX38" fmla="*/ 248095 w 281919"/>
                <a:gd name="connsiteY38" fmla="*/ 401 h 427990"/>
                <a:gd name="connsiteX39" fmla="*/ 247544 w 281919"/>
                <a:gd name="connsiteY39" fmla="*/ 0 h 427990"/>
                <a:gd name="connsiteX40" fmla="*/ 244638 w 281919"/>
                <a:gd name="connsiteY40" fmla="*/ 3157 h 427990"/>
                <a:gd name="connsiteX41" fmla="*/ 236319 w 281919"/>
                <a:gd name="connsiteY41" fmla="*/ 12177 h 427990"/>
                <a:gd name="connsiteX42" fmla="*/ 189767 w 281919"/>
                <a:gd name="connsiteY42" fmla="*/ 35578 h 427990"/>
                <a:gd name="connsiteX43" fmla="*/ 175586 w 281919"/>
                <a:gd name="connsiteY43" fmla="*/ 47154 h 427990"/>
                <a:gd name="connsiteX44" fmla="*/ 178141 w 281919"/>
                <a:gd name="connsiteY44" fmla="*/ 54570 h 427990"/>
                <a:gd name="connsiteX45" fmla="*/ 178943 w 281919"/>
                <a:gd name="connsiteY45" fmla="*/ 74714 h 427990"/>
                <a:gd name="connsiteX46" fmla="*/ 175536 w 281919"/>
                <a:gd name="connsiteY46" fmla="*/ 81679 h 427990"/>
                <a:gd name="connsiteX47" fmla="*/ 162407 w 281919"/>
                <a:gd name="connsiteY47" fmla="*/ 97865 h 427990"/>
                <a:gd name="connsiteX48" fmla="*/ 161555 w 281919"/>
                <a:gd name="connsiteY48" fmla="*/ 98216 h 427990"/>
                <a:gd name="connsiteX49" fmla="*/ 160653 w 281919"/>
                <a:gd name="connsiteY49" fmla="*/ 98015 h 427990"/>
                <a:gd name="connsiteX50" fmla="*/ 143515 w 281919"/>
                <a:gd name="connsiteY50" fmla="*/ 86440 h 427990"/>
                <a:gd name="connsiteX51" fmla="*/ 127430 w 281919"/>
                <a:gd name="connsiteY51" fmla="*/ 76117 h 427990"/>
                <a:gd name="connsiteX52" fmla="*/ 109090 w 281919"/>
                <a:gd name="connsiteY52" fmla="*/ 83684 h 427990"/>
                <a:gd name="connsiteX53" fmla="*/ 104830 w 281919"/>
                <a:gd name="connsiteY53" fmla="*/ 98767 h 427990"/>
                <a:gd name="connsiteX54" fmla="*/ 91351 w 281919"/>
                <a:gd name="connsiteY54" fmla="*/ 128482 h 427990"/>
                <a:gd name="connsiteX55" fmla="*/ 65294 w 281919"/>
                <a:gd name="connsiteY55" fmla="*/ 149027 h 427990"/>
                <a:gd name="connsiteX56" fmla="*/ 54169 w 281919"/>
                <a:gd name="connsiteY56" fmla="*/ 157045 h 427990"/>
                <a:gd name="connsiteX57" fmla="*/ 42093 w 281919"/>
                <a:gd name="connsiteY57" fmla="*/ 186159 h 427990"/>
                <a:gd name="connsiteX58" fmla="*/ 21648 w 281919"/>
                <a:gd name="connsiteY58" fmla="*/ 210462 h 427990"/>
                <a:gd name="connsiteX59" fmla="*/ 16486 w 281919"/>
                <a:gd name="connsiteY59" fmla="*/ 216877 h 427990"/>
                <a:gd name="connsiteX60" fmla="*/ 3808 w 281919"/>
                <a:gd name="connsiteY60" fmla="*/ 233112 h 427990"/>
                <a:gd name="connsiteX61" fmla="*/ 0 w 281919"/>
                <a:gd name="connsiteY61" fmla="*/ 238123 h 427990"/>
                <a:gd name="connsiteX62" fmla="*/ 2706 w 281919"/>
                <a:gd name="connsiteY62" fmla="*/ 241781 h 427990"/>
                <a:gd name="connsiteX63" fmla="*/ 10423 w 281919"/>
                <a:gd name="connsiteY63" fmla="*/ 252705 h 427990"/>
                <a:gd name="connsiteX64" fmla="*/ 11325 w 281919"/>
                <a:gd name="connsiteY64" fmla="*/ 254108 h 427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81919" h="427990">
                  <a:moveTo>
                    <a:pt x="11425" y="254108"/>
                  </a:moveTo>
                  <a:cubicBezTo>
                    <a:pt x="13630" y="257416"/>
                    <a:pt x="16135" y="261174"/>
                    <a:pt x="15484" y="264882"/>
                  </a:cubicBezTo>
                  <a:cubicBezTo>
                    <a:pt x="14432" y="270895"/>
                    <a:pt x="16887" y="274403"/>
                    <a:pt x="21046" y="279464"/>
                  </a:cubicBezTo>
                  <a:cubicBezTo>
                    <a:pt x="24303" y="283373"/>
                    <a:pt x="26809" y="287832"/>
                    <a:pt x="29264" y="292142"/>
                  </a:cubicBezTo>
                  <a:cubicBezTo>
                    <a:pt x="30267" y="293896"/>
                    <a:pt x="31269" y="295650"/>
                    <a:pt x="32321" y="297404"/>
                  </a:cubicBezTo>
                  <a:lnTo>
                    <a:pt x="32972" y="298456"/>
                  </a:lnTo>
                  <a:lnTo>
                    <a:pt x="23702" y="327069"/>
                  </a:lnTo>
                  <a:cubicBezTo>
                    <a:pt x="27260" y="335738"/>
                    <a:pt x="34225" y="337792"/>
                    <a:pt x="41541" y="339947"/>
                  </a:cubicBezTo>
                  <a:cubicBezTo>
                    <a:pt x="44047" y="340699"/>
                    <a:pt x="46653" y="341450"/>
                    <a:pt x="49008" y="342452"/>
                  </a:cubicBezTo>
                  <a:lnTo>
                    <a:pt x="49910" y="342853"/>
                  </a:lnTo>
                  <a:lnTo>
                    <a:pt x="50361" y="343755"/>
                  </a:lnTo>
                  <a:cubicBezTo>
                    <a:pt x="60182" y="363749"/>
                    <a:pt x="67047" y="385798"/>
                    <a:pt x="71958" y="413058"/>
                  </a:cubicBezTo>
                  <a:cubicBezTo>
                    <a:pt x="83584" y="413358"/>
                    <a:pt x="93205" y="418269"/>
                    <a:pt x="101373" y="427990"/>
                  </a:cubicBezTo>
                  <a:cubicBezTo>
                    <a:pt x="109591" y="423982"/>
                    <a:pt x="116356" y="418469"/>
                    <a:pt x="122870" y="413108"/>
                  </a:cubicBezTo>
                  <a:cubicBezTo>
                    <a:pt x="125977" y="410552"/>
                    <a:pt x="129234" y="407896"/>
                    <a:pt x="132541" y="405491"/>
                  </a:cubicBezTo>
                  <a:cubicBezTo>
                    <a:pt x="138605" y="401081"/>
                    <a:pt x="142062" y="395269"/>
                    <a:pt x="143165" y="387602"/>
                  </a:cubicBezTo>
                  <a:cubicBezTo>
                    <a:pt x="143465" y="385547"/>
                    <a:pt x="143916" y="383493"/>
                    <a:pt x="144417" y="381488"/>
                  </a:cubicBezTo>
                  <a:cubicBezTo>
                    <a:pt x="145169" y="378131"/>
                    <a:pt x="145921" y="374924"/>
                    <a:pt x="145820" y="371817"/>
                  </a:cubicBezTo>
                  <a:cubicBezTo>
                    <a:pt x="145369" y="357335"/>
                    <a:pt x="148977" y="347463"/>
                    <a:pt x="157596" y="339847"/>
                  </a:cubicBezTo>
                  <a:cubicBezTo>
                    <a:pt x="159300" y="338293"/>
                    <a:pt x="159049" y="337141"/>
                    <a:pt x="158097" y="334034"/>
                  </a:cubicBezTo>
                  <a:cubicBezTo>
                    <a:pt x="157296" y="331478"/>
                    <a:pt x="156293" y="328321"/>
                    <a:pt x="157747" y="324864"/>
                  </a:cubicBezTo>
                  <a:lnTo>
                    <a:pt x="158047" y="324212"/>
                  </a:lnTo>
                  <a:lnTo>
                    <a:pt x="183553" y="304870"/>
                  </a:lnTo>
                  <a:cubicBezTo>
                    <a:pt x="182952" y="292092"/>
                    <a:pt x="187312" y="281168"/>
                    <a:pt x="196532" y="272348"/>
                  </a:cubicBezTo>
                  <a:cubicBezTo>
                    <a:pt x="199238" y="269743"/>
                    <a:pt x="201543" y="265483"/>
                    <a:pt x="202345" y="261474"/>
                  </a:cubicBezTo>
                  <a:cubicBezTo>
                    <a:pt x="204750" y="249398"/>
                    <a:pt x="213269" y="244888"/>
                    <a:pt x="221236" y="242082"/>
                  </a:cubicBezTo>
                  <a:cubicBezTo>
                    <a:pt x="232010" y="238324"/>
                    <a:pt x="232661" y="235768"/>
                    <a:pt x="232711" y="235618"/>
                  </a:cubicBezTo>
                  <a:cubicBezTo>
                    <a:pt x="235217" y="223842"/>
                    <a:pt x="243134" y="218630"/>
                    <a:pt x="252705" y="213920"/>
                  </a:cubicBezTo>
                  <a:cubicBezTo>
                    <a:pt x="251603" y="205953"/>
                    <a:pt x="249498" y="198135"/>
                    <a:pt x="247444" y="190519"/>
                  </a:cubicBezTo>
                  <a:cubicBezTo>
                    <a:pt x="243736" y="176889"/>
                    <a:pt x="239927" y="162808"/>
                    <a:pt x="242132" y="148176"/>
                  </a:cubicBezTo>
                  <a:lnTo>
                    <a:pt x="242282" y="147224"/>
                  </a:lnTo>
                  <a:lnTo>
                    <a:pt x="243034" y="146572"/>
                  </a:lnTo>
                  <a:cubicBezTo>
                    <a:pt x="249147" y="141160"/>
                    <a:pt x="256363" y="138304"/>
                    <a:pt x="263329" y="135598"/>
                  </a:cubicBezTo>
                  <a:cubicBezTo>
                    <a:pt x="270093" y="132942"/>
                    <a:pt x="276508" y="130437"/>
                    <a:pt x="281919" y="125726"/>
                  </a:cubicBezTo>
                  <a:cubicBezTo>
                    <a:pt x="273952" y="110593"/>
                    <a:pt x="272499" y="94207"/>
                    <a:pt x="277309" y="73010"/>
                  </a:cubicBezTo>
                  <a:cubicBezTo>
                    <a:pt x="278562" y="67398"/>
                    <a:pt x="275405" y="59531"/>
                    <a:pt x="273250" y="54369"/>
                  </a:cubicBezTo>
                  <a:cubicBezTo>
                    <a:pt x="266736" y="38434"/>
                    <a:pt x="259520" y="22499"/>
                    <a:pt x="252505" y="7066"/>
                  </a:cubicBezTo>
                  <a:lnTo>
                    <a:pt x="250450" y="2606"/>
                  </a:lnTo>
                  <a:cubicBezTo>
                    <a:pt x="250200" y="2004"/>
                    <a:pt x="249198" y="1253"/>
                    <a:pt x="248095" y="401"/>
                  </a:cubicBezTo>
                  <a:cubicBezTo>
                    <a:pt x="247895" y="250"/>
                    <a:pt x="247744" y="150"/>
                    <a:pt x="247544" y="0"/>
                  </a:cubicBezTo>
                  <a:lnTo>
                    <a:pt x="244638" y="3157"/>
                  </a:lnTo>
                  <a:cubicBezTo>
                    <a:pt x="241781" y="6264"/>
                    <a:pt x="239075" y="9270"/>
                    <a:pt x="236319" y="12177"/>
                  </a:cubicBezTo>
                  <a:cubicBezTo>
                    <a:pt x="224794" y="24253"/>
                    <a:pt x="211715" y="37883"/>
                    <a:pt x="189767" y="35578"/>
                  </a:cubicBezTo>
                  <a:cubicBezTo>
                    <a:pt x="183102" y="34877"/>
                    <a:pt x="178342" y="38785"/>
                    <a:pt x="175586" y="47154"/>
                  </a:cubicBezTo>
                  <a:cubicBezTo>
                    <a:pt x="175937" y="49509"/>
                    <a:pt x="176989" y="51964"/>
                    <a:pt x="178141" y="54570"/>
                  </a:cubicBezTo>
                  <a:cubicBezTo>
                    <a:pt x="180697" y="60433"/>
                    <a:pt x="183603" y="67047"/>
                    <a:pt x="178943" y="74714"/>
                  </a:cubicBezTo>
                  <a:cubicBezTo>
                    <a:pt x="177640" y="76819"/>
                    <a:pt x="176638" y="79174"/>
                    <a:pt x="175536" y="81679"/>
                  </a:cubicBezTo>
                  <a:cubicBezTo>
                    <a:pt x="172880" y="87743"/>
                    <a:pt x="169923" y="94608"/>
                    <a:pt x="162407" y="97865"/>
                  </a:cubicBezTo>
                  <a:lnTo>
                    <a:pt x="161555" y="98216"/>
                  </a:lnTo>
                  <a:lnTo>
                    <a:pt x="160653" y="98015"/>
                  </a:lnTo>
                  <a:cubicBezTo>
                    <a:pt x="153187" y="96111"/>
                    <a:pt x="148276" y="91200"/>
                    <a:pt x="143515" y="86440"/>
                  </a:cubicBezTo>
                  <a:cubicBezTo>
                    <a:pt x="138755" y="81679"/>
                    <a:pt x="134195" y="77170"/>
                    <a:pt x="127430" y="76117"/>
                  </a:cubicBezTo>
                  <a:lnTo>
                    <a:pt x="109090" y="83684"/>
                  </a:lnTo>
                  <a:cubicBezTo>
                    <a:pt x="107286" y="88595"/>
                    <a:pt x="106033" y="93756"/>
                    <a:pt x="104830" y="98767"/>
                  </a:cubicBezTo>
                  <a:cubicBezTo>
                    <a:pt x="102174" y="109891"/>
                    <a:pt x="99619" y="120415"/>
                    <a:pt x="91351" y="128482"/>
                  </a:cubicBezTo>
                  <a:cubicBezTo>
                    <a:pt x="83534" y="136099"/>
                    <a:pt x="74664" y="142413"/>
                    <a:pt x="65294" y="149027"/>
                  </a:cubicBezTo>
                  <a:cubicBezTo>
                    <a:pt x="61635" y="151633"/>
                    <a:pt x="57877" y="154289"/>
                    <a:pt x="54169" y="157045"/>
                  </a:cubicBezTo>
                  <a:cubicBezTo>
                    <a:pt x="54770" y="167017"/>
                    <a:pt x="50711" y="176838"/>
                    <a:pt x="42093" y="186159"/>
                  </a:cubicBezTo>
                  <a:cubicBezTo>
                    <a:pt x="34927" y="193876"/>
                    <a:pt x="28212" y="202294"/>
                    <a:pt x="21648" y="210462"/>
                  </a:cubicBezTo>
                  <a:lnTo>
                    <a:pt x="16486" y="216877"/>
                  </a:lnTo>
                  <a:cubicBezTo>
                    <a:pt x="12227" y="222138"/>
                    <a:pt x="8118" y="227500"/>
                    <a:pt x="3808" y="233112"/>
                  </a:cubicBezTo>
                  <a:lnTo>
                    <a:pt x="0" y="238123"/>
                  </a:lnTo>
                  <a:cubicBezTo>
                    <a:pt x="952" y="239376"/>
                    <a:pt x="1804" y="240629"/>
                    <a:pt x="2706" y="241781"/>
                  </a:cubicBezTo>
                  <a:cubicBezTo>
                    <a:pt x="5462" y="245540"/>
                    <a:pt x="8068" y="249047"/>
                    <a:pt x="10423" y="252705"/>
                  </a:cubicBezTo>
                  <a:lnTo>
                    <a:pt x="11325" y="25410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43" name="Полилиния: фигура 142">
              <a:extLst>
                <a:ext uri="{FF2B5EF4-FFF2-40B4-BE49-F238E27FC236}">
                  <a16:creationId xmlns:a16="http://schemas.microsoft.com/office/drawing/2014/main" id="{24D93DEF-5BC5-45F2-AAD2-DE3F1B0E61BD}"/>
                </a:ext>
              </a:extLst>
            </p:cNvPr>
            <p:cNvSpPr/>
            <p:nvPr/>
          </p:nvSpPr>
          <p:spPr>
            <a:xfrm>
              <a:off x="2176943" y="3922618"/>
              <a:ext cx="420375" cy="327214"/>
            </a:xfrm>
            <a:custGeom>
              <a:avLst/>
              <a:gdLst>
                <a:gd name="connsiteX0" fmla="*/ 123407 w 337076"/>
                <a:gd name="connsiteY0" fmla="*/ 257367 h 262375"/>
                <a:gd name="connsiteX1" fmla="*/ 144353 w 337076"/>
                <a:gd name="connsiteY1" fmla="*/ 247345 h 262375"/>
                <a:gd name="connsiteX2" fmla="*/ 149164 w 337076"/>
                <a:gd name="connsiteY2" fmla="*/ 242233 h 262375"/>
                <a:gd name="connsiteX3" fmla="*/ 166151 w 337076"/>
                <a:gd name="connsiteY3" fmla="*/ 228052 h 262375"/>
                <a:gd name="connsiteX4" fmla="*/ 187147 w 337076"/>
                <a:gd name="connsiteY4" fmla="*/ 215976 h 262375"/>
                <a:gd name="connsiteX5" fmla="*/ 227736 w 337076"/>
                <a:gd name="connsiteY5" fmla="*/ 198387 h 262375"/>
                <a:gd name="connsiteX6" fmla="*/ 235604 w 337076"/>
                <a:gd name="connsiteY6" fmla="*/ 192875 h 262375"/>
                <a:gd name="connsiteX7" fmla="*/ 238209 w 337076"/>
                <a:gd name="connsiteY7" fmla="*/ 190069 h 262375"/>
                <a:gd name="connsiteX8" fmla="*/ 253242 w 337076"/>
                <a:gd name="connsiteY8" fmla="*/ 171578 h 262375"/>
                <a:gd name="connsiteX9" fmla="*/ 284311 w 337076"/>
                <a:gd name="connsiteY9" fmla="*/ 144719 h 262375"/>
                <a:gd name="connsiteX10" fmla="*/ 311520 w 337076"/>
                <a:gd name="connsiteY10" fmla="*/ 117209 h 262375"/>
                <a:gd name="connsiteX11" fmla="*/ 336275 w 337076"/>
                <a:gd name="connsiteY11" fmla="*/ 91502 h 262375"/>
                <a:gd name="connsiteX12" fmla="*/ 336726 w 337076"/>
                <a:gd name="connsiteY12" fmla="*/ 90349 h 262375"/>
                <a:gd name="connsiteX13" fmla="*/ 337077 w 337076"/>
                <a:gd name="connsiteY13" fmla="*/ 89348 h 262375"/>
                <a:gd name="connsiteX14" fmla="*/ 321041 w 337076"/>
                <a:gd name="connsiteY14" fmla="*/ 77922 h 262375"/>
                <a:gd name="connsiteX15" fmla="*/ 320089 w 337076"/>
                <a:gd name="connsiteY15" fmla="*/ 77221 h 262375"/>
                <a:gd name="connsiteX16" fmla="*/ 319939 w 337076"/>
                <a:gd name="connsiteY16" fmla="*/ 76018 h 262375"/>
                <a:gd name="connsiteX17" fmla="*/ 301699 w 337076"/>
                <a:gd name="connsiteY17" fmla="*/ 33775 h 262375"/>
                <a:gd name="connsiteX18" fmla="*/ 278598 w 337076"/>
                <a:gd name="connsiteY18" fmla="*/ 28965 h 262375"/>
                <a:gd name="connsiteX19" fmla="*/ 267474 w 337076"/>
                <a:gd name="connsiteY19" fmla="*/ 33074 h 262375"/>
                <a:gd name="connsiteX20" fmla="*/ 262563 w 337076"/>
                <a:gd name="connsiteY20" fmla="*/ 34878 h 262375"/>
                <a:gd name="connsiteX21" fmla="*/ 261711 w 337076"/>
                <a:gd name="connsiteY21" fmla="*/ 34627 h 262375"/>
                <a:gd name="connsiteX22" fmla="*/ 236305 w 337076"/>
                <a:gd name="connsiteY22" fmla="*/ 14383 h 262375"/>
                <a:gd name="connsiteX23" fmla="*/ 227135 w 337076"/>
                <a:gd name="connsiteY23" fmla="*/ 4010 h 262375"/>
                <a:gd name="connsiteX24" fmla="*/ 222024 w 337076"/>
                <a:gd name="connsiteY24" fmla="*/ 10223 h 262375"/>
                <a:gd name="connsiteX25" fmla="*/ 206840 w 337076"/>
                <a:gd name="connsiteY25" fmla="*/ 27963 h 262375"/>
                <a:gd name="connsiteX26" fmla="*/ 193812 w 337076"/>
                <a:gd name="connsiteY26" fmla="*/ 35479 h 262375"/>
                <a:gd name="connsiteX27" fmla="*/ 173968 w 337076"/>
                <a:gd name="connsiteY27" fmla="*/ 41342 h 262375"/>
                <a:gd name="connsiteX28" fmla="*/ 165199 w 337076"/>
                <a:gd name="connsiteY28" fmla="*/ 43747 h 262375"/>
                <a:gd name="connsiteX29" fmla="*/ 164197 w 337076"/>
                <a:gd name="connsiteY29" fmla="*/ 44048 h 262375"/>
                <a:gd name="connsiteX30" fmla="*/ 163245 w 337076"/>
                <a:gd name="connsiteY30" fmla="*/ 43597 h 262375"/>
                <a:gd name="connsiteX31" fmla="*/ 126013 w 337076"/>
                <a:gd name="connsiteY31" fmla="*/ 17089 h 262375"/>
                <a:gd name="connsiteX32" fmla="*/ 125361 w 337076"/>
                <a:gd name="connsiteY32" fmla="*/ 16437 h 262375"/>
                <a:gd name="connsiteX33" fmla="*/ 112132 w 337076"/>
                <a:gd name="connsiteY33" fmla="*/ 8570 h 262375"/>
                <a:gd name="connsiteX34" fmla="*/ 90234 w 337076"/>
                <a:gd name="connsiteY34" fmla="*/ 3459 h 262375"/>
                <a:gd name="connsiteX35" fmla="*/ 81966 w 337076"/>
                <a:gd name="connsiteY35" fmla="*/ 552 h 262375"/>
                <a:gd name="connsiteX36" fmla="*/ 66682 w 337076"/>
                <a:gd name="connsiteY36" fmla="*/ 3609 h 262375"/>
                <a:gd name="connsiteX37" fmla="*/ 53654 w 337076"/>
                <a:gd name="connsiteY37" fmla="*/ 7718 h 262375"/>
                <a:gd name="connsiteX38" fmla="*/ 51599 w 337076"/>
                <a:gd name="connsiteY38" fmla="*/ 7718 h 262375"/>
                <a:gd name="connsiteX39" fmla="*/ 44484 w 337076"/>
                <a:gd name="connsiteY39" fmla="*/ 8269 h 262375"/>
                <a:gd name="connsiteX40" fmla="*/ 35013 w 337076"/>
                <a:gd name="connsiteY40" fmla="*/ 10023 h 262375"/>
                <a:gd name="connsiteX41" fmla="*/ 31656 w 337076"/>
                <a:gd name="connsiteY41" fmla="*/ 10675 h 262375"/>
                <a:gd name="connsiteX42" fmla="*/ 28749 w 337076"/>
                <a:gd name="connsiteY42" fmla="*/ 17740 h 262375"/>
                <a:gd name="connsiteX43" fmla="*/ 22185 w 337076"/>
                <a:gd name="connsiteY43" fmla="*/ 33575 h 262375"/>
                <a:gd name="connsiteX44" fmla="*/ 19779 w 337076"/>
                <a:gd name="connsiteY44" fmla="*/ 39638 h 262375"/>
                <a:gd name="connsiteX45" fmla="*/ 11862 w 337076"/>
                <a:gd name="connsiteY45" fmla="*/ 55423 h 262375"/>
                <a:gd name="connsiteX46" fmla="*/ 4546 w 337076"/>
                <a:gd name="connsiteY46" fmla="*/ 100071 h 262375"/>
                <a:gd name="connsiteX47" fmla="*/ 6250 w 337076"/>
                <a:gd name="connsiteY47" fmla="*/ 109893 h 262375"/>
                <a:gd name="connsiteX48" fmla="*/ 6350 w 337076"/>
                <a:gd name="connsiteY48" fmla="*/ 112749 h 262375"/>
                <a:gd name="connsiteX49" fmla="*/ 14568 w 337076"/>
                <a:gd name="connsiteY49" fmla="*/ 126078 h 262375"/>
                <a:gd name="connsiteX50" fmla="*/ 25041 w 337076"/>
                <a:gd name="connsiteY50" fmla="*/ 132392 h 262375"/>
                <a:gd name="connsiteX51" fmla="*/ 31756 w 337076"/>
                <a:gd name="connsiteY51" fmla="*/ 136351 h 262375"/>
                <a:gd name="connsiteX52" fmla="*/ 32056 w 337076"/>
                <a:gd name="connsiteY52" fmla="*/ 137453 h 262375"/>
                <a:gd name="connsiteX53" fmla="*/ 32858 w 337076"/>
                <a:gd name="connsiteY53" fmla="*/ 141813 h 262375"/>
                <a:gd name="connsiteX54" fmla="*/ 34562 w 337076"/>
                <a:gd name="connsiteY54" fmla="*/ 147726 h 262375"/>
                <a:gd name="connsiteX55" fmla="*/ 43782 w 337076"/>
                <a:gd name="connsiteY55" fmla="*/ 178393 h 262375"/>
                <a:gd name="connsiteX56" fmla="*/ 43882 w 337076"/>
                <a:gd name="connsiteY56" fmla="*/ 182653 h 262375"/>
                <a:gd name="connsiteX57" fmla="*/ 43882 w 337076"/>
                <a:gd name="connsiteY57" fmla="*/ 183955 h 262375"/>
                <a:gd name="connsiteX58" fmla="*/ 45887 w 337076"/>
                <a:gd name="connsiteY58" fmla="*/ 194829 h 262375"/>
                <a:gd name="connsiteX59" fmla="*/ 60770 w 337076"/>
                <a:gd name="connsiteY59" fmla="*/ 231510 h 262375"/>
                <a:gd name="connsiteX60" fmla="*/ 64327 w 337076"/>
                <a:gd name="connsiteY60" fmla="*/ 243937 h 262375"/>
                <a:gd name="connsiteX61" fmla="*/ 68787 w 337076"/>
                <a:gd name="connsiteY61" fmla="*/ 257316 h 262375"/>
                <a:gd name="connsiteX62" fmla="*/ 70240 w 337076"/>
                <a:gd name="connsiteY62" fmla="*/ 261626 h 262375"/>
                <a:gd name="connsiteX63" fmla="*/ 104215 w 337076"/>
                <a:gd name="connsiteY63" fmla="*/ 259922 h 262375"/>
                <a:gd name="connsiteX64" fmla="*/ 123607 w 337076"/>
                <a:gd name="connsiteY64" fmla="*/ 257567 h 262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37076" h="262375">
                  <a:moveTo>
                    <a:pt x="123407" y="257367"/>
                  </a:moveTo>
                  <a:cubicBezTo>
                    <a:pt x="131274" y="257016"/>
                    <a:pt x="137939" y="253809"/>
                    <a:pt x="144353" y="247345"/>
                  </a:cubicBezTo>
                  <a:cubicBezTo>
                    <a:pt x="145957" y="245691"/>
                    <a:pt x="147560" y="243987"/>
                    <a:pt x="149164" y="242233"/>
                  </a:cubicBezTo>
                  <a:cubicBezTo>
                    <a:pt x="154225" y="236671"/>
                    <a:pt x="159486" y="230958"/>
                    <a:pt x="166151" y="228052"/>
                  </a:cubicBezTo>
                  <a:cubicBezTo>
                    <a:pt x="173467" y="224845"/>
                    <a:pt x="180432" y="220335"/>
                    <a:pt x="187147" y="215976"/>
                  </a:cubicBezTo>
                  <a:cubicBezTo>
                    <a:pt x="199324" y="208108"/>
                    <a:pt x="211901" y="199940"/>
                    <a:pt x="227736" y="198387"/>
                  </a:cubicBezTo>
                  <a:cubicBezTo>
                    <a:pt x="228889" y="198287"/>
                    <a:pt x="231445" y="197385"/>
                    <a:pt x="235604" y="192875"/>
                  </a:cubicBezTo>
                  <a:lnTo>
                    <a:pt x="238209" y="190069"/>
                  </a:lnTo>
                  <a:cubicBezTo>
                    <a:pt x="243571" y="184256"/>
                    <a:pt x="249183" y="178193"/>
                    <a:pt x="253242" y="171578"/>
                  </a:cubicBezTo>
                  <a:cubicBezTo>
                    <a:pt x="261611" y="157998"/>
                    <a:pt x="271733" y="149229"/>
                    <a:pt x="284311" y="144719"/>
                  </a:cubicBezTo>
                  <a:cubicBezTo>
                    <a:pt x="297239" y="140109"/>
                    <a:pt x="306109" y="131139"/>
                    <a:pt x="311520" y="117209"/>
                  </a:cubicBezTo>
                  <a:cubicBezTo>
                    <a:pt x="316782" y="103679"/>
                    <a:pt x="324900" y="95260"/>
                    <a:pt x="336275" y="91502"/>
                  </a:cubicBezTo>
                  <a:cubicBezTo>
                    <a:pt x="336425" y="91202"/>
                    <a:pt x="336575" y="90750"/>
                    <a:pt x="336726" y="90349"/>
                  </a:cubicBezTo>
                  <a:cubicBezTo>
                    <a:pt x="336826" y="90049"/>
                    <a:pt x="336976" y="89698"/>
                    <a:pt x="337077" y="89348"/>
                  </a:cubicBezTo>
                  <a:cubicBezTo>
                    <a:pt x="331815" y="85639"/>
                    <a:pt x="326403" y="81781"/>
                    <a:pt x="321041" y="77922"/>
                  </a:cubicBezTo>
                  <a:lnTo>
                    <a:pt x="320089" y="77221"/>
                  </a:lnTo>
                  <a:lnTo>
                    <a:pt x="319939" y="76018"/>
                  </a:lnTo>
                  <a:cubicBezTo>
                    <a:pt x="316832" y="49811"/>
                    <a:pt x="314577" y="45952"/>
                    <a:pt x="301699" y="33775"/>
                  </a:cubicBezTo>
                  <a:cubicBezTo>
                    <a:pt x="294683" y="27111"/>
                    <a:pt x="287518" y="25607"/>
                    <a:pt x="278598" y="28965"/>
                  </a:cubicBezTo>
                  <a:cubicBezTo>
                    <a:pt x="274690" y="30418"/>
                    <a:pt x="270731" y="31871"/>
                    <a:pt x="267474" y="33074"/>
                  </a:cubicBezTo>
                  <a:lnTo>
                    <a:pt x="262563" y="34878"/>
                  </a:lnTo>
                  <a:lnTo>
                    <a:pt x="261711" y="34627"/>
                  </a:lnTo>
                  <a:cubicBezTo>
                    <a:pt x="249384" y="30869"/>
                    <a:pt x="242769" y="22450"/>
                    <a:pt x="236305" y="14383"/>
                  </a:cubicBezTo>
                  <a:cubicBezTo>
                    <a:pt x="233299" y="10624"/>
                    <a:pt x="230442" y="7016"/>
                    <a:pt x="227135" y="4010"/>
                  </a:cubicBezTo>
                  <a:cubicBezTo>
                    <a:pt x="225381" y="6114"/>
                    <a:pt x="223677" y="8219"/>
                    <a:pt x="222024" y="10223"/>
                  </a:cubicBezTo>
                  <a:cubicBezTo>
                    <a:pt x="216912" y="16487"/>
                    <a:pt x="212102" y="22400"/>
                    <a:pt x="206840" y="27963"/>
                  </a:cubicBezTo>
                  <a:cubicBezTo>
                    <a:pt x="203984" y="30969"/>
                    <a:pt x="199725" y="33424"/>
                    <a:pt x="193812" y="35479"/>
                  </a:cubicBezTo>
                  <a:cubicBezTo>
                    <a:pt x="187498" y="37634"/>
                    <a:pt x="180933" y="39438"/>
                    <a:pt x="173968" y="41342"/>
                  </a:cubicBezTo>
                  <a:cubicBezTo>
                    <a:pt x="171162" y="42093"/>
                    <a:pt x="168256" y="42895"/>
                    <a:pt x="165199" y="43747"/>
                  </a:cubicBezTo>
                  <a:lnTo>
                    <a:pt x="164197" y="44048"/>
                  </a:lnTo>
                  <a:lnTo>
                    <a:pt x="163245" y="43597"/>
                  </a:lnTo>
                  <a:cubicBezTo>
                    <a:pt x="149214" y="36581"/>
                    <a:pt x="136335" y="27411"/>
                    <a:pt x="126013" y="17089"/>
                  </a:cubicBezTo>
                  <a:lnTo>
                    <a:pt x="125361" y="16437"/>
                  </a:lnTo>
                  <a:cubicBezTo>
                    <a:pt x="121302" y="12328"/>
                    <a:pt x="117444" y="8670"/>
                    <a:pt x="112132" y="8570"/>
                  </a:cubicBezTo>
                  <a:cubicBezTo>
                    <a:pt x="104115" y="8620"/>
                    <a:pt x="97049" y="6014"/>
                    <a:pt x="90234" y="3459"/>
                  </a:cubicBezTo>
                  <a:cubicBezTo>
                    <a:pt x="87478" y="2406"/>
                    <a:pt x="84722" y="1404"/>
                    <a:pt x="81966" y="552"/>
                  </a:cubicBezTo>
                  <a:cubicBezTo>
                    <a:pt x="76604" y="-1051"/>
                    <a:pt x="71994" y="1103"/>
                    <a:pt x="66682" y="3609"/>
                  </a:cubicBezTo>
                  <a:cubicBezTo>
                    <a:pt x="62624" y="5513"/>
                    <a:pt x="58414" y="7518"/>
                    <a:pt x="53654" y="7718"/>
                  </a:cubicBezTo>
                  <a:lnTo>
                    <a:pt x="51599" y="7718"/>
                  </a:lnTo>
                  <a:cubicBezTo>
                    <a:pt x="49144" y="7868"/>
                    <a:pt x="46789" y="7919"/>
                    <a:pt x="44484" y="8269"/>
                  </a:cubicBezTo>
                  <a:cubicBezTo>
                    <a:pt x="41427" y="8720"/>
                    <a:pt x="38320" y="9372"/>
                    <a:pt x="35013" y="10023"/>
                  </a:cubicBezTo>
                  <a:lnTo>
                    <a:pt x="31656" y="10675"/>
                  </a:lnTo>
                  <a:cubicBezTo>
                    <a:pt x="30653" y="13030"/>
                    <a:pt x="29701" y="15385"/>
                    <a:pt x="28749" y="17740"/>
                  </a:cubicBezTo>
                  <a:cubicBezTo>
                    <a:pt x="26594" y="23102"/>
                    <a:pt x="24440" y="28363"/>
                    <a:pt x="22185" y="33575"/>
                  </a:cubicBezTo>
                  <a:cubicBezTo>
                    <a:pt x="21333" y="35529"/>
                    <a:pt x="20531" y="37584"/>
                    <a:pt x="19779" y="39638"/>
                  </a:cubicBezTo>
                  <a:cubicBezTo>
                    <a:pt x="17675" y="45100"/>
                    <a:pt x="15520" y="50763"/>
                    <a:pt x="11862" y="55423"/>
                  </a:cubicBezTo>
                  <a:cubicBezTo>
                    <a:pt x="-1116" y="71859"/>
                    <a:pt x="-3271" y="85188"/>
                    <a:pt x="4546" y="100071"/>
                  </a:cubicBezTo>
                  <a:cubicBezTo>
                    <a:pt x="6149" y="103078"/>
                    <a:pt x="6200" y="106535"/>
                    <a:pt x="6250" y="109893"/>
                  </a:cubicBezTo>
                  <a:cubicBezTo>
                    <a:pt x="6250" y="110845"/>
                    <a:pt x="6250" y="111847"/>
                    <a:pt x="6350" y="112749"/>
                  </a:cubicBezTo>
                  <a:cubicBezTo>
                    <a:pt x="6701" y="118461"/>
                    <a:pt x="9407" y="122821"/>
                    <a:pt x="14568" y="126078"/>
                  </a:cubicBezTo>
                  <a:cubicBezTo>
                    <a:pt x="17775" y="128133"/>
                    <a:pt x="21032" y="130037"/>
                    <a:pt x="25041" y="132392"/>
                  </a:cubicBezTo>
                  <a:lnTo>
                    <a:pt x="31756" y="136351"/>
                  </a:lnTo>
                  <a:lnTo>
                    <a:pt x="32056" y="137453"/>
                  </a:lnTo>
                  <a:cubicBezTo>
                    <a:pt x="32407" y="138856"/>
                    <a:pt x="32608" y="140309"/>
                    <a:pt x="32858" y="141813"/>
                  </a:cubicBezTo>
                  <a:cubicBezTo>
                    <a:pt x="33209" y="144218"/>
                    <a:pt x="33560" y="146673"/>
                    <a:pt x="34562" y="147726"/>
                  </a:cubicBezTo>
                  <a:cubicBezTo>
                    <a:pt x="43331" y="156996"/>
                    <a:pt x="43582" y="167870"/>
                    <a:pt x="43782" y="178393"/>
                  </a:cubicBezTo>
                  <a:cubicBezTo>
                    <a:pt x="43782" y="179796"/>
                    <a:pt x="43832" y="181199"/>
                    <a:pt x="43882" y="182653"/>
                  </a:cubicBezTo>
                  <a:lnTo>
                    <a:pt x="43882" y="183955"/>
                  </a:lnTo>
                  <a:cubicBezTo>
                    <a:pt x="44033" y="187914"/>
                    <a:pt x="44133" y="192374"/>
                    <a:pt x="45887" y="194829"/>
                  </a:cubicBezTo>
                  <a:cubicBezTo>
                    <a:pt x="53904" y="206154"/>
                    <a:pt x="57412" y="219032"/>
                    <a:pt x="60770" y="231510"/>
                  </a:cubicBezTo>
                  <a:cubicBezTo>
                    <a:pt x="61872" y="235669"/>
                    <a:pt x="63024" y="239828"/>
                    <a:pt x="64327" y="243937"/>
                  </a:cubicBezTo>
                  <a:cubicBezTo>
                    <a:pt x="65730" y="248447"/>
                    <a:pt x="67284" y="252957"/>
                    <a:pt x="68787" y="257316"/>
                  </a:cubicBezTo>
                  <a:lnTo>
                    <a:pt x="70240" y="261626"/>
                  </a:lnTo>
                  <a:cubicBezTo>
                    <a:pt x="82116" y="263430"/>
                    <a:pt x="93341" y="261626"/>
                    <a:pt x="104215" y="259922"/>
                  </a:cubicBezTo>
                  <a:cubicBezTo>
                    <a:pt x="110529" y="258920"/>
                    <a:pt x="117093" y="257868"/>
                    <a:pt x="123607" y="25756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44" name="Полилиния: фигура 143">
              <a:extLst>
                <a:ext uri="{FF2B5EF4-FFF2-40B4-BE49-F238E27FC236}">
                  <a16:creationId xmlns:a16="http://schemas.microsoft.com/office/drawing/2014/main" id="{534ED6F7-0503-4E28-8644-00659268DA45}"/>
                </a:ext>
              </a:extLst>
            </p:cNvPr>
            <p:cNvSpPr/>
            <p:nvPr/>
          </p:nvSpPr>
          <p:spPr>
            <a:xfrm>
              <a:off x="1235338" y="3520287"/>
              <a:ext cx="398851" cy="391846"/>
            </a:xfrm>
            <a:custGeom>
              <a:avLst/>
              <a:gdLst>
                <a:gd name="connsiteX0" fmla="*/ 231859 w 319817"/>
                <a:gd name="connsiteY0" fmla="*/ 235117 h 314200"/>
                <a:gd name="connsiteX1" fmla="*/ 237071 w 319817"/>
                <a:gd name="connsiteY1" fmla="*/ 233012 h 314200"/>
                <a:gd name="connsiteX2" fmla="*/ 259771 w 319817"/>
                <a:gd name="connsiteY2" fmla="*/ 241931 h 314200"/>
                <a:gd name="connsiteX3" fmla="*/ 262777 w 319817"/>
                <a:gd name="connsiteY3" fmla="*/ 246942 h 314200"/>
                <a:gd name="connsiteX4" fmla="*/ 271296 w 319817"/>
                <a:gd name="connsiteY4" fmla="*/ 258017 h 314200"/>
                <a:gd name="connsiteX5" fmla="*/ 309881 w 319817"/>
                <a:gd name="connsiteY5" fmla="*/ 273300 h 314200"/>
                <a:gd name="connsiteX6" fmla="*/ 311986 w 319817"/>
                <a:gd name="connsiteY6" fmla="*/ 268039 h 314200"/>
                <a:gd name="connsiteX7" fmla="*/ 317047 w 319817"/>
                <a:gd name="connsiteY7" fmla="*/ 255010 h 314200"/>
                <a:gd name="connsiteX8" fmla="*/ 306373 w 319817"/>
                <a:gd name="connsiteY8" fmla="*/ 213670 h 314200"/>
                <a:gd name="connsiteX9" fmla="*/ 284325 w 319817"/>
                <a:gd name="connsiteY9" fmla="*/ 185207 h 314200"/>
                <a:gd name="connsiteX10" fmla="*/ 261024 w 319817"/>
                <a:gd name="connsiteY10" fmla="*/ 162707 h 314200"/>
                <a:gd name="connsiteX11" fmla="*/ 246792 w 319817"/>
                <a:gd name="connsiteY11" fmla="*/ 154690 h 314200"/>
                <a:gd name="connsiteX12" fmla="*/ 240328 w 319817"/>
                <a:gd name="connsiteY12" fmla="*/ 150681 h 314200"/>
                <a:gd name="connsiteX13" fmla="*/ 238775 w 319817"/>
                <a:gd name="connsiteY13" fmla="*/ 149779 h 314200"/>
                <a:gd name="connsiteX14" fmla="*/ 242834 w 319817"/>
                <a:gd name="connsiteY14" fmla="*/ 120264 h 314200"/>
                <a:gd name="connsiteX15" fmla="*/ 182852 w 319817"/>
                <a:gd name="connsiteY15" fmla="*/ 57576 h 314200"/>
                <a:gd name="connsiteX16" fmla="*/ 182050 w 319817"/>
                <a:gd name="connsiteY16" fmla="*/ 56925 h 314200"/>
                <a:gd name="connsiteX17" fmla="*/ 181900 w 319817"/>
                <a:gd name="connsiteY17" fmla="*/ 55873 h 314200"/>
                <a:gd name="connsiteX18" fmla="*/ 180948 w 319817"/>
                <a:gd name="connsiteY18" fmla="*/ 49258 h 314200"/>
                <a:gd name="connsiteX19" fmla="*/ 179144 w 319817"/>
                <a:gd name="connsiteY19" fmla="*/ 38234 h 314200"/>
                <a:gd name="connsiteX20" fmla="*/ 171627 w 319817"/>
                <a:gd name="connsiteY20" fmla="*/ 31619 h 314200"/>
                <a:gd name="connsiteX21" fmla="*/ 166015 w 319817"/>
                <a:gd name="connsiteY21" fmla="*/ 28763 h 314200"/>
                <a:gd name="connsiteX22" fmla="*/ 153838 w 319817"/>
                <a:gd name="connsiteY22" fmla="*/ 16236 h 314200"/>
                <a:gd name="connsiteX23" fmla="*/ 123321 w 319817"/>
                <a:gd name="connsiteY23" fmla="*/ 0 h 314200"/>
                <a:gd name="connsiteX24" fmla="*/ 111896 w 319817"/>
                <a:gd name="connsiteY24" fmla="*/ 21948 h 314200"/>
                <a:gd name="connsiteX25" fmla="*/ 86340 w 319817"/>
                <a:gd name="connsiteY25" fmla="*/ 20295 h 314200"/>
                <a:gd name="connsiteX26" fmla="*/ 62137 w 319817"/>
                <a:gd name="connsiteY26" fmla="*/ 71006 h 314200"/>
                <a:gd name="connsiteX27" fmla="*/ 75265 w 319817"/>
                <a:gd name="connsiteY27" fmla="*/ 77170 h 314200"/>
                <a:gd name="connsiteX28" fmla="*/ 75165 w 319817"/>
                <a:gd name="connsiteY28" fmla="*/ 78974 h 314200"/>
                <a:gd name="connsiteX29" fmla="*/ 55221 w 319817"/>
                <a:gd name="connsiteY29" fmla="*/ 110092 h 314200"/>
                <a:gd name="connsiteX30" fmla="*/ 55171 w 319817"/>
                <a:gd name="connsiteY30" fmla="*/ 118410 h 314200"/>
                <a:gd name="connsiteX31" fmla="*/ 55322 w 319817"/>
                <a:gd name="connsiteY31" fmla="*/ 138254 h 314200"/>
                <a:gd name="connsiteX32" fmla="*/ 44798 w 319817"/>
                <a:gd name="connsiteY32" fmla="*/ 158749 h 314200"/>
                <a:gd name="connsiteX33" fmla="*/ 21848 w 319817"/>
                <a:gd name="connsiteY33" fmla="*/ 190017 h 314200"/>
                <a:gd name="connsiteX34" fmla="*/ 0 w 319817"/>
                <a:gd name="connsiteY34" fmla="*/ 224594 h 314200"/>
                <a:gd name="connsiteX35" fmla="*/ 8318 w 319817"/>
                <a:gd name="connsiteY35" fmla="*/ 268690 h 314200"/>
                <a:gd name="connsiteX36" fmla="*/ 19794 w 319817"/>
                <a:gd name="connsiteY36" fmla="*/ 279164 h 314200"/>
                <a:gd name="connsiteX37" fmla="*/ 41391 w 319817"/>
                <a:gd name="connsiteY37" fmla="*/ 298656 h 314200"/>
                <a:gd name="connsiteX38" fmla="*/ 94357 w 319817"/>
                <a:gd name="connsiteY38" fmla="*/ 313639 h 314200"/>
                <a:gd name="connsiteX39" fmla="*/ 138304 w 319817"/>
                <a:gd name="connsiteY39" fmla="*/ 296902 h 314200"/>
                <a:gd name="connsiteX40" fmla="*/ 158047 w 319817"/>
                <a:gd name="connsiteY40" fmla="*/ 287031 h 314200"/>
                <a:gd name="connsiteX41" fmla="*/ 163359 w 319817"/>
                <a:gd name="connsiteY41" fmla="*/ 282521 h 314200"/>
                <a:gd name="connsiteX42" fmla="*/ 166115 w 319817"/>
                <a:gd name="connsiteY42" fmla="*/ 279715 h 314200"/>
                <a:gd name="connsiteX43" fmla="*/ 171326 w 319817"/>
                <a:gd name="connsiteY43" fmla="*/ 265233 h 314200"/>
                <a:gd name="connsiteX44" fmla="*/ 174083 w 319817"/>
                <a:gd name="connsiteY44" fmla="*/ 235568 h 314200"/>
                <a:gd name="connsiteX45" fmla="*/ 174533 w 319817"/>
                <a:gd name="connsiteY45" fmla="*/ 234565 h 314200"/>
                <a:gd name="connsiteX46" fmla="*/ 175536 w 319817"/>
                <a:gd name="connsiteY46" fmla="*/ 234164 h 314200"/>
                <a:gd name="connsiteX47" fmla="*/ 212066 w 319817"/>
                <a:gd name="connsiteY47" fmla="*/ 235367 h 314200"/>
                <a:gd name="connsiteX48" fmla="*/ 231859 w 319817"/>
                <a:gd name="connsiteY48" fmla="*/ 234916 h 314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19817" h="314200">
                  <a:moveTo>
                    <a:pt x="231859" y="235117"/>
                  </a:moveTo>
                  <a:cubicBezTo>
                    <a:pt x="233463" y="234014"/>
                    <a:pt x="235317" y="233463"/>
                    <a:pt x="237071" y="233012"/>
                  </a:cubicBezTo>
                  <a:cubicBezTo>
                    <a:pt x="247544" y="230156"/>
                    <a:pt x="253707" y="232611"/>
                    <a:pt x="259771" y="241931"/>
                  </a:cubicBezTo>
                  <a:cubicBezTo>
                    <a:pt x="260823" y="243535"/>
                    <a:pt x="261775" y="245239"/>
                    <a:pt x="262777" y="246942"/>
                  </a:cubicBezTo>
                  <a:cubicBezTo>
                    <a:pt x="265233" y="251252"/>
                    <a:pt x="267839" y="255712"/>
                    <a:pt x="271296" y="258017"/>
                  </a:cubicBezTo>
                  <a:cubicBezTo>
                    <a:pt x="284074" y="266536"/>
                    <a:pt x="296702" y="271547"/>
                    <a:pt x="309881" y="273300"/>
                  </a:cubicBezTo>
                  <a:cubicBezTo>
                    <a:pt x="310582" y="271497"/>
                    <a:pt x="311334" y="269743"/>
                    <a:pt x="311986" y="268039"/>
                  </a:cubicBezTo>
                  <a:cubicBezTo>
                    <a:pt x="313790" y="263529"/>
                    <a:pt x="315543" y="259270"/>
                    <a:pt x="317047" y="255010"/>
                  </a:cubicBezTo>
                  <a:cubicBezTo>
                    <a:pt x="321206" y="242834"/>
                    <a:pt x="322759" y="225746"/>
                    <a:pt x="306373" y="213670"/>
                  </a:cubicBezTo>
                  <a:cubicBezTo>
                    <a:pt x="296902" y="206754"/>
                    <a:pt x="290087" y="197935"/>
                    <a:pt x="284325" y="185207"/>
                  </a:cubicBezTo>
                  <a:cubicBezTo>
                    <a:pt x="279514" y="174534"/>
                    <a:pt x="271897" y="167167"/>
                    <a:pt x="261024" y="162707"/>
                  </a:cubicBezTo>
                  <a:cubicBezTo>
                    <a:pt x="256013" y="160603"/>
                    <a:pt x="251302" y="157596"/>
                    <a:pt x="246792" y="154690"/>
                  </a:cubicBezTo>
                  <a:cubicBezTo>
                    <a:pt x="244688" y="153337"/>
                    <a:pt x="242533" y="151984"/>
                    <a:pt x="240328" y="150681"/>
                  </a:cubicBezTo>
                  <a:lnTo>
                    <a:pt x="238775" y="149779"/>
                  </a:lnTo>
                  <a:lnTo>
                    <a:pt x="242834" y="120264"/>
                  </a:lnTo>
                  <a:cubicBezTo>
                    <a:pt x="225095" y="96512"/>
                    <a:pt x="204900" y="75466"/>
                    <a:pt x="182852" y="57576"/>
                  </a:cubicBezTo>
                  <a:lnTo>
                    <a:pt x="182050" y="56925"/>
                  </a:lnTo>
                  <a:lnTo>
                    <a:pt x="181900" y="55873"/>
                  </a:lnTo>
                  <a:cubicBezTo>
                    <a:pt x="181549" y="53467"/>
                    <a:pt x="181248" y="51313"/>
                    <a:pt x="180948" y="49258"/>
                  </a:cubicBezTo>
                  <a:cubicBezTo>
                    <a:pt x="180396" y="45199"/>
                    <a:pt x="179895" y="41641"/>
                    <a:pt x="179144" y="38234"/>
                  </a:cubicBezTo>
                  <a:cubicBezTo>
                    <a:pt x="178342" y="34626"/>
                    <a:pt x="175786" y="33373"/>
                    <a:pt x="171627" y="31619"/>
                  </a:cubicBezTo>
                  <a:cubicBezTo>
                    <a:pt x="169723" y="30818"/>
                    <a:pt x="167819" y="30016"/>
                    <a:pt x="166015" y="28763"/>
                  </a:cubicBezTo>
                  <a:cubicBezTo>
                    <a:pt x="160853" y="25205"/>
                    <a:pt x="156544" y="20746"/>
                    <a:pt x="153838" y="16236"/>
                  </a:cubicBezTo>
                  <a:cubicBezTo>
                    <a:pt x="147274" y="5211"/>
                    <a:pt x="137252" y="1754"/>
                    <a:pt x="123321" y="0"/>
                  </a:cubicBezTo>
                  <a:lnTo>
                    <a:pt x="111896" y="21948"/>
                  </a:lnTo>
                  <a:lnTo>
                    <a:pt x="86340" y="20295"/>
                  </a:lnTo>
                  <a:cubicBezTo>
                    <a:pt x="72309" y="33824"/>
                    <a:pt x="67198" y="51864"/>
                    <a:pt x="62137" y="71006"/>
                  </a:cubicBezTo>
                  <a:lnTo>
                    <a:pt x="75265" y="77170"/>
                  </a:lnTo>
                  <a:lnTo>
                    <a:pt x="75165" y="78974"/>
                  </a:lnTo>
                  <a:cubicBezTo>
                    <a:pt x="74313" y="94107"/>
                    <a:pt x="64993" y="102726"/>
                    <a:pt x="55221" y="110092"/>
                  </a:cubicBezTo>
                  <a:cubicBezTo>
                    <a:pt x="55221" y="112948"/>
                    <a:pt x="55221" y="115704"/>
                    <a:pt x="55171" y="118410"/>
                  </a:cubicBezTo>
                  <a:cubicBezTo>
                    <a:pt x="55121" y="125275"/>
                    <a:pt x="55071" y="131790"/>
                    <a:pt x="55322" y="138254"/>
                  </a:cubicBezTo>
                  <a:cubicBezTo>
                    <a:pt x="55722" y="148426"/>
                    <a:pt x="51964" y="155692"/>
                    <a:pt x="44798" y="158749"/>
                  </a:cubicBezTo>
                  <a:cubicBezTo>
                    <a:pt x="31469" y="164461"/>
                    <a:pt x="26709" y="175786"/>
                    <a:pt x="21848" y="190017"/>
                  </a:cubicBezTo>
                  <a:cubicBezTo>
                    <a:pt x="17539" y="202746"/>
                    <a:pt x="12277" y="215824"/>
                    <a:pt x="0" y="224594"/>
                  </a:cubicBezTo>
                  <a:lnTo>
                    <a:pt x="8318" y="268690"/>
                  </a:lnTo>
                  <a:cubicBezTo>
                    <a:pt x="12377" y="272348"/>
                    <a:pt x="16186" y="275856"/>
                    <a:pt x="19794" y="279164"/>
                  </a:cubicBezTo>
                  <a:cubicBezTo>
                    <a:pt x="27410" y="286129"/>
                    <a:pt x="34325" y="292493"/>
                    <a:pt x="41391" y="298656"/>
                  </a:cubicBezTo>
                  <a:cubicBezTo>
                    <a:pt x="55372" y="310933"/>
                    <a:pt x="73161" y="315994"/>
                    <a:pt x="94357" y="313639"/>
                  </a:cubicBezTo>
                  <a:cubicBezTo>
                    <a:pt x="110242" y="311885"/>
                    <a:pt x="123872" y="304619"/>
                    <a:pt x="138304" y="296902"/>
                  </a:cubicBezTo>
                  <a:cubicBezTo>
                    <a:pt x="144668" y="293495"/>
                    <a:pt x="151282" y="289987"/>
                    <a:pt x="158047" y="287031"/>
                  </a:cubicBezTo>
                  <a:cubicBezTo>
                    <a:pt x="159901" y="286229"/>
                    <a:pt x="161555" y="284425"/>
                    <a:pt x="163359" y="282521"/>
                  </a:cubicBezTo>
                  <a:cubicBezTo>
                    <a:pt x="164261" y="281569"/>
                    <a:pt x="165163" y="280566"/>
                    <a:pt x="166115" y="279715"/>
                  </a:cubicBezTo>
                  <a:cubicBezTo>
                    <a:pt x="170675" y="275505"/>
                    <a:pt x="172329" y="270895"/>
                    <a:pt x="171326" y="265233"/>
                  </a:cubicBezTo>
                  <a:cubicBezTo>
                    <a:pt x="169923" y="257215"/>
                    <a:pt x="168971" y="246592"/>
                    <a:pt x="174083" y="235568"/>
                  </a:cubicBezTo>
                  <a:lnTo>
                    <a:pt x="174533" y="234565"/>
                  </a:lnTo>
                  <a:lnTo>
                    <a:pt x="175536" y="234164"/>
                  </a:lnTo>
                  <a:cubicBezTo>
                    <a:pt x="187362" y="229705"/>
                    <a:pt x="199338" y="230055"/>
                    <a:pt x="212066" y="235367"/>
                  </a:cubicBezTo>
                  <a:cubicBezTo>
                    <a:pt x="220484" y="238875"/>
                    <a:pt x="226247" y="238775"/>
                    <a:pt x="231859" y="23491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45" name="Полилиния: фигура 144">
              <a:extLst>
                <a:ext uri="{FF2B5EF4-FFF2-40B4-BE49-F238E27FC236}">
                  <a16:creationId xmlns:a16="http://schemas.microsoft.com/office/drawing/2014/main" id="{BD9CA5DF-927D-4502-9CC2-C4AF85564AB1}"/>
                </a:ext>
              </a:extLst>
            </p:cNvPr>
            <p:cNvSpPr/>
            <p:nvPr/>
          </p:nvSpPr>
          <p:spPr>
            <a:xfrm>
              <a:off x="993114" y="4778403"/>
              <a:ext cx="317716" cy="569522"/>
            </a:xfrm>
            <a:custGeom>
              <a:avLst/>
              <a:gdLst>
                <a:gd name="connsiteX0" fmla="*/ 242232 w 254759"/>
                <a:gd name="connsiteY0" fmla="*/ 56975 h 456669"/>
                <a:gd name="connsiteX1" fmla="*/ 225295 w 254759"/>
                <a:gd name="connsiteY1" fmla="*/ 29415 h 456669"/>
                <a:gd name="connsiteX2" fmla="*/ 194527 w 254759"/>
                <a:gd name="connsiteY2" fmla="*/ 0 h 456669"/>
                <a:gd name="connsiteX3" fmla="*/ 189967 w 254759"/>
                <a:gd name="connsiteY3" fmla="*/ 2706 h 456669"/>
                <a:gd name="connsiteX4" fmla="*/ 176788 w 254759"/>
                <a:gd name="connsiteY4" fmla="*/ 10874 h 456669"/>
                <a:gd name="connsiteX5" fmla="*/ 176287 w 254759"/>
                <a:gd name="connsiteY5" fmla="*/ 11225 h 456669"/>
                <a:gd name="connsiteX6" fmla="*/ 142563 w 254759"/>
                <a:gd name="connsiteY6" fmla="*/ 20595 h 456669"/>
                <a:gd name="connsiteX7" fmla="*/ 138254 w 254759"/>
                <a:gd name="connsiteY7" fmla="*/ 37332 h 456669"/>
                <a:gd name="connsiteX8" fmla="*/ 137953 w 254759"/>
                <a:gd name="connsiteY8" fmla="*/ 38535 h 456669"/>
                <a:gd name="connsiteX9" fmla="*/ 122770 w 254759"/>
                <a:gd name="connsiteY9" fmla="*/ 46051 h 456669"/>
                <a:gd name="connsiteX10" fmla="*/ 122118 w 254759"/>
                <a:gd name="connsiteY10" fmla="*/ 49208 h 456669"/>
                <a:gd name="connsiteX11" fmla="*/ 120715 w 254759"/>
                <a:gd name="connsiteY11" fmla="*/ 57075 h 456669"/>
                <a:gd name="connsiteX12" fmla="*/ 127179 w 254759"/>
                <a:gd name="connsiteY12" fmla="*/ 86590 h 456669"/>
                <a:gd name="connsiteX13" fmla="*/ 139356 w 254759"/>
                <a:gd name="connsiteY13" fmla="*/ 93305 h 456669"/>
                <a:gd name="connsiteX14" fmla="*/ 146572 w 254759"/>
                <a:gd name="connsiteY14" fmla="*/ 96211 h 456669"/>
                <a:gd name="connsiteX15" fmla="*/ 147775 w 254759"/>
                <a:gd name="connsiteY15" fmla="*/ 96813 h 456669"/>
                <a:gd name="connsiteX16" fmla="*/ 150230 w 254759"/>
                <a:gd name="connsiteY16" fmla="*/ 109841 h 456669"/>
                <a:gd name="connsiteX17" fmla="*/ 173381 w 254759"/>
                <a:gd name="connsiteY17" fmla="*/ 113700 h 456669"/>
                <a:gd name="connsiteX18" fmla="*/ 174734 w 254759"/>
                <a:gd name="connsiteY18" fmla="*/ 113900 h 456669"/>
                <a:gd name="connsiteX19" fmla="*/ 175335 w 254759"/>
                <a:gd name="connsiteY19" fmla="*/ 115103 h 456669"/>
                <a:gd name="connsiteX20" fmla="*/ 181649 w 254759"/>
                <a:gd name="connsiteY20" fmla="*/ 147424 h 456669"/>
                <a:gd name="connsiteX21" fmla="*/ 166716 w 254759"/>
                <a:gd name="connsiteY21" fmla="*/ 167418 h 456669"/>
                <a:gd name="connsiteX22" fmla="*/ 158548 w 254759"/>
                <a:gd name="connsiteY22" fmla="*/ 171076 h 456669"/>
                <a:gd name="connsiteX23" fmla="*/ 147073 w 254759"/>
                <a:gd name="connsiteY23" fmla="*/ 175937 h 456669"/>
                <a:gd name="connsiteX24" fmla="*/ 126378 w 254759"/>
                <a:gd name="connsiteY24" fmla="*/ 194327 h 456669"/>
                <a:gd name="connsiteX25" fmla="*/ 113499 w 254759"/>
                <a:gd name="connsiteY25" fmla="*/ 217578 h 456669"/>
                <a:gd name="connsiteX26" fmla="*/ 108138 w 254759"/>
                <a:gd name="connsiteY26" fmla="*/ 226999 h 456669"/>
                <a:gd name="connsiteX27" fmla="*/ 107386 w 254759"/>
                <a:gd name="connsiteY27" fmla="*/ 228302 h 456669"/>
                <a:gd name="connsiteX28" fmla="*/ 105883 w 254759"/>
                <a:gd name="connsiteY28" fmla="*/ 228302 h 456669"/>
                <a:gd name="connsiteX29" fmla="*/ 98266 w 254759"/>
                <a:gd name="connsiteY29" fmla="*/ 228602 h 456669"/>
                <a:gd name="connsiteX30" fmla="*/ 83834 w 254759"/>
                <a:gd name="connsiteY30" fmla="*/ 229705 h 456669"/>
                <a:gd name="connsiteX31" fmla="*/ 71006 w 254759"/>
                <a:gd name="connsiteY31" fmla="*/ 234215 h 456669"/>
                <a:gd name="connsiteX32" fmla="*/ 65193 w 254759"/>
                <a:gd name="connsiteY32" fmla="*/ 236620 h 456669"/>
                <a:gd name="connsiteX33" fmla="*/ 64091 w 254759"/>
                <a:gd name="connsiteY33" fmla="*/ 237071 h 456669"/>
                <a:gd name="connsiteX34" fmla="*/ 63039 w 254759"/>
                <a:gd name="connsiteY34" fmla="*/ 236520 h 456669"/>
                <a:gd name="connsiteX35" fmla="*/ 0 w 254759"/>
                <a:gd name="connsiteY35" fmla="*/ 262527 h 456669"/>
                <a:gd name="connsiteX36" fmla="*/ 3808 w 254759"/>
                <a:gd name="connsiteY36" fmla="*/ 273351 h 456669"/>
                <a:gd name="connsiteX37" fmla="*/ 21547 w 254759"/>
                <a:gd name="connsiteY37" fmla="*/ 311334 h 456669"/>
                <a:gd name="connsiteX38" fmla="*/ 44297 w 254759"/>
                <a:gd name="connsiteY38" fmla="*/ 376227 h 456669"/>
                <a:gd name="connsiteX39" fmla="*/ 44849 w 254759"/>
                <a:gd name="connsiteY39" fmla="*/ 381789 h 456669"/>
                <a:gd name="connsiteX40" fmla="*/ 45400 w 254759"/>
                <a:gd name="connsiteY40" fmla="*/ 388003 h 456669"/>
                <a:gd name="connsiteX41" fmla="*/ 62788 w 254759"/>
                <a:gd name="connsiteY41" fmla="*/ 448135 h 456669"/>
                <a:gd name="connsiteX42" fmla="*/ 65845 w 254759"/>
                <a:gd name="connsiteY42" fmla="*/ 455150 h 456669"/>
                <a:gd name="connsiteX43" fmla="*/ 93305 w 254759"/>
                <a:gd name="connsiteY43" fmla="*/ 453446 h 456669"/>
                <a:gd name="connsiteX44" fmla="*/ 116055 w 254759"/>
                <a:gd name="connsiteY44" fmla="*/ 448986 h 456669"/>
                <a:gd name="connsiteX45" fmla="*/ 121717 w 254759"/>
                <a:gd name="connsiteY45" fmla="*/ 448135 h 456669"/>
                <a:gd name="connsiteX46" fmla="*/ 127731 w 254759"/>
                <a:gd name="connsiteY46" fmla="*/ 447784 h 456669"/>
                <a:gd name="connsiteX47" fmla="*/ 133443 w 254759"/>
                <a:gd name="connsiteY47" fmla="*/ 447433 h 456669"/>
                <a:gd name="connsiteX48" fmla="*/ 158849 w 254759"/>
                <a:gd name="connsiteY48" fmla="*/ 417668 h 456669"/>
                <a:gd name="connsiteX49" fmla="*/ 158849 w 254759"/>
                <a:gd name="connsiteY49" fmla="*/ 394216 h 456669"/>
                <a:gd name="connsiteX50" fmla="*/ 164461 w 254759"/>
                <a:gd name="connsiteY50" fmla="*/ 299157 h 456669"/>
                <a:gd name="connsiteX51" fmla="*/ 166215 w 254759"/>
                <a:gd name="connsiteY51" fmla="*/ 283072 h 456669"/>
                <a:gd name="connsiteX52" fmla="*/ 181950 w 254759"/>
                <a:gd name="connsiteY52" fmla="*/ 252956 h 456669"/>
                <a:gd name="connsiteX53" fmla="*/ 201493 w 254759"/>
                <a:gd name="connsiteY53" fmla="*/ 236169 h 456669"/>
                <a:gd name="connsiteX54" fmla="*/ 232511 w 254759"/>
                <a:gd name="connsiteY54" fmla="*/ 211264 h 456669"/>
                <a:gd name="connsiteX55" fmla="*/ 231509 w 254759"/>
                <a:gd name="connsiteY55" fmla="*/ 207806 h 456669"/>
                <a:gd name="connsiteX56" fmla="*/ 229404 w 254759"/>
                <a:gd name="connsiteY56" fmla="*/ 196482 h 456669"/>
                <a:gd name="connsiteX57" fmla="*/ 232711 w 254759"/>
                <a:gd name="connsiteY57" fmla="*/ 167819 h 456669"/>
                <a:gd name="connsiteX58" fmla="*/ 230005 w 254759"/>
                <a:gd name="connsiteY58" fmla="*/ 129735 h 456669"/>
                <a:gd name="connsiteX59" fmla="*/ 228652 w 254759"/>
                <a:gd name="connsiteY59" fmla="*/ 125776 h 456669"/>
                <a:gd name="connsiteX60" fmla="*/ 222589 w 254759"/>
                <a:gd name="connsiteY60" fmla="*/ 98566 h 456669"/>
                <a:gd name="connsiteX61" fmla="*/ 222589 w 254759"/>
                <a:gd name="connsiteY61" fmla="*/ 96963 h 456669"/>
                <a:gd name="connsiteX62" fmla="*/ 254760 w 254759"/>
                <a:gd name="connsiteY62" fmla="*/ 78322 h 456669"/>
                <a:gd name="connsiteX63" fmla="*/ 254108 w 254759"/>
                <a:gd name="connsiteY63" fmla="*/ 76769 h 456669"/>
                <a:gd name="connsiteX64" fmla="*/ 251603 w 254759"/>
                <a:gd name="connsiteY64" fmla="*/ 71457 h 456669"/>
                <a:gd name="connsiteX65" fmla="*/ 242282 w 254759"/>
                <a:gd name="connsiteY65" fmla="*/ 56775 h 45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54759" h="456669">
                  <a:moveTo>
                    <a:pt x="242232" y="56975"/>
                  </a:moveTo>
                  <a:cubicBezTo>
                    <a:pt x="236520" y="48055"/>
                    <a:pt x="230557" y="38835"/>
                    <a:pt x="225295" y="29415"/>
                  </a:cubicBezTo>
                  <a:cubicBezTo>
                    <a:pt x="217478" y="15434"/>
                    <a:pt x="207957" y="6314"/>
                    <a:pt x="194527" y="0"/>
                  </a:cubicBezTo>
                  <a:cubicBezTo>
                    <a:pt x="193074" y="902"/>
                    <a:pt x="191521" y="1804"/>
                    <a:pt x="189967" y="2706"/>
                  </a:cubicBezTo>
                  <a:cubicBezTo>
                    <a:pt x="185608" y="5262"/>
                    <a:pt x="181148" y="7917"/>
                    <a:pt x="176788" y="10874"/>
                  </a:cubicBezTo>
                  <a:lnTo>
                    <a:pt x="176287" y="11225"/>
                  </a:lnTo>
                  <a:cubicBezTo>
                    <a:pt x="160553" y="21848"/>
                    <a:pt x="159250" y="22499"/>
                    <a:pt x="142563" y="20595"/>
                  </a:cubicBezTo>
                  <a:cubicBezTo>
                    <a:pt x="141060" y="26358"/>
                    <a:pt x="139607" y="32120"/>
                    <a:pt x="138254" y="37332"/>
                  </a:cubicBezTo>
                  <a:lnTo>
                    <a:pt x="137953" y="38535"/>
                  </a:lnTo>
                  <a:lnTo>
                    <a:pt x="122770" y="46051"/>
                  </a:lnTo>
                  <a:cubicBezTo>
                    <a:pt x="122569" y="47153"/>
                    <a:pt x="122319" y="48206"/>
                    <a:pt x="122118" y="49208"/>
                  </a:cubicBezTo>
                  <a:cubicBezTo>
                    <a:pt x="121517" y="52064"/>
                    <a:pt x="120966" y="54570"/>
                    <a:pt x="120715" y="57075"/>
                  </a:cubicBezTo>
                  <a:cubicBezTo>
                    <a:pt x="119412" y="69603"/>
                    <a:pt x="121617" y="79525"/>
                    <a:pt x="127179" y="86590"/>
                  </a:cubicBezTo>
                  <a:cubicBezTo>
                    <a:pt x="129635" y="89697"/>
                    <a:pt x="134345" y="91451"/>
                    <a:pt x="139356" y="93305"/>
                  </a:cubicBezTo>
                  <a:cubicBezTo>
                    <a:pt x="141761" y="94207"/>
                    <a:pt x="144267" y="95109"/>
                    <a:pt x="146572" y="96211"/>
                  </a:cubicBezTo>
                  <a:lnTo>
                    <a:pt x="147775" y="96813"/>
                  </a:lnTo>
                  <a:lnTo>
                    <a:pt x="150230" y="109841"/>
                  </a:lnTo>
                  <a:cubicBezTo>
                    <a:pt x="158448" y="111194"/>
                    <a:pt x="166165" y="112497"/>
                    <a:pt x="173381" y="113700"/>
                  </a:cubicBezTo>
                  <a:lnTo>
                    <a:pt x="174734" y="113900"/>
                  </a:lnTo>
                  <a:lnTo>
                    <a:pt x="175335" y="115103"/>
                  </a:lnTo>
                  <a:cubicBezTo>
                    <a:pt x="181399" y="127079"/>
                    <a:pt x="183303" y="137051"/>
                    <a:pt x="181649" y="147424"/>
                  </a:cubicBezTo>
                  <a:cubicBezTo>
                    <a:pt x="179995" y="157747"/>
                    <a:pt x="175235" y="164111"/>
                    <a:pt x="166716" y="167418"/>
                  </a:cubicBezTo>
                  <a:cubicBezTo>
                    <a:pt x="163960" y="168470"/>
                    <a:pt x="161204" y="169823"/>
                    <a:pt x="158548" y="171076"/>
                  </a:cubicBezTo>
                  <a:cubicBezTo>
                    <a:pt x="154890" y="172830"/>
                    <a:pt x="151082" y="174634"/>
                    <a:pt x="147073" y="175937"/>
                  </a:cubicBezTo>
                  <a:cubicBezTo>
                    <a:pt x="137903" y="178893"/>
                    <a:pt x="131339" y="184706"/>
                    <a:pt x="126378" y="194327"/>
                  </a:cubicBezTo>
                  <a:cubicBezTo>
                    <a:pt x="122319" y="202244"/>
                    <a:pt x="117809" y="210061"/>
                    <a:pt x="113499" y="217578"/>
                  </a:cubicBezTo>
                  <a:cubicBezTo>
                    <a:pt x="111695" y="220735"/>
                    <a:pt x="109891" y="223892"/>
                    <a:pt x="108138" y="226999"/>
                  </a:cubicBezTo>
                  <a:lnTo>
                    <a:pt x="107386" y="228302"/>
                  </a:lnTo>
                  <a:lnTo>
                    <a:pt x="105883" y="228302"/>
                  </a:lnTo>
                  <a:cubicBezTo>
                    <a:pt x="103227" y="228502"/>
                    <a:pt x="100671" y="228552"/>
                    <a:pt x="98266" y="228602"/>
                  </a:cubicBezTo>
                  <a:cubicBezTo>
                    <a:pt x="92904" y="228703"/>
                    <a:pt x="88294" y="228803"/>
                    <a:pt x="83834" y="229705"/>
                  </a:cubicBezTo>
                  <a:cubicBezTo>
                    <a:pt x="79525" y="230557"/>
                    <a:pt x="75366" y="232361"/>
                    <a:pt x="71006" y="234215"/>
                  </a:cubicBezTo>
                  <a:cubicBezTo>
                    <a:pt x="69052" y="235066"/>
                    <a:pt x="67148" y="235868"/>
                    <a:pt x="65193" y="236620"/>
                  </a:cubicBezTo>
                  <a:lnTo>
                    <a:pt x="64091" y="237071"/>
                  </a:lnTo>
                  <a:lnTo>
                    <a:pt x="63039" y="236520"/>
                  </a:lnTo>
                  <a:cubicBezTo>
                    <a:pt x="37432" y="223541"/>
                    <a:pt x="17388" y="231809"/>
                    <a:pt x="0" y="262527"/>
                  </a:cubicBezTo>
                  <a:cubicBezTo>
                    <a:pt x="1303" y="266085"/>
                    <a:pt x="2556" y="269693"/>
                    <a:pt x="3808" y="273351"/>
                  </a:cubicBezTo>
                  <a:cubicBezTo>
                    <a:pt x="8268" y="286479"/>
                    <a:pt x="12928" y="300110"/>
                    <a:pt x="21547" y="311334"/>
                  </a:cubicBezTo>
                  <a:cubicBezTo>
                    <a:pt x="36230" y="330526"/>
                    <a:pt x="43646" y="351773"/>
                    <a:pt x="44297" y="376227"/>
                  </a:cubicBezTo>
                  <a:cubicBezTo>
                    <a:pt x="44347" y="378081"/>
                    <a:pt x="44598" y="379935"/>
                    <a:pt x="44849" y="381789"/>
                  </a:cubicBezTo>
                  <a:cubicBezTo>
                    <a:pt x="45099" y="383843"/>
                    <a:pt x="45350" y="385948"/>
                    <a:pt x="45400" y="388003"/>
                  </a:cubicBezTo>
                  <a:cubicBezTo>
                    <a:pt x="46001" y="409550"/>
                    <a:pt x="54570" y="429193"/>
                    <a:pt x="62788" y="448135"/>
                  </a:cubicBezTo>
                  <a:cubicBezTo>
                    <a:pt x="63790" y="450490"/>
                    <a:pt x="64842" y="452795"/>
                    <a:pt x="65845" y="455150"/>
                  </a:cubicBezTo>
                  <a:cubicBezTo>
                    <a:pt x="76819" y="458307"/>
                    <a:pt x="84836" y="455952"/>
                    <a:pt x="93305" y="453446"/>
                  </a:cubicBezTo>
                  <a:cubicBezTo>
                    <a:pt x="100972" y="451141"/>
                    <a:pt x="108639" y="450039"/>
                    <a:pt x="116055" y="448986"/>
                  </a:cubicBezTo>
                  <a:cubicBezTo>
                    <a:pt x="117959" y="448736"/>
                    <a:pt x="119863" y="448435"/>
                    <a:pt x="121717" y="448135"/>
                  </a:cubicBezTo>
                  <a:cubicBezTo>
                    <a:pt x="123772" y="447834"/>
                    <a:pt x="125776" y="447834"/>
                    <a:pt x="127731" y="447784"/>
                  </a:cubicBezTo>
                  <a:cubicBezTo>
                    <a:pt x="129735" y="447784"/>
                    <a:pt x="131639" y="447784"/>
                    <a:pt x="133443" y="447433"/>
                  </a:cubicBezTo>
                  <a:cubicBezTo>
                    <a:pt x="149228" y="444677"/>
                    <a:pt x="158498" y="433803"/>
                    <a:pt x="158849" y="417668"/>
                  </a:cubicBezTo>
                  <a:cubicBezTo>
                    <a:pt x="159049" y="409349"/>
                    <a:pt x="159200" y="401833"/>
                    <a:pt x="158849" y="394216"/>
                  </a:cubicBezTo>
                  <a:cubicBezTo>
                    <a:pt x="157446" y="362196"/>
                    <a:pt x="161054" y="330176"/>
                    <a:pt x="164461" y="299157"/>
                  </a:cubicBezTo>
                  <a:cubicBezTo>
                    <a:pt x="165063" y="293796"/>
                    <a:pt x="165664" y="288434"/>
                    <a:pt x="166215" y="283072"/>
                  </a:cubicBezTo>
                  <a:cubicBezTo>
                    <a:pt x="167618" y="269793"/>
                    <a:pt x="172629" y="260272"/>
                    <a:pt x="181950" y="252956"/>
                  </a:cubicBezTo>
                  <a:cubicBezTo>
                    <a:pt x="188715" y="247694"/>
                    <a:pt x="195179" y="241831"/>
                    <a:pt x="201493" y="236169"/>
                  </a:cubicBezTo>
                  <a:cubicBezTo>
                    <a:pt x="211264" y="227400"/>
                    <a:pt x="221386" y="218330"/>
                    <a:pt x="232511" y="211264"/>
                  </a:cubicBezTo>
                  <a:cubicBezTo>
                    <a:pt x="232210" y="210061"/>
                    <a:pt x="231859" y="208909"/>
                    <a:pt x="231509" y="207806"/>
                  </a:cubicBezTo>
                  <a:cubicBezTo>
                    <a:pt x="230356" y="203948"/>
                    <a:pt x="229304" y="200290"/>
                    <a:pt x="229404" y="196482"/>
                  </a:cubicBezTo>
                  <a:cubicBezTo>
                    <a:pt x="229705" y="185858"/>
                    <a:pt x="230807" y="176488"/>
                    <a:pt x="232711" y="167819"/>
                  </a:cubicBezTo>
                  <a:cubicBezTo>
                    <a:pt x="235367" y="155642"/>
                    <a:pt x="234465" y="143165"/>
                    <a:pt x="230005" y="129735"/>
                  </a:cubicBezTo>
                  <a:lnTo>
                    <a:pt x="228652" y="125776"/>
                  </a:lnTo>
                  <a:cubicBezTo>
                    <a:pt x="225746" y="117408"/>
                    <a:pt x="222790" y="108689"/>
                    <a:pt x="222589" y="98566"/>
                  </a:cubicBezTo>
                  <a:lnTo>
                    <a:pt x="222589" y="96963"/>
                  </a:lnTo>
                  <a:cubicBezTo>
                    <a:pt x="222589" y="96963"/>
                    <a:pt x="254760" y="78322"/>
                    <a:pt x="254760" y="78322"/>
                  </a:cubicBezTo>
                  <a:cubicBezTo>
                    <a:pt x="254559" y="77771"/>
                    <a:pt x="254309" y="77270"/>
                    <a:pt x="254108" y="76769"/>
                  </a:cubicBezTo>
                  <a:cubicBezTo>
                    <a:pt x="253256" y="74614"/>
                    <a:pt x="252555" y="72910"/>
                    <a:pt x="251603" y="71457"/>
                  </a:cubicBezTo>
                  <a:cubicBezTo>
                    <a:pt x="248546" y="66496"/>
                    <a:pt x="245439" y="61635"/>
                    <a:pt x="242282" y="5677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46" name="Полилиния: фигура 145">
              <a:extLst>
                <a:ext uri="{FF2B5EF4-FFF2-40B4-BE49-F238E27FC236}">
                  <a16:creationId xmlns:a16="http://schemas.microsoft.com/office/drawing/2014/main" id="{D00C9FF2-52D8-4F4C-B1A6-D5A83B7994A9}"/>
                </a:ext>
              </a:extLst>
            </p:cNvPr>
            <p:cNvSpPr/>
            <p:nvPr/>
          </p:nvSpPr>
          <p:spPr>
            <a:xfrm>
              <a:off x="1426256" y="4341253"/>
              <a:ext cx="250827" cy="516704"/>
            </a:xfrm>
            <a:custGeom>
              <a:avLst/>
              <a:gdLst>
                <a:gd name="connsiteX0" fmla="*/ 200841 w 201125"/>
                <a:gd name="connsiteY0" fmla="*/ 230012 h 414317"/>
                <a:gd name="connsiteX1" fmla="*/ 191120 w 201125"/>
                <a:gd name="connsiteY1" fmla="*/ 200548 h 414317"/>
                <a:gd name="connsiteX2" fmla="*/ 185458 w 201125"/>
                <a:gd name="connsiteY2" fmla="*/ 194735 h 414317"/>
                <a:gd name="connsiteX3" fmla="*/ 177490 w 201125"/>
                <a:gd name="connsiteY3" fmla="*/ 186116 h 414317"/>
                <a:gd name="connsiteX4" fmla="*/ 174784 w 201125"/>
                <a:gd name="connsiteY4" fmla="*/ 183159 h 414317"/>
                <a:gd name="connsiteX5" fmla="*/ 150030 w 201125"/>
                <a:gd name="connsiteY5" fmla="*/ 170732 h 414317"/>
                <a:gd name="connsiteX6" fmla="*/ 149729 w 201125"/>
                <a:gd name="connsiteY6" fmla="*/ 169980 h 414317"/>
                <a:gd name="connsiteX7" fmla="*/ 150731 w 201125"/>
                <a:gd name="connsiteY7" fmla="*/ 165370 h 414317"/>
                <a:gd name="connsiteX8" fmla="*/ 165664 w 201125"/>
                <a:gd name="connsiteY8" fmla="*/ 130093 h 414317"/>
                <a:gd name="connsiteX9" fmla="*/ 171076 w 201125"/>
                <a:gd name="connsiteY9" fmla="*/ 108295 h 414317"/>
                <a:gd name="connsiteX10" fmla="*/ 167268 w 201125"/>
                <a:gd name="connsiteY10" fmla="*/ 91558 h 414317"/>
                <a:gd name="connsiteX11" fmla="*/ 165764 w 201125"/>
                <a:gd name="connsiteY11" fmla="*/ 85445 h 414317"/>
                <a:gd name="connsiteX12" fmla="*/ 163058 w 201125"/>
                <a:gd name="connsiteY12" fmla="*/ 74470 h 414317"/>
                <a:gd name="connsiteX13" fmla="*/ 160202 w 201125"/>
                <a:gd name="connsiteY13" fmla="*/ 62795 h 414317"/>
                <a:gd name="connsiteX14" fmla="*/ 161806 w 201125"/>
                <a:gd name="connsiteY14" fmla="*/ 61743 h 414317"/>
                <a:gd name="connsiteX15" fmla="*/ 176989 w 201125"/>
                <a:gd name="connsiteY15" fmla="*/ 51721 h 414317"/>
                <a:gd name="connsiteX16" fmla="*/ 180296 w 201125"/>
                <a:gd name="connsiteY16" fmla="*/ 49516 h 414317"/>
                <a:gd name="connsiteX17" fmla="*/ 177340 w 201125"/>
                <a:gd name="connsiteY17" fmla="*/ 42049 h 414317"/>
                <a:gd name="connsiteX18" fmla="*/ 172028 w 201125"/>
                <a:gd name="connsiteY18" fmla="*/ 27267 h 414317"/>
                <a:gd name="connsiteX19" fmla="*/ 157947 w 201125"/>
                <a:gd name="connsiteY19" fmla="*/ 13186 h 414317"/>
                <a:gd name="connsiteX20" fmla="*/ 123922 w 201125"/>
                <a:gd name="connsiteY20" fmla="*/ 8225 h 414317"/>
                <a:gd name="connsiteX21" fmla="*/ 116306 w 201125"/>
                <a:gd name="connsiteY21" fmla="*/ 8225 h 414317"/>
                <a:gd name="connsiteX22" fmla="*/ 76769 w 201125"/>
                <a:gd name="connsiteY22" fmla="*/ 859 h 414317"/>
                <a:gd name="connsiteX23" fmla="*/ 71607 w 201125"/>
                <a:gd name="connsiteY23" fmla="*/ 358 h 414317"/>
                <a:gd name="connsiteX24" fmla="*/ 65895 w 201125"/>
                <a:gd name="connsiteY24" fmla="*/ 5870 h 414317"/>
                <a:gd name="connsiteX25" fmla="*/ 68150 w 201125"/>
                <a:gd name="connsiteY25" fmla="*/ 15842 h 414317"/>
                <a:gd name="connsiteX26" fmla="*/ 74714 w 201125"/>
                <a:gd name="connsiteY26" fmla="*/ 38592 h 414317"/>
                <a:gd name="connsiteX27" fmla="*/ 87141 w 201125"/>
                <a:gd name="connsiteY27" fmla="*/ 58034 h 414317"/>
                <a:gd name="connsiteX28" fmla="*/ 93105 w 201125"/>
                <a:gd name="connsiteY28" fmla="*/ 66302 h 414317"/>
                <a:gd name="connsiteX29" fmla="*/ 94257 w 201125"/>
                <a:gd name="connsiteY29" fmla="*/ 68006 h 414317"/>
                <a:gd name="connsiteX30" fmla="*/ 92904 w 201125"/>
                <a:gd name="connsiteY30" fmla="*/ 69560 h 414317"/>
                <a:gd name="connsiteX31" fmla="*/ 85839 w 201125"/>
                <a:gd name="connsiteY31" fmla="*/ 134252 h 414317"/>
                <a:gd name="connsiteX32" fmla="*/ 85839 w 201125"/>
                <a:gd name="connsiteY32" fmla="*/ 134252 h 414317"/>
                <a:gd name="connsiteX33" fmla="*/ 129184 w 201125"/>
                <a:gd name="connsiteY33" fmla="*/ 161562 h 414317"/>
                <a:gd name="connsiteX34" fmla="*/ 130336 w 201125"/>
                <a:gd name="connsiteY34" fmla="*/ 164117 h 414317"/>
                <a:gd name="connsiteX35" fmla="*/ 127731 w 201125"/>
                <a:gd name="connsiteY35" fmla="*/ 165170 h 414317"/>
                <a:gd name="connsiteX36" fmla="*/ 125726 w 201125"/>
                <a:gd name="connsiteY36" fmla="*/ 166072 h 414317"/>
                <a:gd name="connsiteX37" fmla="*/ 121868 w 201125"/>
                <a:gd name="connsiteY37" fmla="*/ 167425 h 414317"/>
                <a:gd name="connsiteX38" fmla="*/ 91050 w 201125"/>
                <a:gd name="connsiteY38" fmla="*/ 199796 h 414317"/>
                <a:gd name="connsiteX39" fmla="*/ 86791 w 201125"/>
                <a:gd name="connsiteY39" fmla="*/ 238882 h 414317"/>
                <a:gd name="connsiteX40" fmla="*/ 84786 w 201125"/>
                <a:gd name="connsiteY40" fmla="*/ 256170 h 414317"/>
                <a:gd name="connsiteX41" fmla="*/ 84586 w 201125"/>
                <a:gd name="connsiteY41" fmla="*/ 257773 h 414317"/>
                <a:gd name="connsiteX42" fmla="*/ 83133 w 201125"/>
                <a:gd name="connsiteY42" fmla="*/ 258375 h 414317"/>
                <a:gd name="connsiteX43" fmla="*/ 78322 w 201125"/>
                <a:gd name="connsiteY43" fmla="*/ 260479 h 414317"/>
                <a:gd name="connsiteX44" fmla="*/ 68801 w 201125"/>
                <a:gd name="connsiteY44" fmla="*/ 264087 h 414317"/>
                <a:gd name="connsiteX45" fmla="*/ 35829 w 201125"/>
                <a:gd name="connsiteY45" fmla="*/ 271102 h 414317"/>
                <a:gd name="connsiteX46" fmla="*/ 24704 w 201125"/>
                <a:gd name="connsiteY46" fmla="*/ 273408 h 414317"/>
                <a:gd name="connsiteX47" fmla="*/ 24905 w 201125"/>
                <a:gd name="connsiteY47" fmla="*/ 274259 h 414317"/>
                <a:gd name="connsiteX48" fmla="*/ 26608 w 201125"/>
                <a:gd name="connsiteY48" fmla="*/ 283981 h 414317"/>
                <a:gd name="connsiteX49" fmla="*/ 25205 w 201125"/>
                <a:gd name="connsiteY49" fmla="*/ 295606 h 414317"/>
                <a:gd name="connsiteX50" fmla="*/ 24654 w 201125"/>
                <a:gd name="connsiteY50" fmla="*/ 298813 h 414317"/>
                <a:gd name="connsiteX51" fmla="*/ 38835 w 201125"/>
                <a:gd name="connsiteY51" fmla="*/ 323067 h 414317"/>
                <a:gd name="connsiteX52" fmla="*/ 35879 w 201125"/>
                <a:gd name="connsiteY52" fmla="*/ 324169 h 414317"/>
                <a:gd name="connsiteX53" fmla="*/ 28463 w 201125"/>
                <a:gd name="connsiteY53" fmla="*/ 327126 h 414317"/>
                <a:gd name="connsiteX54" fmla="*/ 14682 w 201125"/>
                <a:gd name="connsiteY54" fmla="*/ 332036 h 414317"/>
                <a:gd name="connsiteX55" fmla="*/ 1604 w 201125"/>
                <a:gd name="connsiteY55" fmla="*/ 346117 h 414317"/>
                <a:gd name="connsiteX56" fmla="*/ 251 w 201125"/>
                <a:gd name="connsiteY56" fmla="*/ 355237 h 414317"/>
                <a:gd name="connsiteX57" fmla="*/ 0 w 201125"/>
                <a:gd name="connsiteY57" fmla="*/ 357092 h 414317"/>
                <a:gd name="connsiteX58" fmla="*/ 36580 w 201125"/>
                <a:gd name="connsiteY58" fmla="*/ 388160 h 414317"/>
                <a:gd name="connsiteX59" fmla="*/ 40489 w 201125"/>
                <a:gd name="connsiteY59" fmla="*/ 388761 h 414317"/>
                <a:gd name="connsiteX60" fmla="*/ 53518 w 201125"/>
                <a:gd name="connsiteY60" fmla="*/ 391868 h 414317"/>
                <a:gd name="connsiteX61" fmla="*/ 72008 w 201125"/>
                <a:gd name="connsiteY61" fmla="*/ 403644 h 414317"/>
                <a:gd name="connsiteX62" fmla="*/ 93505 w 201125"/>
                <a:gd name="connsiteY62" fmla="*/ 405748 h 414317"/>
                <a:gd name="connsiteX63" fmla="*/ 102024 w 201125"/>
                <a:gd name="connsiteY63" fmla="*/ 401489 h 414317"/>
                <a:gd name="connsiteX64" fmla="*/ 108088 w 201125"/>
                <a:gd name="connsiteY64" fmla="*/ 398332 h 414317"/>
                <a:gd name="connsiteX65" fmla="*/ 120014 w 201125"/>
                <a:gd name="connsiteY65" fmla="*/ 414317 h 414317"/>
                <a:gd name="connsiteX66" fmla="*/ 167869 w 201125"/>
                <a:gd name="connsiteY66" fmla="*/ 388210 h 414317"/>
                <a:gd name="connsiteX67" fmla="*/ 163309 w 201125"/>
                <a:gd name="connsiteY67" fmla="*/ 361000 h 414317"/>
                <a:gd name="connsiteX68" fmla="*/ 158649 w 201125"/>
                <a:gd name="connsiteY68" fmla="*/ 327376 h 414317"/>
                <a:gd name="connsiteX69" fmla="*/ 158849 w 201125"/>
                <a:gd name="connsiteY69" fmla="*/ 324520 h 414317"/>
                <a:gd name="connsiteX70" fmla="*/ 161705 w 201125"/>
                <a:gd name="connsiteY70" fmla="*/ 324871 h 414317"/>
                <a:gd name="connsiteX71" fmla="*/ 165213 w 201125"/>
                <a:gd name="connsiteY71" fmla="*/ 325171 h 414317"/>
                <a:gd name="connsiteX72" fmla="*/ 172279 w 201125"/>
                <a:gd name="connsiteY72" fmla="*/ 326675 h 414317"/>
                <a:gd name="connsiteX73" fmla="*/ 178843 w 201125"/>
                <a:gd name="connsiteY73" fmla="*/ 333640 h 414317"/>
                <a:gd name="connsiteX74" fmla="*/ 179344 w 201125"/>
                <a:gd name="connsiteY74" fmla="*/ 334341 h 414317"/>
                <a:gd name="connsiteX75" fmla="*/ 189216 w 201125"/>
                <a:gd name="connsiteY75" fmla="*/ 340355 h 414317"/>
                <a:gd name="connsiteX76" fmla="*/ 193475 w 201125"/>
                <a:gd name="connsiteY76" fmla="*/ 333039 h 414317"/>
                <a:gd name="connsiteX77" fmla="*/ 194678 w 201125"/>
                <a:gd name="connsiteY77" fmla="*/ 330182 h 414317"/>
                <a:gd name="connsiteX78" fmla="*/ 195179 w 201125"/>
                <a:gd name="connsiteY78" fmla="*/ 326925 h 414317"/>
                <a:gd name="connsiteX79" fmla="*/ 195480 w 201125"/>
                <a:gd name="connsiteY79" fmla="*/ 323768 h 414317"/>
                <a:gd name="connsiteX80" fmla="*/ 200992 w 201125"/>
                <a:gd name="connsiteY80" fmla="*/ 234823 h 414317"/>
                <a:gd name="connsiteX81" fmla="*/ 200992 w 201125"/>
                <a:gd name="connsiteY81" fmla="*/ 230213 h 414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201125" h="414317">
                  <a:moveTo>
                    <a:pt x="200841" y="230012"/>
                  </a:moveTo>
                  <a:cubicBezTo>
                    <a:pt x="200706" y="216848"/>
                    <a:pt x="197469" y="207027"/>
                    <a:pt x="191120" y="200548"/>
                  </a:cubicBezTo>
                  <a:cubicBezTo>
                    <a:pt x="189516" y="198894"/>
                    <a:pt x="187662" y="196990"/>
                    <a:pt x="185458" y="194735"/>
                  </a:cubicBezTo>
                  <a:cubicBezTo>
                    <a:pt x="182852" y="191979"/>
                    <a:pt x="180296" y="189173"/>
                    <a:pt x="177490" y="186116"/>
                  </a:cubicBezTo>
                  <a:lnTo>
                    <a:pt x="174784" y="183159"/>
                  </a:lnTo>
                  <a:cubicBezTo>
                    <a:pt x="163158" y="186918"/>
                    <a:pt x="154640" y="182658"/>
                    <a:pt x="150030" y="170732"/>
                  </a:cubicBezTo>
                  <a:lnTo>
                    <a:pt x="149729" y="169980"/>
                  </a:lnTo>
                  <a:lnTo>
                    <a:pt x="150731" y="165370"/>
                  </a:lnTo>
                  <a:cubicBezTo>
                    <a:pt x="153187" y="153694"/>
                    <a:pt x="155993" y="140466"/>
                    <a:pt x="165664" y="130093"/>
                  </a:cubicBezTo>
                  <a:cubicBezTo>
                    <a:pt x="171076" y="124280"/>
                    <a:pt x="172830" y="117314"/>
                    <a:pt x="171076" y="108295"/>
                  </a:cubicBezTo>
                  <a:cubicBezTo>
                    <a:pt x="170024" y="102682"/>
                    <a:pt x="168621" y="97020"/>
                    <a:pt x="167268" y="91558"/>
                  </a:cubicBezTo>
                  <a:lnTo>
                    <a:pt x="165764" y="85445"/>
                  </a:lnTo>
                  <a:cubicBezTo>
                    <a:pt x="164912" y="81937"/>
                    <a:pt x="164061" y="78479"/>
                    <a:pt x="163058" y="74470"/>
                  </a:cubicBezTo>
                  <a:lnTo>
                    <a:pt x="160202" y="62795"/>
                  </a:lnTo>
                  <a:lnTo>
                    <a:pt x="161806" y="61743"/>
                  </a:lnTo>
                  <a:cubicBezTo>
                    <a:pt x="166616" y="58586"/>
                    <a:pt x="171577" y="55278"/>
                    <a:pt x="176989" y="51721"/>
                  </a:cubicBezTo>
                  <a:lnTo>
                    <a:pt x="180296" y="49516"/>
                  </a:lnTo>
                  <a:cubicBezTo>
                    <a:pt x="179244" y="46760"/>
                    <a:pt x="178242" y="44304"/>
                    <a:pt x="177340" y="42049"/>
                  </a:cubicBezTo>
                  <a:cubicBezTo>
                    <a:pt x="175085" y="36387"/>
                    <a:pt x="173281" y="31927"/>
                    <a:pt x="172028" y="27267"/>
                  </a:cubicBezTo>
                  <a:cubicBezTo>
                    <a:pt x="170124" y="20251"/>
                    <a:pt x="165915" y="16042"/>
                    <a:pt x="157947" y="13186"/>
                  </a:cubicBezTo>
                  <a:cubicBezTo>
                    <a:pt x="147524" y="9377"/>
                    <a:pt x="136851" y="8475"/>
                    <a:pt x="123922" y="8225"/>
                  </a:cubicBezTo>
                  <a:cubicBezTo>
                    <a:pt x="121417" y="8225"/>
                    <a:pt x="118861" y="8225"/>
                    <a:pt x="116306" y="8225"/>
                  </a:cubicBezTo>
                  <a:cubicBezTo>
                    <a:pt x="103177" y="8325"/>
                    <a:pt x="89647" y="8325"/>
                    <a:pt x="76769" y="859"/>
                  </a:cubicBezTo>
                  <a:cubicBezTo>
                    <a:pt x="75165" y="-93"/>
                    <a:pt x="73361" y="-244"/>
                    <a:pt x="71607" y="358"/>
                  </a:cubicBezTo>
                  <a:cubicBezTo>
                    <a:pt x="69302" y="1109"/>
                    <a:pt x="67198" y="3164"/>
                    <a:pt x="65895" y="5870"/>
                  </a:cubicBezTo>
                  <a:cubicBezTo>
                    <a:pt x="66747" y="9177"/>
                    <a:pt x="67448" y="12534"/>
                    <a:pt x="68150" y="15842"/>
                  </a:cubicBezTo>
                  <a:cubicBezTo>
                    <a:pt x="69904" y="23909"/>
                    <a:pt x="71557" y="31576"/>
                    <a:pt x="74714" y="38592"/>
                  </a:cubicBezTo>
                  <a:cubicBezTo>
                    <a:pt x="77821" y="45507"/>
                    <a:pt x="82531" y="51871"/>
                    <a:pt x="87141" y="58034"/>
                  </a:cubicBezTo>
                  <a:cubicBezTo>
                    <a:pt x="89196" y="60790"/>
                    <a:pt x="91251" y="63546"/>
                    <a:pt x="93105" y="66302"/>
                  </a:cubicBezTo>
                  <a:lnTo>
                    <a:pt x="94257" y="68006"/>
                  </a:lnTo>
                  <a:lnTo>
                    <a:pt x="92904" y="69560"/>
                  </a:lnTo>
                  <a:cubicBezTo>
                    <a:pt x="71257" y="94314"/>
                    <a:pt x="69403" y="110199"/>
                    <a:pt x="85839" y="134252"/>
                  </a:cubicBezTo>
                  <a:lnTo>
                    <a:pt x="85839" y="134252"/>
                  </a:lnTo>
                  <a:cubicBezTo>
                    <a:pt x="106334" y="134252"/>
                    <a:pt x="120866" y="143422"/>
                    <a:pt x="129184" y="161562"/>
                  </a:cubicBezTo>
                  <a:lnTo>
                    <a:pt x="130336" y="164117"/>
                  </a:lnTo>
                  <a:lnTo>
                    <a:pt x="127731" y="165170"/>
                  </a:lnTo>
                  <a:cubicBezTo>
                    <a:pt x="126979" y="165471"/>
                    <a:pt x="126328" y="165771"/>
                    <a:pt x="125726" y="166072"/>
                  </a:cubicBezTo>
                  <a:cubicBezTo>
                    <a:pt x="124373" y="166673"/>
                    <a:pt x="123271" y="167224"/>
                    <a:pt x="121868" y="167425"/>
                  </a:cubicBezTo>
                  <a:cubicBezTo>
                    <a:pt x="103092" y="169895"/>
                    <a:pt x="92819" y="180689"/>
                    <a:pt x="91050" y="199796"/>
                  </a:cubicBezTo>
                  <a:cubicBezTo>
                    <a:pt x="89847" y="212824"/>
                    <a:pt x="88294" y="226053"/>
                    <a:pt x="86791" y="238882"/>
                  </a:cubicBezTo>
                  <a:cubicBezTo>
                    <a:pt x="86089" y="244644"/>
                    <a:pt x="85438" y="250407"/>
                    <a:pt x="84786" y="256170"/>
                  </a:cubicBezTo>
                  <a:lnTo>
                    <a:pt x="84586" y="257773"/>
                  </a:lnTo>
                  <a:lnTo>
                    <a:pt x="83133" y="258375"/>
                  </a:lnTo>
                  <a:cubicBezTo>
                    <a:pt x="81429" y="259076"/>
                    <a:pt x="79825" y="259828"/>
                    <a:pt x="78322" y="260479"/>
                  </a:cubicBezTo>
                  <a:cubicBezTo>
                    <a:pt x="75115" y="261932"/>
                    <a:pt x="72058" y="263335"/>
                    <a:pt x="68801" y="264087"/>
                  </a:cubicBezTo>
                  <a:cubicBezTo>
                    <a:pt x="57927" y="266593"/>
                    <a:pt x="47204" y="268747"/>
                    <a:pt x="35829" y="271102"/>
                  </a:cubicBezTo>
                  <a:cubicBezTo>
                    <a:pt x="32171" y="271854"/>
                    <a:pt x="28463" y="272606"/>
                    <a:pt x="24704" y="273408"/>
                  </a:cubicBezTo>
                  <a:cubicBezTo>
                    <a:pt x="24754" y="273708"/>
                    <a:pt x="24855" y="273959"/>
                    <a:pt x="24905" y="274259"/>
                  </a:cubicBezTo>
                  <a:cubicBezTo>
                    <a:pt x="25707" y="277216"/>
                    <a:pt x="26608" y="280573"/>
                    <a:pt x="26608" y="283981"/>
                  </a:cubicBezTo>
                  <a:cubicBezTo>
                    <a:pt x="26608" y="288040"/>
                    <a:pt x="25857" y="292049"/>
                    <a:pt x="25205" y="295606"/>
                  </a:cubicBezTo>
                  <a:cubicBezTo>
                    <a:pt x="25005" y="296709"/>
                    <a:pt x="24804" y="297761"/>
                    <a:pt x="24654" y="298813"/>
                  </a:cubicBezTo>
                  <a:lnTo>
                    <a:pt x="38835" y="323067"/>
                  </a:lnTo>
                  <a:lnTo>
                    <a:pt x="35879" y="324169"/>
                  </a:lnTo>
                  <a:cubicBezTo>
                    <a:pt x="33223" y="325171"/>
                    <a:pt x="30768" y="326174"/>
                    <a:pt x="28463" y="327126"/>
                  </a:cubicBezTo>
                  <a:cubicBezTo>
                    <a:pt x="23752" y="329080"/>
                    <a:pt x="19292" y="330884"/>
                    <a:pt x="14682" y="332036"/>
                  </a:cubicBezTo>
                  <a:cubicBezTo>
                    <a:pt x="7166" y="333891"/>
                    <a:pt x="3107" y="338200"/>
                    <a:pt x="1604" y="346117"/>
                  </a:cubicBezTo>
                  <a:cubicBezTo>
                    <a:pt x="1002" y="349124"/>
                    <a:pt x="651" y="352231"/>
                    <a:pt x="251" y="355237"/>
                  </a:cubicBezTo>
                  <a:cubicBezTo>
                    <a:pt x="150" y="355839"/>
                    <a:pt x="100" y="356490"/>
                    <a:pt x="0" y="357092"/>
                  </a:cubicBezTo>
                  <a:cubicBezTo>
                    <a:pt x="19292" y="364808"/>
                    <a:pt x="20395" y="365861"/>
                    <a:pt x="36580" y="388160"/>
                  </a:cubicBezTo>
                  <a:cubicBezTo>
                    <a:pt x="37833" y="388360"/>
                    <a:pt x="39136" y="388561"/>
                    <a:pt x="40489" y="388761"/>
                  </a:cubicBezTo>
                  <a:cubicBezTo>
                    <a:pt x="44598" y="389362"/>
                    <a:pt x="49308" y="390014"/>
                    <a:pt x="53518" y="391868"/>
                  </a:cubicBezTo>
                  <a:cubicBezTo>
                    <a:pt x="60483" y="394874"/>
                    <a:pt x="66797" y="399484"/>
                    <a:pt x="72008" y="403644"/>
                  </a:cubicBezTo>
                  <a:cubicBezTo>
                    <a:pt x="78523" y="408755"/>
                    <a:pt x="85337" y="409457"/>
                    <a:pt x="93505" y="405748"/>
                  </a:cubicBezTo>
                  <a:cubicBezTo>
                    <a:pt x="96312" y="404446"/>
                    <a:pt x="99068" y="403042"/>
                    <a:pt x="102024" y="401489"/>
                  </a:cubicBezTo>
                  <a:lnTo>
                    <a:pt x="108088" y="398332"/>
                  </a:lnTo>
                  <a:lnTo>
                    <a:pt x="120014" y="414317"/>
                  </a:lnTo>
                  <a:lnTo>
                    <a:pt x="167869" y="388210"/>
                  </a:lnTo>
                  <a:cubicBezTo>
                    <a:pt x="167869" y="378990"/>
                    <a:pt x="165614" y="370220"/>
                    <a:pt x="163309" y="361000"/>
                  </a:cubicBezTo>
                  <a:cubicBezTo>
                    <a:pt x="160653" y="350377"/>
                    <a:pt x="157897" y="339352"/>
                    <a:pt x="158649" y="327376"/>
                  </a:cubicBezTo>
                  <a:lnTo>
                    <a:pt x="158849" y="324520"/>
                  </a:lnTo>
                  <a:lnTo>
                    <a:pt x="161705" y="324871"/>
                  </a:lnTo>
                  <a:cubicBezTo>
                    <a:pt x="162958" y="325021"/>
                    <a:pt x="164111" y="325121"/>
                    <a:pt x="165213" y="325171"/>
                  </a:cubicBezTo>
                  <a:cubicBezTo>
                    <a:pt x="167769" y="325322"/>
                    <a:pt x="170174" y="325472"/>
                    <a:pt x="172279" y="326675"/>
                  </a:cubicBezTo>
                  <a:cubicBezTo>
                    <a:pt x="175135" y="328328"/>
                    <a:pt x="177089" y="331135"/>
                    <a:pt x="178843" y="333640"/>
                  </a:cubicBezTo>
                  <a:lnTo>
                    <a:pt x="179344" y="334341"/>
                  </a:lnTo>
                  <a:cubicBezTo>
                    <a:pt x="183754" y="340455"/>
                    <a:pt x="186109" y="341908"/>
                    <a:pt x="189216" y="340355"/>
                  </a:cubicBezTo>
                  <a:cubicBezTo>
                    <a:pt x="190920" y="339503"/>
                    <a:pt x="192373" y="335895"/>
                    <a:pt x="193475" y="333039"/>
                  </a:cubicBezTo>
                  <a:cubicBezTo>
                    <a:pt x="193876" y="332036"/>
                    <a:pt x="194277" y="331084"/>
                    <a:pt x="194678" y="330182"/>
                  </a:cubicBezTo>
                  <a:cubicBezTo>
                    <a:pt x="195029" y="329381"/>
                    <a:pt x="195079" y="328178"/>
                    <a:pt x="195179" y="326925"/>
                  </a:cubicBezTo>
                  <a:cubicBezTo>
                    <a:pt x="195229" y="325873"/>
                    <a:pt x="195329" y="324821"/>
                    <a:pt x="195480" y="323768"/>
                  </a:cubicBezTo>
                  <a:cubicBezTo>
                    <a:pt x="201242" y="294704"/>
                    <a:pt x="201393" y="265089"/>
                    <a:pt x="200992" y="234823"/>
                  </a:cubicBezTo>
                  <a:lnTo>
                    <a:pt x="200992" y="23021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47" name="Полилиния: фигура 146">
              <a:extLst>
                <a:ext uri="{FF2B5EF4-FFF2-40B4-BE49-F238E27FC236}">
                  <a16:creationId xmlns:a16="http://schemas.microsoft.com/office/drawing/2014/main" id="{33316B76-A627-42B9-9B08-D66CA15B6446}"/>
                </a:ext>
              </a:extLst>
            </p:cNvPr>
            <p:cNvSpPr/>
            <p:nvPr/>
          </p:nvSpPr>
          <p:spPr>
            <a:xfrm>
              <a:off x="4178215" y="1517083"/>
              <a:ext cx="352963" cy="482431"/>
            </a:xfrm>
            <a:custGeom>
              <a:avLst/>
              <a:gdLst>
                <a:gd name="connsiteX0" fmla="*/ 44198 w 283022"/>
                <a:gd name="connsiteY0" fmla="*/ 95441 h 386835"/>
                <a:gd name="connsiteX1" fmla="*/ 38385 w 283022"/>
                <a:gd name="connsiteY1" fmla="*/ 87324 h 386835"/>
                <a:gd name="connsiteX2" fmla="*/ 9271 w 283022"/>
                <a:gd name="connsiteY2" fmla="*/ 111577 h 386835"/>
                <a:gd name="connsiteX3" fmla="*/ 1905 w 283022"/>
                <a:gd name="connsiteY3" fmla="*/ 152417 h 386835"/>
                <a:gd name="connsiteX4" fmla="*/ 24103 w 283022"/>
                <a:gd name="connsiteY4" fmla="*/ 150512 h 386835"/>
                <a:gd name="connsiteX5" fmla="*/ 31620 w 283022"/>
                <a:gd name="connsiteY5" fmla="*/ 146854 h 386835"/>
                <a:gd name="connsiteX6" fmla="*/ 33825 w 283022"/>
                <a:gd name="connsiteY6" fmla="*/ 146002 h 386835"/>
                <a:gd name="connsiteX7" fmla="*/ 34927 w 283022"/>
                <a:gd name="connsiteY7" fmla="*/ 148107 h 386835"/>
                <a:gd name="connsiteX8" fmla="*/ 34376 w 283022"/>
                <a:gd name="connsiteY8" fmla="*/ 170406 h 386835"/>
                <a:gd name="connsiteX9" fmla="*/ 33023 w 283022"/>
                <a:gd name="connsiteY9" fmla="*/ 174014 h 386835"/>
                <a:gd name="connsiteX10" fmla="*/ 37182 w 283022"/>
                <a:gd name="connsiteY10" fmla="*/ 185289 h 386835"/>
                <a:gd name="connsiteX11" fmla="*/ 45100 w 283022"/>
                <a:gd name="connsiteY11" fmla="*/ 189097 h 386835"/>
                <a:gd name="connsiteX12" fmla="*/ 48357 w 283022"/>
                <a:gd name="connsiteY12" fmla="*/ 190450 h 386835"/>
                <a:gd name="connsiteX13" fmla="*/ 50461 w 283022"/>
                <a:gd name="connsiteY13" fmla="*/ 191402 h 386835"/>
                <a:gd name="connsiteX14" fmla="*/ 39537 w 283022"/>
                <a:gd name="connsiteY14" fmla="*/ 231891 h 386835"/>
                <a:gd name="connsiteX15" fmla="*/ 45501 w 283022"/>
                <a:gd name="connsiteY15" fmla="*/ 242214 h 386835"/>
                <a:gd name="connsiteX16" fmla="*/ 53969 w 283022"/>
                <a:gd name="connsiteY16" fmla="*/ 267018 h 386835"/>
                <a:gd name="connsiteX17" fmla="*/ 53769 w 283022"/>
                <a:gd name="connsiteY17" fmla="*/ 269323 h 386835"/>
                <a:gd name="connsiteX18" fmla="*/ 51464 w 283022"/>
                <a:gd name="connsiteY18" fmla="*/ 269474 h 386835"/>
                <a:gd name="connsiteX19" fmla="*/ 43847 w 283022"/>
                <a:gd name="connsiteY19" fmla="*/ 269775 h 386835"/>
                <a:gd name="connsiteX20" fmla="*/ 28162 w 283022"/>
                <a:gd name="connsiteY20" fmla="*/ 271228 h 386835"/>
                <a:gd name="connsiteX21" fmla="*/ 9571 w 283022"/>
                <a:gd name="connsiteY21" fmla="*/ 284858 h 386835"/>
                <a:gd name="connsiteX22" fmla="*/ 9571 w 283022"/>
                <a:gd name="connsiteY22" fmla="*/ 285008 h 386835"/>
                <a:gd name="connsiteX23" fmla="*/ 25907 w 283022"/>
                <a:gd name="connsiteY23" fmla="*/ 304501 h 386835"/>
                <a:gd name="connsiteX24" fmla="*/ 41793 w 283022"/>
                <a:gd name="connsiteY24" fmla="*/ 317780 h 386835"/>
                <a:gd name="connsiteX25" fmla="*/ 47906 w 283022"/>
                <a:gd name="connsiteY25" fmla="*/ 333966 h 386835"/>
                <a:gd name="connsiteX26" fmla="*/ 49760 w 283022"/>
                <a:gd name="connsiteY26" fmla="*/ 339077 h 386835"/>
                <a:gd name="connsiteX27" fmla="*/ 50111 w 283022"/>
                <a:gd name="connsiteY27" fmla="*/ 339077 h 386835"/>
                <a:gd name="connsiteX28" fmla="*/ 52165 w 283022"/>
                <a:gd name="connsiteY28" fmla="*/ 338776 h 386835"/>
                <a:gd name="connsiteX29" fmla="*/ 79375 w 283022"/>
                <a:gd name="connsiteY29" fmla="*/ 345892 h 386835"/>
                <a:gd name="connsiteX30" fmla="*/ 87443 w 283022"/>
                <a:gd name="connsiteY30" fmla="*/ 360724 h 386835"/>
                <a:gd name="connsiteX31" fmla="*/ 89297 w 283022"/>
                <a:gd name="connsiteY31" fmla="*/ 364182 h 386835"/>
                <a:gd name="connsiteX32" fmla="*/ 94759 w 283022"/>
                <a:gd name="connsiteY32" fmla="*/ 359872 h 386835"/>
                <a:gd name="connsiteX33" fmla="*/ 109892 w 283022"/>
                <a:gd name="connsiteY33" fmla="*/ 354260 h 386835"/>
                <a:gd name="connsiteX34" fmla="*/ 111646 w 283022"/>
                <a:gd name="connsiteY34" fmla="*/ 354711 h 386835"/>
                <a:gd name="connsiteX35" fmla="*/ 111846 w 283022"/>
                <a:gd name="connsiteY35" fmla="*/ 356515 h 386835"/>
                <a:gd name="connsiteX36" fmla="*/ 112448 w 283022"/>
                <a:gd name="connsiteY36" fmla="*/ 362177 h 386835"/>
                <a:gd name="connsiteX37" fmla="*/ 114201 w 283022"/>
                <a:gd name="connsiteY37" fmla="*/ 374855 h 386835"/>
                <a:gd name="connsiteX38" fmla="*/ 117358 w 283022"/>
                <a:gd name="connsiteY38" fmla="*/ 379415 h 386835"/>
                <a:gd name="connsiteX39" fmla="*/ 120365 w 283022"/>
                <a:gd name="connsiteY39" fmla="*/ 379065 h 386835"/>
                <a:gd name="connsiteX40" fmla="*/ 131088 w 283022"/>
                <a:gd name="connsiteY40" fmla="*/ 383274 h 386835"/>
                <a:gd name="connsiteX41" fmla="*/ 140058 w 283022"/>
                <a:gd name="connsiteY41" fmla="*/ 386832 h 386835"/>
                <a:gd name="connsiteX42" fmla="*/ 140209 w 283022"/>
                <a:gd name="connsiteY42" fmla="*/ 386030 h 386835"/>
                <a:gd name="connsiteX43" fmla="*/ 140609 w 283022"/>
                <a:gd name="connsiteY43" fmla="*/ 381320 h 386835"/>
                <a:gd name="connsiteX44" fmla="*/ 134396 w 283022"/>
                <a:gd name="connsiteY44" fmla="*/ 361376 h 386835"/>
                <a:gd name="connsiteX45" fmla="*/ 127280 w 283022"/>
                <a:gd name="connsiteY45" fmla="*/ 318832 h 386835"/>
                <a:gd name="connsiteX46" fmla="*/ 147324 w 283022"/>
                <a:gd name="connsiteY46" fmla="*/ 206836 h 386835"/>
                <a:gd name="connsiteX47" fmla="*/ 160253 w 283022"/>
                <a:gd name="connsiteY47" fmla="*/ 180228 h 386835"/>
                <a:gd name="connsiteX48" fmla="*/ 166817 w 283022"/>
                <a:gd name="connsiteY48" fmla="*/ 168702 h 386835"/>
                <a:gd name="connsiteX49" fmla="*/ 167268 w 283022"/>
                <a:gd name="connsiteY49" fmla="*/ 167800 h 386835"/>
                <a:gd name="connsiteX50" fmla="*/ 168170 w 283022"/>
                <a:gd name="connsiteY50" fmla="*/ 167450 h 386835"/>
                <a:gd name="connsiteX51" fmla="*/ 185157 w 283022"/>
                <a:gd name="connsiteY51" fmla="*/ 147456 h 386835"/>
                <a:gd name="connsiteX52" fmla="*/ 189216 w 283022"/>
                <a:gd name="connsiteY52" fmla="*/ 139488 h 386835"/>
                <a:gd name="connsiteX53" fmla="*/ 193726 w 283022"/>
                <a:gd name="connsiteY53" fmla="*/ 130368 h 386835"/>
                <a:gd name="connsiteX54" fmla="*/ 206204 w 283022"/>
                <a:gd name="connsiteY54" fmla="*/ 110875 h 386835"/>
                <a:gd name="connsiteX55" fmla="*/ 207206 w 283022"/>
                <a:gd name="connsiteY55" fmla="*/ 109973 h 386835"/>
                <a:gd name="connsiteX56" fmla="*/ 208509 w 283022"/>
                <a:gd name="connsiteY56" fmla="*/ 110224 h 386835"/>
                <a:gd name="connsiteX57" fmla="*/ 214672 w 283022"/>
                <a:gd name="connsiteY57" fmla="*/ 111978 h 386835"/>
                <a:gd name="connsiteX58" fmla="*/ 228302 w 283022"/>
                <a:gd name="connsiteY58" fmla="*/ 108971 h 386835"/>
                <a:gd name="connsiteX59" fmla="*/ 221187 w 283022"/>
                <a:gd name="connsiteY59" fmla="*/ 94590 h 386835"/>
                <a:gd name="connsiteX60" fmla="*/ 223041 w 283022"/>
                <a:gd name="connsiteY60" fmla="*/ 93237 h 386835"/>
                <a:gd name="connsiteX61" fmla="*/ 243836 w 283022"/>
                <a:gd name="connsiteY61" fmla="*/ 92585 h 386835"/>
                <a:gd name="connsiteX62" fmla="*/ 253658 w 283022"/>
                <a:gd name="connsiteY62" fmla="*/ 94740 h 386835"/>
                <a:gd name="connsiteX63" fmla="*/ 250301 w 283022"/>
                <a:gd name="connsiteY63" fmla="*/ 90080 h 386835"/>
                <a:gd name="connsiteX64" fmla="*/ 245941 w 283022"/>
                <a:gd name="connsiteY64" fmla="*/ 75898 h 386835"/>
                <a:gd name="connsiteX65" fmla="*/ 246592 w 283022"/>
                <a:gd name="connsiteY65" fmla="*/ 74094 h 386835"/>
                <a:gd name="connsiteX66" fmla="*/ 250551 w 283022"/>
                <a:gd name="connsiteY66" fmla="*/ 74094 h 386835"/>
                <a:gd name="connsiteX67" fmla="*/ 256514 w 283022"/>
                <a:gd name="connsiteY67" fmla="*/ 74094 h 386835"/>
                <a:gd name="connsiteX68" fmla="*/ 264832 w 283022"/>
                <a:gd name="connsiteY68" fmla="*/ 74996 h 386835"/>
                <a:gd name="connsiteX69" fmla="*/ 265835 w 283022"/>
                <a:gd name="connsiteY69" fmla="*/ 75097 h 386835"/>
                <a:gd name="connsiteX70" fmla="*/ 267037 w 283022"/>
                <a:gd name="connsiteY70" fmla="*/ 72641 h 386835"/>
                <a:gd name="connsiteX71" fmla="*/ 271948 w 283022"/>
                <a:gd name="connsiteY71" fmla="*/ 64974 h 386835"/>
                <a:gd name="connsiteX72" fmla="*/ 280517 w 283022"/>
                <a:gd name="connsiteY72" fmla="*/ 59462 h 386835"/>
                <a:gd name="connsiteX73" fmla="*/ 283022 w 283022"/>
                <a:gd name="connsiteY73" fmla="*/ 58109 h 386835"/>
                <a:gd name="connsiteX74" fmla="*/ 280968 w 283022"/>
                <a:gd name="connsiteY74" fmla="*/ 53349 h 386835"/>
                <a:gd name="connsiteX75" fmla="*/ 274804 w 283022"/>
                <a:gd name="connsiteY75" fmla="*/ 40922 h 386835"/>
                <a:gd name="connsiteX76" fmla="*/ 259020 w 283022"/>
                <a:gd name="connsiteY76" fmla="*/ 19725 h 386835"/>
                <a:gd name="connsiteX77" fmla="*/ 252104 w 283022"/>
                <a:gd name="connsiteY77" fmla="*/ 10805 h 386835"/>
                <a:gd name="connsiteX78" fmla="*/ 252004 w 283022"/>
                <a:gd name="connsiteY78" fmla="*/ 10805 h 386835"/>
                <a:gd name="connsiteX79" fmla="*/ 248597 w 283022"/>
                <a:gd name="connsiteY79" fmla="*/ 9903 h 386835"/>
                <a:gd name="connsiteX80" fmla="*/ 206003 w 283022"/>
                <a:gd name="connsiteY80" fmla="*/ 2387 h 386835"/>
                <a:gd name="connsiteX81" fmla="*/ 181600 w 283022"/>
                <a:gd name="connsiteY81" fmla="*/ 1435 h 386835"/>
                <a:gd name="connsiteX82" fmla="*/ 163961 w 283022"/>
                <a:gd name="connsiteY82" fmla="*/ 36662 h 386835"/>
                <a:gd name="connsiteX83" fmla="*/ 161856 w 283022"/>
                <a:gd name="connsiteY83" fmla="*/ 36111 h 386835"/>
                <a:gd name="connsiteX84" fmla="*/ 151032 w 283022"/>
                <a:gd name="connsiteY84" fmla="*/ 32453 h 386835"/>
                <a:gd name="connsiteX85" fmla="*/ 124174 w 283022"/>
                <a:gd name="connsiteY85" fmla="*/ 30499 h 386835"/>
                <a:gd name="connsiteX86" fmla="*/ 126579 w 283022"/>
                <a:gd name="connsiteY86" fmla="*/ 41373 h 386835"/>
                <a:gd name="connsiteX87" fmla="*/ 130487 w 283022"/>
                <a:gd name="connsiteY87" fmla="*/ 49290 h 386835"/>
                <a:gd name="connsiteX88" fmla="*/ 130587 w 283022"/>
                <a:gd name="connsiteY88" fmla="*/ 49941 h 386835"/>
                <a:gd name="connsiteX89" fmla="*/ 130387 w 283022"/>
                <a:gd name="connsiteY89" fmla="*/ 50543 h 386835"/>
                <a:gd name="connsiteX90" fmla="*/ 118160 w 283022"/>
                <a:gd name="connsiteY90" fmla="*/ 66778 h 386835"/>
                <a:gd name="connsiteX91" fmla="*/ 83133 w 283022"/>
                <a:gd name="connsiteY91" fmla="*/ 93838 h 386835"/>
                <a:gd name="connsiteX92" fmla="*/ 64242 w 283022"/>
                <a:gd name="connsiteY92" fmla="*/ 108670 h 386835"/>
                <a:gd name="connsiteX93" fmla="*/ 63841 w 283022"/>
                <a:gd name="connsiteY93" fmla="*/ 108921 h 386835"/>
                <a:gd name="connsiteX94" fmla="*/ 63841 w 283022"/>
                <a:gd name="connsiteY94" fmla="*/ 108921 h 386835"/>
                <a:gd name="connsiteX95" fmla="*/ 61035 w 283022"/>
                <a:gd name="connsiteY95" fmla="*/ 109673 h 386835"/>
                <a:gd name="connsiteX96" fmla="*/ 47104 w 283022"/>
                <a:gd name="connsiteY96" fmla="*/ 112729 h 386835"/>
                <a:gd name="connsiteX97" fmla="*/ 55222 w 283022"/>
                <a:gd name="connsiteY97" fmla="*/ 107718 h 386835"/>
                <a:gd name="connsiteX98" fmla="*/ 44148 w 283022"/>
                <a:gd name="connsiteY98" fmla="*/ 95391 h 386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283022" h="386835">
                  <a:moveTo>
                    <a:pt x="44198" y="95441"/>
                  </a:moveTo>
                  <a:cubicBezTo>
                    <a:pt x="42544" y="92034"/>
                    <a:pt x="41141" y="89027"/>
                    <a:pt x="38385" y="87324"/>
                  </a:cubicBezTo>
                  <a:cubicBezTo>
                    <a:pt x="26058" y="90380"/>
                    <a:pt x="16236" y="98548"/>
                    <a:pt x="9271" y="111577"/>
                  </a:cubicBezTo>
                  <a:cubicBezTo>
                    <a:pt x="2757" y="123754"/>
                    <a:pt x="-3156" y="138035"/>
                    <a:pt x="1905" y="152417"/>
                  </a:cubicBezTo>
                  <a:cubicBezTo>
                    <a:pt x="10373" y="157929"/>
                    <a:pt x="16737" y="154471"/>
                    <a:pt x="24103" y="150512"/>
                  </a:cubicBezTo>
                  <a:cubicBezTo>
                    <a:pt x="26509" y="149210"/>
                    <a:pt x="29014" y="147857"/>
                    <a:pt x="31620" y="146854"/>
                  </a:cubicBezTo>
                  <a:lnTo>
                    <a:pt x="33825" y="146002"/>
                  </a:lnTo>
                  <a:lnTo>
                    <a:pt x="34927" y="148107"/>
                  </a:lnTo>
                  <a:cubicBezTo>
                    <a:pt x="39638" y="157027"/>
                    <a:pt x="36831" y="164142"/>
                    <a:pt x="34376" y="170406"/>
                  </a:cubicBezTo>
                  <a:cubicBezTo>
                    <a:pt x="33925" y="171609"/>
                    <a:pt x="33424" y="172811"/>
                    <a:pt x="33023" y="174014"/>
                  </a:cubicBezTo>
                  <a:cubicBezTo>
                    <a:pt x="31470" y="178574"/>
                    <a:pt x="32873" y="182382"/>
                    <a:pt x="37182" y="185289"/>
                  </a:cubicBezTo>
                  <a:cubicBezTo>
                    <a:pt x="39588" y="186942"/>
                    <a:pt x="42394" y="188045"/>
                    <a:pt x="45100" y="189097"/>
                  </a:cubicBezTo>
                  <a:cubicBezTo>
                    <a:pt x="46252" y="189548"/>
                    <a:pt x="47355" y="189999"/>
                    <a:pt x="48357" y="190450"/>
                  </a:cubicBezTo>
                  <a:lnTo>
                    <a:pt x="50461" y="191402"/>
                  </a:lnTo>
                  <a:lnTo>
                    <a:pt x="39537" y="231891"/>
                  </a:lnTo>
                  <a:cubicBezTo>
                    <a:pt x="41241" y="235599"/>
                    <a:pt x="43396" y="238957"/>
                    <a:pt x="45501" y="242214"/>
                  </a:cubicBezTo>
                  <a:cubicBezTo>
                    <a:pt x="50111" y="249380"/>
                    <a:pt x="54821" y="256796"/>
                    <a:pt x="53969" y="267018"/>
                  </a:cubicBezTo>
                  <a:lnTo>
                    <a:pt x="53769" y="269323"/>
                  </a:lnTo>
                  <a:lnTo>
                    <a:pt x="51464" y="269474"/>
                  </a:lnTo>
                  <a:cubicBezTo>
                    <a:pt x="48908" y="269624"/>
                    <a:pt x="46352" y="269724"/>
                    <a:pt x="43847" y="269775"/>
                  </a:cubicBezTo>
                  <a:cubicBezTo>
                    <a:pt x="38335" y="269925"/>
                    <a:pt x="33073" y="270075"/>
                    <a:pt x="28162" y="271228"/>
                  </a:cubicBezTo>
                  <a:cubicBezTo>
                    <a:pt x="20796" y="272981"/>
                    <a:pt x="15284" y="278644"/>
                    <a:pt x="9571" y="284858"/>
                  </a:cubicBezTo>
                  <a:lnTo>
                    <a:pt x="9571" y="285008"/>
                  </a:lnTo>
                  <a:cubicBezTo>
                    <a:pt x="12177" y="297034"/>
                    <a:pt x="14232" y="303899"/>
                    <a:pt x="25907" y="304501"/>
                  </a:cubicBezTo>
                  <a:cubicBezTo>
                    <a:pt x="36531" y="305052"/>
                    <a:pt x="40490" y="314623"/>
                    <a:pt x="41793" y="317780"/>
                  </a:cubicBezTo>
                  <a:cubicBezTo>
                    <a:pt x="44047" y="323142"/>
                    <a:pt x="46002" y="328654"/>
                    <a:pt x="47906" y="333966"/>
                  </a:cubicBezTo>
                  <a:cubicBezTo>
                    <a:pt x="48507" y="335669"/>
                    <a:pt x="49159" y="337373"/>
                    <a:pt x="49760" y="339077"/>
                  </a:cubicBezTo>
                  <a:cubicBezTo>
                    <a:pt x="49860" y="339077"/>
                    <a:pt x="50010" y="339077"/>
                    <a:pt x="50111" y="339077"/>
                  </a:cubicBezTo>
                  <a:cubicBezTo>
                    <a:pt x="51013" y="339027"/>
                    <a:pt x="51864" y="338926"/>
                    <a:pt x="52165" y="338776"/>
                  </a:cubicBezTo>
                  <a:cubicBezTo>
                    <a:pt x="67950" y="330358"/>
                    <a:pt x="71257" y="331260"/>
                    <a:pt x="79375" y="345892"/>
                  </a:cubicBezTo>
                  <a:cubicBezTo>
                    <a:pt x="82131" y="350853"/>
                    <a:pt x="84837" y="355813"/>
                    <a:pt x="87443" y="360724"/>
                  </a:cubicBezTo>
                  <a:lnTo>
                    <a:pt x="89297" y="364182"/>
                  </a:lnTo>
                  <a:cubicBezTo>
                    <a:pt x="91301" y="363230"/>
                    <a:pt x="93005" y="361576"/>
                    <a:pt x="94759" y="359872"/>
                  </a:cubicBezTo>
                  <a:cubicBezTo>
                    <a:pt x="98216" y="356515"/>
                    <a:pt x="102476" y="352306"/>
                    <a:pt x="109892" y="354260"/>
                  </a:cubicBezTo>
                  <a:lnTo>
                    <a:pt x="111646" y="354711"/>
                  </a:lnTo>
                  <a:lnTo>
                    <a:pt x="111846" y="356515"/>
                  </a:lnTo>
                  <a:cubicBezTo>
                    <a:pt x="112047" y="358419"/>
                    <a:pt x="112247" y="360273"/>
                    <a:pt x="112448" y="362177"/>
                  </a:cubicBezTo>
                  <a:cubicBezTo>
                    <a:pt x="112849" y="366637"/>
                    <a:pt x="113249" y="370796"/>
                    <a:pt x="114201" y="374855"/>
                  </a:cubicBezTo>
                  <a:cubicBezTo>
                    <a:pt x="114552" y="376208"/>
                    <a:pt x="116306" y="378513"/>
                    <a:pt x="117358" y="379415"/>
                  </a:cubicBezTo>
                  <a:cubicBezTo>
                    <a:pt x="118411" y="379165"/>
                    <a:pt x="119413" y="379065"/>
                    <a:pt x="120365" y="379065"/>
                  </a:cubicBezTo>
                  <a:cubicBezTo>
                    <a:pt x="124574" y="379065"/>
                    <a:pt x="127982" y="381270"/>
                    <a:pt x="131088" y="383274"/>
                  </a:cubicBezTo>
                  <a:cubicBezTo>
                    <a:pt x="134095" y="385228"/>
                    <a:pt x="136801" y="386932"/>
                    <a:pt x="140058" y="386832"/>
                  </a:cubicBezTo>
                  <a:cubicBezTo>
                    <a:pt x="140058" y="386581"/>
                    <a:pt x="140159" y="386281"/>
                    <a:pt x="140209" y="386030"/>
                  </a:cubicBezTo>
                  <a:cubicBezTo>
                    <a:pt x="140559" y="384276"/>
                    <a:pt x="140910" y="382572"/>
                    <a:pt x="140609" y="381320"/>
                  </a:cubicBezTo>
                  <a:cubicBezTo>
                    <a:pt x="138906" y="374354"/>
                    <a:pt x="136801" y="367640"/>
                    <a:pt x="134396" y="361376"/>
                  </a:cubicBezTo>
                  <a:cubicBezTo>
                    <a:pt x="128433" y="346092"/>
                    <a:pt x="127481" y="330608"/>
                    <a:pt x="127280" y="318832"/>
                  </a:cubicBezTo>
                  <a:cubicBezTo>
                    <a:pt x="126579" y="279947"/>
                    <a:pt x="136400" y="243667"/>
                    <a:pt x="147324" y="206836"/>
                  </a:cubicBezTo>
                  <a:cubicBezTo>
                    <a:pt x="150131" y="197416"/>
                    <a:pt x="155292" y="188646"/>
                    <a:pt x="160253" y="180228"/>
                  </a:cubicBezTo>
                  <a:cubicBezTo>
                    <a:pt x="162508" y="176419"/>
                    <a:pt x="164763" y="172611"/>
                    <a:pt x="166817" y="168702"/>
                  </a:cubicBezTo>
                  <a:lnTo>
                    <a:pt x="167268" y="167800"/>
                  </a:lnTo>
                  <a:lnTo>
                    <a:pt x="168170" y="167450"/>
                  </a:lnTo>
                  <a:cubicBezTo>
                    <a:pt x="177340" y="163792"/>
                    <a:pt x="181149" y="155874"/>
                    <a:pt x="185157" y="147456"/>
                  </a:cubicBezTo>
                  <a:cubicBezTo>
                    <a:pt x="186460" y="144750"/>
                    <a:pt x="187713" y="142094"/>
                    <a:pt x="189216" y="139488"/>
                  </a:cubicBezTo>
                  <a:cubicBezTo>
                    <a:pt x="190870" y="136582"/>
                    <a:pt x="192323" y="133425"/>
                    <a:pt x="193726" y="130368"/>
                  </a:cubicBezTo>
                  <a:cubicBezTo>
                    <a:pt x="196883" y="123503"/>
                    <a:pt x="200140" y="116337"/>
                    <a:pt x="206204" y="110875"/>
                  </a:cubicBezTo>
                  <a:lnTo>
                    <a:pt x="207206" y="109973"/>
                  </a:lnTo>
                  <a:lnTo>
                    <a:pt x="208509" y="110224"/>
                  </a:lnTo>
                  <a:cubicBezTo>
                    <a:pt x="210613" y="110625"/>
                    <a:pt x="212668" y="111276"/>
                    <a:pt x="214672" y="111978"/>
                  </a:cubicBezTo>
                  <a:cubicBezTo>
                    <a:pt x="220886" y="114032"/>
                    <a:pt x="224744" y="115335"/>
                    <a:pt x="228302" y="108971"/>
                  </a:cubicBezTo>
                  <a:lnTo>
                    <a:pt x="221187" y="94590"/>
                  </a:lnTo>
                  <a:lnTo>
                    <a:pt x="223041" y="93237"/>
                  </a:lnTo>
                  <a:cubicBezTo>
                    <a:pt x="230657" y="87724"/>
                    <a:pt x="237973" y="90430"/>
                    <a:pt x="243836" y="92585"/>
                  </a:cubicBezTo>
                  <a:cubicBezTo>
                    <a:pt x="247394" y="93938"/>
                    <a:pt x="250601" y="95091"/>
                    <a:pt x="253658" y="94740"/>
                  </a:cubicBezTo>
                  <a:cubicBezTo>
                    <a:pt x="253307" y="93136"/>
                    <a:pt x="252104" y="91884"/>
                    <a:pt x="250301" y="90080"/>
                  </a:cubicBezTo>
                  <a:cubicBezTo>
                    <a:pt x="247394" y="87173"/>
                    <a:pt x="243385" y="83164"/>
                    <a:pt x="245941" y="75898"/>
                  </a:cubicBezTo>
                  <a:lnTo>
                    <a:pt x="246592" y="74094"/>
                  </a:lnTo>
                  <a:lnTo>
                    <a:pt x="250551" y="74094"/>
                  </a:lnTo>
                  <a:cubicBezTo>
                    <a:pt x="252405" y="74044"/>
                    <a:pt x="254460" y="73994"/>
                    <a:pt x="256514" y="74094"/>
                  </a:cubicBezTo>
                  <a:cubicBezTo>
                    <a:pt x="259320" y="74295"/>
                    <a:pt x="262126" y="74696"/>
                    <a:pt x="264832" y="74996"/>
                  </a:cubicBezTo>
                  <a:lnTo>
                    <a:pt x="265835" y="75097"/>
                  </a:lnTo>
                  <a:cubicBezTo>
                    <a:pt x="266286" y="74245"/>
                    <a:pt x="266687" y="73443"/>
                    <a:pt x="267037" y="72641"/>
                  </a:cubicBezTo>
                  <a:cubicBezTo>
                    <a:pt x="268440" y="69735"/>
                    <a:pt x="269743" y="67029"/>
                    <a:pt x="271948" y="64974"/>
                  </a:cubicBezTo>
                  <a:cubicBezTo>
                    <a:pt x="274353" y="62720"/>
                    <a:pt x="277210" y="61216"/>
                    <a:pt x="280517" y="59462"/>
                  </a:cubicBezTo>
                  <a:cubicBezTo>
                    <a:pt x="281319" y="59061"/>
                    <a:pt x="282171" y="58610"/>
                    <a:pt x="283022" y="58109"/>
                  </a:cubicBezTo>
                  <a:cubicBezTo>
                    <a:pt x="282321" y="56506"/>
                    <a:pt x="281619" y="54902"/>
                    <a:pt x="280968" y="53349"/>
                  </a:cubicBezTo>
                  <a:cubicBezTo>
                    <a:pt x="279064" y="48789"/>
                    <a:pt x="277260" y="44530"/>
                    <a:pt x="274804" y="40922"/>
                  </a:cubicBezTo>
                  <a:cubicBezTo>
                    <a:pt x="269994" y="33806"/>
                    <a:pt x="264632" y="26991"/>
                    <a:pt x="259020" y="19725"/>
                  </a:cubicBezTo>
                  <a:cubicBezTo>
                    <a:pt x="256765" y="16819"/>
                    <a:pt x="254460" y="13862"/>
                    <a:pt x="252104" y="10805"/>
                  </a:cubicBezTo>
                  <a:cubicBezTo>
                    <a:pt x="252104" y="10805"/>
                    <a:pt x="252054" y="10805"/>
                    <a:pt x="252004" y="10805"/>
                  </a:cubicBezTo>
                  <a:cubicBezTo>
                    <a:pt x="251152" y="10455"/>
                    <a:pt x="249900" y="10054"/>
                    <a:pt x="248597" y="9903"/>
                  </a:cubicBezTo>
                  <a:cubicBezTo>
                    <a:pt x="234215" y="10104"/>
                    <a:pt x="219934" y="7648"/>
                    <a:pt x="206003" y="2387"/>
                  </a:cubicBezTo>
                  <a:cubicBezTo>
                    <a:pt x="198487" y="-419"/>
                    <a:pt x="190269" y="-770"/>
                    <a:pt x="181600" y="1435"/>
                  </a:cubicBezTo>
                  <a:lnTo>
                    <a:pt x="163961" y="36662"/>
                  </a:lnTo>
                  <a:lnTo>
                    <a:pt x="161856" y="36111"/>
                  </a:lnTo>
                  <a:cubicBezTo>
                    <a:pt x="158148" y="35159"/>
                    <a:pt x="154540" y="33806"/>
                    <a:pt x="151032" y="32453"/>
                  </a:cubicBezTo>
                  <a:cubicBezTo>
                    <a:pt x="141912" y="28945"/>
                    <a:pt x="133243" y="25638"/>
                    <a:pt x="124174" y="30499"/>
                  </a:cubicBezTo>
                  <a:cubicBezTo>
                    <a:pt x="122119" y="34457"/>
                    <a:pt x="123722" y="37113"/>
                    <a:pt x="126579" y="41373"/>
                  </a:cubicBezTo>
                  <a:cubicBezTo>
                    <a:pt x="128232" y="43778"/>
                    <a:pt x="129886" y="46283"/>
                    <a:pt x="130487" y="49290"/>
                  </a:cubicBezTo>
                  <a:lnTo>
                    <a:pt x="130587" y="49941"/>
                  </a:lnTo>
                  <a:lnTo>
                    <a:pt x="130387" y="50543"/>
                  </a:lnTo>
                  <a:cubicBezTo>
                    <a:pt x="128032" y="58610"/>
                    <a:pt x="123121" y="63120"/>
                    <a:pt x="118160" y="66778"/>
                  </a:cubicBezTo>
                  <a:cubicBezTo>
                    <a:pt x="106334" y="75548"/>
                    <a:pt x="94508" y="84868"/>
                    <a:pt x="83133" y="93838"/>
                  </a:cubicBezTo>
                  <a:cubicBezTo>
                    <a:pt x="76870" y="98799"/>
                    <a:pt x="70556" y="103760"/>
                    <a:pt x="64242" y="108670"/>
                  </a:cubicBezTo>
                  <a:lnTo>
                    <a:pt x="63841" y="108921"/>
                  </a:lnTo>
                  <a:lnTo>
                    <a:pt x="63841" y="108921"/>
                  </a:lnTo>
                  <a:cubicBezTo>
                    <a:pt x="63841" y="108921"/>
                    <a:pt x="62438" y="109723"/>
                    <a:pt x="61035" y="109673"/>
                  </a:cubicBezTo>
                  <a:lnTo>
                    <a:pt x="47104" y="112729"/>
                  </a:lnTo>
                  <a:lnTo>
                    <a:pt x="55222" y="107718"/>
                  </a:lnTo>
                  <a:cubicBezTo>
                    <a:pt x="48858" y="105113"/>
                    <a:pt x="46302" y="99851"/>
                    <a:pt x="44148" y="9539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48" name="Полилиния: фигура 147">
              <a:extLst>
                <a:ext uri="{FF2B5EF4-FFF2-40B4-BE49-F238E27FC236}">
                  <a16:creationId xmlns:a16="http://schemas.microsoft.com/office/drawing/2014/main" id="{3CE13F1A-8AF7-4093-A0AF-9910B3D4EE9C}"/>
                </a:ext>
              </a:extLst>
            </p:cNvPr>
            <p:cNvSpPr/>
            <p:nvPr/>
          </p:nvSpPr>
          <p:spPr>
            <a:xfrm>
              <a:off x="4237022" y="1651483"/>
              <a:ext cx="17372" cy="6249"/>
            </a:xfrm>
            <a:custGeom>
              <a:avLst/>
              <a:gdLst>
                <a:gd name="connsiteX0" fmla="*/ 13931 w 13930"/>
                <a:gd name="connsiteY0" fmla="*/ 1954 h 5011"/>
                <a:gd name="connsiteX1" fmla="*/ 12377 w 13930"/>
                <a:gd name="connsiteY1" fmla="*/ 1453 h 5011"/>
                <a:gd name="connsiteX2" fmla="*/ 11926 w 13930"/>
                <a:gd name="connsiteY2" fmla="*/ 1102 h 5011"/>
                <a:gd name="connsiteX3" fmla="*/ 9471 w 13930"/>
                <a:gd name="connsiteY3" fmla="*/ 501 h 5011"/>
                <a:gd name="connsiteX4" fmla="*/ 8419 w 13930"/>
                <a:gd name="connsiteY4" fmla="*/ 301 h 5011"/>
                <a:gd name="connsiteX5" fmla="*/ 8569 w 13930"/>
                <a:gd name="connsiteY5" fmla="*/ 200 h 5011"/>
                <a:gd name="connsiteX6" fmla="*/ 8118 w 13930"/>
                <a:gd name="connsiteY6" fmla="*/ 0 h 5011"/>
                <a:gd name="connsiteX7" fmla="*/ 0 w 13930"/>
                <a:gd name="connsiteY7" fmla="*/ 5011 h 5011"/>
                <a:gd name="connsiteX8" fmla="*/ 13931 w 13930"/>
                <a:gd name="connsiteY8" fmla="*/ 1954 h 5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30" h="5011">
                  <a:moveTo>
                    <a:pt x="13931" y="1954"/>
                  </a:moveTo>
                  <a:cubicBezTo>
                    <a:pt x="13380" y="1954"/>
                    <a:pt x="12878" y="1804"/>
                    <a:pt x="12377" y="1453"/>
                  </a:cubicBezTo>
                  <a:lnTo>
                    <a:pt x="11926" y="1102"/>
                  </a:lnTo>
                  <a:cubicBezTo>
                    <a:pt x="11074" y="952"/>
                    <a:pt x="10223" y="702"/>
                    <a:pt x="9471" y="501"/>
                  </a:cubicBezTo>
                  <a:lnTo>
                    <a:pt x="8419" y="301"/>
                  </a:lnTo>
                  <a:lnTo>
                    <a:pt x="8569" y="200"/>
                  </a:lnTo>
                  <a:cubicBezTo>
                    <a:pt x="8569" y="200"/>
                    <a:pt x="8268" y="50"/>
                    <a:pt x="8118" y="0"/>
                  </a:cubicBezTo>
                  <a:lnTo>
                    <a:pt x="0" y="5011"/>
                  </a:lnTo>
                  <a:lnTo>
                    <a:pt x="13931" y="1954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49" name="Полилиния: фигура 148">
              <a:extLst>
                <a:ext uri="{FF2B5EF4-FFF2-40B4-BE49-F238E27FC236}">
                  <a16:creationId xmlns:a16="http://schemas.microsoft.com/office/drawing/2014/main" id="{0C71391B-C103-4B23-BE69-4FF8A46A1F82}"/>
                </a:ext>
              </a:extLst>
            </p:cNvPr>
            <p:cNvSpPr/>
            <p:nvPr/>
          </p:nvSpPr>
          <p:spPr>
            <a:xfrm>
              <a:off x="1558492" y="2858167"/>
              <a:ext cx="317739" cy="400401"/>
            </a:xfrm>
            <a:custGeom>
              <a:avLst/>
              <a:gdLst>
                <a:gd name="connsiteX0" fmla="*/ 23201 w 254778"/>
                <a:gd name="connsiteY0" fmla="*/ 106485 h 321060"/>
                <a:gd name="connsiteX1" fmla="*/ 39286 w 254778"/>
                <a:gd name="connsiteY1" fmla="*/ 123121 h 321060"/>
                <a:gd name="connsiteX2" fmla="*/ 41692 w 254778"/>
                <a:gd name="connsiteY2" fmla="*/ 124675 h 321060"/>
                <a:gd name="connsiteX3" fmla="*/ 70455 w 254778"/>
                <a:gd name="connsiteY3" fmla="*/ 166517 h 321060"/>
                <a:gd name="connsiteX4" fmla="*/ 70856 w 254778"/>
                <a:gd name="connsiteY4" fmla="*/ 168170 h 321060"/>
                <a:gd name="connsiteX5" fmla="*/ 72660 w 254778"/>
                <a:gd name="connsiteY5" fmla="*/ 175987 h 321060"/>
                <a:gd name="connsiteX6" fmla="*/ 66897 w 254778"/>
                <a:gd name="connsiteY6" fmla="*/ 200341 h 321060"/>
                <a:gd name="connsiteX7" fmla="*/ 60132 w 254778"/>
                <a:gd name="connsiteY7" fmla="*/ 216777 h 321060"/>
                <a:gd name="connsiteX8" fmla="*/ 77270 w 254778"/>
                <a:gd name="connsiteY8" fmla="*/ 238725 h 321060"/>
                <a:gd name="connsiteX9" fmla="*/ 83634 w 254778"/>
                <a:gd name="connsiteY9" fmla="*/ 241231 h 321060"/>
                <a:gd name="connsiteX10" fmla="*/ 87793 w 254778"/>
                <a:gd name="connsiteY10" fmla="*/ 242534 h 321060"/>
                <a:gd name="connsiteX11" fmla="*/ 89497 w 254778"/>
                <a:gd name="connsiteY11" fmla="*/ 243135 h 321060"/>
                <a:gd name="connsiteX12" fmla="*/ 89497 w 254778"/>
                <a:gd name="connsiteY12" fmla="*/ 244939 h 321060"/>
                <a:gd name="connsiteX13" fmla="*/ 89697 w 254778"/>
                <a:gd name="connsiteY13" fmla="*/ 253758 h 321060"/>
                <a:gd name="connsiteX14" fmla="*/ 90799 w 254778"/>
                <a:gd name="connsiteY14" fmla="*/ 271297 h 321060"/>
                <a:gd name="connsiteX15" fmla="*/ 96262 w 254778"/>
                <a:gd name="connsiteY15" fmla="*/ 287432 h 321060"/>
                <a:gd name="connsiteX16" fmla="*/ 99619 w 254778"/>
                <a:gd name="connsiteY16" fmla="*/ 295901 h 321060"/>
                <a:gd name="connsiteX17" fmla="*/ 100872 w 254778"/>
                <a:gd name="connsiteY17" fmla="*/ 299258 h 321060"/>
                <a:gd name="connsiteX18" fmla="*/ 97264 w 254778"/>
                <a:gd name="connsiteY18" fmla="*/ 299509 h 321060"/>
                <a:gd name="connsiteX19" fmla="*/ 78573 w 254778"/>
                <a:gd name="connsiteY19" fmla="*/ 313740 h 321060"/>
                <a:gd name="connsiteX20" fmla="*/ 78773 w 254778"/>
                <a:gd name="connsiteY20" fmla="*/ 319753 h 321060"/>
                <a:gd name="connsiteX21" fmla="*/ 83784 w 254778"/>
                <a:gd name="connsiteY21" fmla="*/ 320906 h 321060"/>
                <a:gd name="connsiteX22" fmla="*/ 103227 w 254778"/>
                <a:gd name="connsiteY22" fmla="*/ 310583 h 321060"/>
                <a:gd name="connsiteX23" fmla="*/ 111094 w 254778"/>
                <a:gd name="connsiteY23" fmla="*/ 306174 h 321060"/>
                <a:gd name="connsiteX24" fmla="*/ 112647 w 254778"/>
                <a:gd name="connsiteY24" fmla="*/ 305322 h 321060"/>
                <a:gd name="connsiteX25" fmla="*/ 114051 w 254778"/>
                <a:gd name="connsiteY25" fmla="*/ 306424 h 321060"/>
                <a:gd name="connsiteX26" fmla="*/ 139156 w 254778"/>
                <a:gd name="connsiteY26" fmla="*/ 308729 h 321060"/>
                <a:gd name="connsiteX27" fmla="*/ 158097 w 254778"/>
                <a:gd name="connsiteY27" fmla="*/ 305021 h 321060"/>
                <a:gd name="connsiteX28" fmla="*/ 160753 w 254778"/>
                <a:gd name="connsiteY28" fmla="*/ 304821 h 321060"/>
                <a:gd name="connsiteX29" fmla="*/ 184706 w 254778"/>
                <a:gd name="connsiteY29" fmla="*/ 304620 h 321060"/>
                <a:gd name="connsiteX30" fmla="*/ 202445 w 254778"/>
                <a:gd name="connsiteY30" fmla="*/ 296101 h 321060"/>
                <a:gd name="connsiteX31" fmla="*/ 203698 w 254778"/>
                <a:gd name="connsiteY31" fmla="*/ 294849 h 321060"/>
                <a:gd name="connsiteX32" fmla="*/ 208508 w 254778"/>
                <a:gd name="connsiteY32" fmla="*/ 296703 h 321060"/>
                <a:gd name="connsiteX33" fmla="*/ 215323 w 254778"/>
                <a:gd name="connsiteY33" fmla="*/ 299309 h 321060"/>
                <a:gd name="connsiteX34" fmla="*/ 218530 w 254778"/>
                <a:gd name="connsiteY34" fmla="*/ 300661 h 321060"/>
                <a:gd name="connsiteX35" fmla="*/ 223842 w 254778"/>
                <a:gd name="connsiteY35" fmla="*/ 302766 h 321060"/>
                <a:gd name="connsiteX36" fmla="*/ 239376 w 254778"/>
                <a:gd name="connsiteY36" fmla="*/ 296051 h 321060"/>
                <a:gd name="connsiteX37" fmla="*/ 245991 w 254778"/>
                <a:gd name="connsiteY37" fmla="*/ 276909 h 321060"/>
                <a:gd name="connsiteX38" fmla="*/ 249248 w 254778"/>
                <a:gd name="connsiteY38" fmla="*/ 267088 h 321060"/>
                <a:gd name="connsiteX39" fmla="*/ 245389 w 254778"/>
                <a:gd name="connsiteY39" fmla="*/ 250802 h 321060"/>
                <a:gd name="connsiteX40" fmla="*/ 218480 w 254778"/>
                <a:gd name="connsiteY40" fmla="*/ 216877 h 321060"/>
                <a:gd name="connsiteX41" fmla="*/ 207757 w 254778"/>
                <a:gd name="connsiteY41" fmla="*/ 200692 h 321060"/>
                <a:gd name="connsiteX42" fmla="*/ 206955 w 254778"/>
                <a:gd name="connsiteY42" fmla="*/ 199589 h 321060"/>
                <a:gd name="connsiteX43" fmla="*/ 207356 w 254778"/>
                <a:gd name="connsiteY43" fmla="*/ 198287 h 321060"/>
                <a:gd name="connsiteX44" fmla="*/ 211515 w 254778"/>
                <a:gd name="connsiteY44" fmla="*/ 184657 h 321060"/>
                <a:gd name="connsiteX45" fmla="*/ 237422 w 254778"/>
                <a:gd name="connsiteY45" fmla="*/ 121267 h 321060"/>
                <a:gd name="connsiteX46" fmla="*/ 250550 w 254778"/>
                <a:gd name="connsiteY46" fmla="*/ 99119 h 321060"/>
                <a:gd name="connsiteX47" fmla="*/ 251603 w 254778"/>
                <a:gd name="connsiteY47" fmla="*/ 67198 h 321060"/>
                <a:gd name="connsiteX48" fmla="*/ 238123 w 254778"/>
                <a:gd name="connsiteY48" fmla="*/ 56876 h 321060"/>
                <a:gd name="connsiteX49" fmla="*/ 222038 w 254778"/>
                <a:gd name="connsiteY49" fmla="*/ 54470 h 321060"/>
                <a:gd name="connsiteX50" fmla="*/ 212517 w 254778"/>
                <a:gd name="connsiteY50" fmla="*/ 52817 h 321060"/>
                <a:gd name="connsiteX51" fmla="*/ 210964 w 254778"/>
                <a:gd name="connsiteY51" fmla="*/ 52566 h 321060"/>
                <a:gd name="connsiteX52" fmla="*/ 205151 w 254778"/>
                <a:gd name="connsiteY52" fmla="*/ 52416 h 321060"/>
                <a:gd name="connsiteX53" fmla="*/ 171928 w 254778"/>
                <a:gd name="connsiteY53" fmla="*/ 47706 h 321060"/>
                <a:gd name="connsiteX54" fmla="*/ 160302 w 254778"/>
                <a:gd name="connsiteY54" fmla="*/ 42745 h 321060"/>
                <a:gd name="connsiteX55" fmla="*/ 155291 w 254778"/>
                <a:gd name="connsiteY55" fmla="*/ 41141 h 321060"/>
                <a:gd name="connsiteX56" fmla="*/ 126277 w 254778"/>
                <a:gd name="connsiteY56" fmla="*/ 31320 h 321060"/>
                <a:gd name="connsiteX57" fmla="*/ 110793 w 254778"/>
                <a:gd name="connsiteY57" fmla="*/ 18191 h 321060"/>
                <a:gd name="connsiteX58" fmla="*/ 107987 w 254778"/>
                <a:gd name="connsiteY58" fmla="*/ 12478 h 321060"/>
                <a:gd name="connsiteX59" fmla="*/ 99368 w 254778"/>
                <a:gd name="connsiteY59" fmla="*/ 51 h 321060"/>
                <a:gd name="connsiteX60" fmla="*/ 70605 w 254778"/>
                <a:gd name="connsiteY60" fmla="*/ 7768 h 321060"/>
                <a:gd name="connsiteX61" fmla="*/ 54119 w 254778"/>
                <a:gd name="connsiteY61" fmla="*/ 14232 h 321060"/>
                <a:gd name="connsiteX62" fmla="*/ 38384 w 254778"/>
                <a:gd name="connsiteY62" fmla="*/ 29967 h 321060"/>
                <a:gd name="connsiteX63" fmla="*/ 9471 w 254778"/>
                <a:gd name="connsiteY63" fmla="*/ 74014 h 321060"/>
                <a:gd name="connsiteX64" fmla="*/ 2606 w 254778"/>
                <a:gd name="connsiteY64" fmla="*/ 82632 h 321060"/>
                <a:gd name="connsiteX65" fmla="*/ 0 w 254778"/>
                <a:gd name="connsiteY65" fmla="*/ 86290 h 321060"/>
                <a:gd name="connsiteX66" fmla="*/ 23451 w 254778"/>
                <a:gd name="connsiteY66" fmla="*/ 106385 h 32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54778" h="321060">
                  <a:moveTo>
                    <a:pt x="23201" y="106485"/>
                  </a:moveTo>
                  <a:cubicBezTo>
                    <a:pt x="25707" y="114352"/>
                    <a:pt x="32321" y="118612"/>
                    <a:pt x="39286" y="123121"/>
                  </a:cubicBezTo>
                  <a:lnTo>
                    <a:pt x="41692" y="124675"/>
                  </a:lnTo>
                  <a:cubicBezTo>
                    <a:pt x="63890" y="139307"/>
                    <a:pt x="64442" y="140059"/>
                    <a:pt x="70455" y="166517"/>
                  </a:cubicBezTo>
                  <a:lnTo>
                    <a:pt x="70856" y="168170"/>
                  </a:lnTo>
                  <a:cubicBezTo>
                    <a:pt x="71457" y="170776"/>
                    <a:pt x="72058" y="173382"/>
                    <a:pt x="72660" y="175987"/>
                  </a:cubicBezTo>
                  <a:cubicBezTo>
                    <a:pt x="74865" y="185960"/>
                    <a:pt x="73010" y="193927"/>
                    <a:pt x="66897" y="200341"/>
                  </a:cubicBezTo>
                  <a:cubicBezTo>
                    <a:pt x="61786" y="205703"/>
                    <a:pt x="59481" y="211265"/>
                    <a:pt x="60132" y="216777"/>
                  </a:cubicBezTo>
                  <a:cubicBezTo>
                    <a:pt x="60984" y="224143"/>
                    <a:pt x="67047" y="231961"/>
                    <a:pt x="77270" y="238725"/>
                  </a:cubicBezTo>
                  <a:cubicBezTo>
                    <a:pt x="78973" y="239878"/>
                    <a:pt x="81128" y="240479"/>
                    <a:pt x="83634" y="241231"/>
                  </a:cubicBezTo>
                  <a:cubicBezTo>
                    <a:pt x="84987" y="241632"/>
                    <a:pt x="86340" y="242033"/>
                    <a:pt x="87793" y="242534"/>
                  </a:cubicBezTo>
                  <a:lnTo>
                    <a:pt x="89497" y="243135"/>
                  </a:lnTo>
                  <a:lnTo>
                    <a:pt x="89497" y="244939"/>
                  </a:lnTo>
                  <a:cubicBezTo>
                    <a:pt x="89647" y="247946"/>
                    <a:pt x="89697" y="250902"/>
                    <a:pt x="89697" y="253758"/>
                  </a:cubicBezTo>
                  <a:cubicBezTo>
                    <a:pt x="89697" y="259922"/>
                    <a:pt x="89697" y="265785"/>
                    <a:pt x="90799" y="271297"/>
                  </a:cubicBezTo>
                  <a:cubicBezTo>
                    <a:pt x="91802" y="276559"/>
                    <a:pt x="93956" y="281870"/>
                    <a:pt x="96262" y="287432"/>
                  </a:cubicBezTo>
                  <a:cubicBezTo>
                    <a:pt x="97364" y="290138"/>
                    <a:pt x="98516" y="292945"/>
                    <a:pt x="99619" y="295901"/>
                  </a:cubicBezTo>
                  <a:lnTo>
                    <a:pt x="100872" y="299258"/>
                  </a:lnTo>
                  <a:lnTo>
                    <a:pt x="97264" y="299509"/>
                  </a:lnTo>
                  <a:cubicBezTo>
                    <a:pt x="88043" y="300110"/>
                    <a:pt x="81730" y="304871"/>
                    <a:pt x="78573" y="313740"/>
                  </a:cubicBezTo>
                  <a:cubicBezTo>
                    <a:pt x="77821" y="315795"/>
                    <a:pt x="78072" y="318902"/>
                    <a:pt x="78773" y="319753"/>
                  </a:cubicBezTo>
                  <a:cubicBezTo>
                    <a:pt x="79475" y="320605"/>
                    <a:pt x="82832" y="321407"/>
                    <a:pt x="83784" y="320906"/>
                  </a:cubicBezTo>
                  <a:cubicBezTo>
                    <a:pt x="90298" y="317849"/>
                    <a:pt x="96562" y="314291"/>
                    <a:pt x="103227" y="310583"/>
                  </a:cubicBezTo>
                  <a:cubicBezTo>
                    <a:pt x="105782" y="309130"/>
                    <a:pt x="108438" y="307677"/>
                    <a:pt x="111094" y="306174"/>
                  </a:cubicBezTo>
                  <a:lnTo>
                    <a:pt x="112647" y="305322"/>
                  </a:lnTo>
                  <a:lnTo>
                    <a:pt x="114051" y="306424"/>
                  </a:lnTo>
                  <a:cubicBezTo>
                    <a:pt x="121768" y="312588"/>
                    <a:pt x="129735" y="313339"/>
                    <a:pt x="139156" y="308729"/>
                  </a:cubicBezTo>
                  <a:cubicBezTo>
                    <a:pt x="144918" y="305923"/>
                    <a:pt x="151633" y="305472"/>
                    <a:pt x="158097" y="305021"/>
                  </a:cubicBezTo>
                  <a:lnTo>
                    <a:pt x="160753" y="304821"/>
                  </a:lnTo>
                  <a:cubicBezTo>
                    <a:pt x="168570" y="304219"/>
                    <a:pt x="176638" y="304169"/>
                    <a:pt x="184706" y="304620"/>
                  </a:cubicBezTo>
                  <a:cubicBezTo>
                    <a:pt x="190970" y="305021"/>
                    <a:pt x="196331" y="302466"/>
                    <a:pt x="202445" y="296101"/>
                  </a:cubicBezTo>
                  <a:lnTo>
                    <a:pt x="203698" y="294849"/>
                  </a:lnTo>
                  <a:lnTo>
                    <a:pt x="208508" y="296703"/>
                  </a:lnTo>
                  <a:cubicBezTo>
                    <a:pt x="211114" y="297705"/>
                    <a:pt x="213218" y="298507"/>
                    <a:pt x="215323" y="299309"/>
                  </a:cubicBezTo>
                  <a:cubicBezTo>
                    <a:pt x="216426" y="299760"/>
                    <a:pt x="217478" y="300210"/>
                    <a:pt x="218530" y="300661"/>
                  </a:cubicBezTo>
                  <a:cubicBezTo>
                    <a:pt x="220334" y="301463"/>
                    <a:pt x="222088" y="302215"/>
                    <a:pt x="223842" y="302766"/>
                  </a:cubicBezTo>
                  <a:cubicBezTo>
                    <a:pt x="232912" y="305472"/>
                    <a:pt x="236369" y="303919"/>
                    <a:pt x="239376" y="296051"/>
                  </a:cubicBezTo>
                  <a:cubicBezTo>
                    <a:pt x="241781" y="289788"/>
                    <a:pt x="243936" y="283223"/>
                    <a:pt x="245991" y="276909"/>
                  </a:cubicBezTo>
                  <a:cubicBezTo>
                    <a:pt x="247043" y="273652"/>
                    <a:pt x="248145" y="270345"/>
                    <a:pt x="249248" y="267088"/>
                  </a:cubicBezTo>
                  <a:cubicBezTo>
                    <a:pt x="251553" y="260223"/>
                    <a:pt x="250300" y="254911"/>
                    <a:pt x="245389" y="250802"/>
                  </a:cubicBezTo>
                  <a:cubicBezTo>
                    <a:pt x="234014" y="241231"/>
                    <a:pt x="226448" y="229405"/>
                    <a:pt x="218480" y="216877"/>
                  </a:cubicBezTo>
                  <a:cubicBezTo>
                    <a:pt x="215073" y="211516"/>
                    <a:pt x="211565" y="206004"/>
                    <a:pt x="207757" y="200692"/>
                  </a:cubicBezTo>
                  <a:lnTo>
                    <a:pt x="206955" y="199589"/>
                  </a:lnTo>
                  <a:lnTo>
                    <a:pt x="207356" y="198287"/>
                  </a:lnTo>
                  <a:cubicBezTo>
                    <a:pt x="208759" y="193777"/>
                    <a:pt x="210112" y="189217"/>
                    <a:pt x="211515" y="184657"/>
                  </a:cubicBezTo>
                  <a:cubicBezTo>
                    <a:pt x="217929" y="163209"/>
                    <a:pt x="224593" y="141011"/>
                    <a:pt x="237422" y="121267"/>
                  </a:cubicBezTo>
                  <a:cubicBezTo>
                    <a:pt x="241781" y="114553"/>
                    <a:pt x="246091" y="107287"/>
                    <a:pt x="250550" y="99119"/>
                  </a:cubicBezTo>
                  <a:cubicBezTo>
                    <a:pt x="255812" y="89498"/>
                    <a:pt x="256163" y="79025"/>
                    <a:pt x="251603" y="67198"/>
                  </a:cubicBezTo>
                  <a:cubicBezTo>
                    <a:pt x="249097" y="60584"/>
                    <a:pt x="244938" y="57427"/>
                    <a:pt x="238123" y="56876"/>
                  </a:cubicBezTo>
                  <a:cubicBezTo>
                    <a:pt x="232711" y="56425"/>
                    <a:pt x="227299" y="55423"/>
                    <a:pt x="222038" y="54470"/>
                  </a:cubicBezTo>
                  <a:cubicBezTo>
                    <a:pt x="218881" y="53869"/>
                    <a:pt x="215674" y="53318"/>
                    <a:pt x="212517" y="52817"/>
                  </a:cubicBezTo>
                  <a:lnTo>
                    <a:pt x="210964" y="52566"/>
                  </a:lnTo>
                  <a:cubicBezTo>
                    <a:pt x="208859" y="52216"/>
                    <a:pt x="206253" y="51765"/>
                    <a:pt x="205151" y="52416"/>
                  </a:cubicBezTo>
                  <a:cubicBezTo>
                    <a:pt x="191120" y="60133"/>
                    <a:pt x="180497" y="54370"/>
                    <a:pt x="171928" y="47706"/>
                  </a:cubicBezTo>
                  <a:cubicBezTo>
                    <a:pt x="168871" y="45351"/>
                    <a:pt x="164712" y="44098"/>
                    <a:pt x="160302" y="42745"/>
                  </a:cubicBezTo>
                  <a:cubicBezTo>
                    <a:pt x="158598" y="42244"/>
                    <a:pt x="156895" y="41743"/>
                    <a:pt x="155291" y="41141"/>
                  </a:cubicBezTo>
                  <a:cubicBezTo>
                    <a:pt x="145119" y="37583"/>
                    <a:pt x="135648" y="34376"/>
                    <a:pt x="126277" y="31320"/>
                  </a:cubicBezTo>
                  <a:cubicBezTo>
                    <a:pt x="119513" y="29115"/>
                    <a:pt x="114451" y="24856"/>
                    <a:pt x="110793" y="18191"/>
                  </a:cubicBezTo>
                  <a:cubicBezTo>
                    <a:pt x="109741" y="16337"/>
                    <a:pt x="108889" y="14433"/>
                    <a:pt x="107987" y="12478"/>
                  </a:cubicBezTo>
                  <a:cubicBezTo>
                    <a:pt x="105782" y="7668"/>
                    <a:pt x="103678" y="3058"/>
                    <a:pt x="99368" y="51"/>
                  </a:cubicBezTo>
                  <a:cubicBezTo>
                    <a:pt x="89046" y="-500"/>
                    <a:pt x="80076" y="3509"/>
                    <a:pt x="70605" y="7768"/>
                  </a:cubicBezTo>
                  <a:cubicBezTo>
                    <a:pt x="65344" y="10173"/>
                    <a:pt x="59882" y="12629"/>
                    <a:pt x="54119" y="14232"/>
                  </a:cubicBezTo>
                  <a:cubicBezTo>
                    <a:pt x="46252" y="16437"/>
                    <a:pt x="41090" y="21548"/>
                    <a:pt x="38384" y="29967"/>
                  </a:cubicBezTo>
                  <a:cubicBezTo>
                    <a:pt x="33223" y="45952"/>
                    <a:pt x="23752" y="60333"/>
                    <a:pt x="9471" y="74014"/>
                  </a:cubicBezTo>
                  <a:cubicBezTo>
                    <a:pt x="7166" y="76218"/>
                    <a:pt x="5262" y="78924"/>
                    <a:pt x="2606" y="82632"/>
                  </a:cubicBezTo>
                  <a:cubicBezTo>
                    <a:pt x="1804" y="83785"/>
                    <a:pt x="952" y="84988"/>
                    <a:pt x="0" y="86290"/>
                  </a:cubicBezTo>
                  <a:cubicBezTo>
                    <a:pt x="12978" y="89798"/>
                    <a:pt x="20094" y="95912"/>
                    <a:pt x="23451" y="10638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50" name="Полилиния: фигура 149">
              <a:extLst>
                <a:ext uri="{FF2B5EF4-FFF2-40B4-BE49-F238E27FC236}">
                  <a16:creationId xmlns:a16="http://schemas.microsoft.com/office/drawing/2014/main" id="{403E4545-6187-4DB5-907A-3CC2C8195F99}"/>
                </a:ext>
              </a:extLst>
            </p:cNvPr>
            <p:cNvSpPr/>
            <p:nvPr/>
          </p:nvSpPr>
          <p:spPr>
            <a:xfrm>
              <a:off x="2062250" y="3687707"/>
              <a:ext cx="381147" cy="303905"/>
            </a:xfrm>
            <a:custGeom>
              <a:avLst/>
              <a:gdLst>
                <a:gd name="connsiteX0" fmla="*/ 39487 w 305621"/>
                <a:gd name="connsiteY0" fmla="*/ 233513 h 243685"/>
                <a:gd name="connsiteX1" fmla="*/ 41641 w 305621"/>
                <a:gd name="connsiteY1" fmla="*/ 233714 h 243685"/>
                <a:gd name="connsiteX2" fmla="*/ 83684 w 305621"/>
                <a:gd name="connsiteY2" fmla="*/ 243685 h 243685"/>
                <a:gd name="connsiteX3" fmla="*/ 97314 w 305621"/>
                <a:gd name="connsiteY3" fmla="*/ 222339 h 243685"/>
                <a:gd name="connsiteX4" fmla="*/ 99318 w 305621"/>
                <a:gd name="connsiteY4" fmla="*/ 217378 h 243685"/>
                <a:gd name="connsiteX5" fmla="*/ 109541 w 305621"/>
                <a:gd name="connsiteY5" fmla="*/ 193174 h 243685"/>
                <a:gd name="connsiteX6" fmla="*/ 113149 w 305621"/>
                <a:gd name="connsiteY6" fmla="*/ 184556 h 243685"/>
                <a:gd name="connsiteX7" fmla="*/ 114401 w 305621"/>
                <a:gd name="connsiteY7" fmla="*/ 184205 h 243685"/>
                <a:gd name="connsiteX8" fmla="*/ 117859 w 305621"/>
                <a:gd name="connsiteY8" fmla="*/ 183052 h 243685"/>
                <a:gd name="connsiteX9" fmla="*/ 123521 w 305621"/>
                <a:gd name="connsiteY9" fmla="*/ 181749 h 243685"/>
                <a:gd name="connsiteX10" fmla="*/ 161154 w 305621"/>
                <a:gd name="connsiteY10" fmla="*/ 174283 h 243685"/>
                <a:gd name="connsiteX11" fmla="*/ 181649 w 305621"/>
                <a:gd name="connsiteY11" fmla="*/ 174784 h 243685"/>
                <a:gd name="connsiteX12" fmla="*/ 184706 w 305621"/>
                <a:gd name="connsiteY12" fmla="*/ 175887 h 243685"/>
                <a:gd name="connsiteX13" fmla="*/ 203447 w 305621"/>
                <a:gd name="connsiteY13" fmla="*/ 180998 h 243685"/>
                <a:gd name="connsiteX14" fmla="*/ 225796 w 305621"/>
                <a:gd name="connsiteY14" fmla="*/ 191571 h 243685"/>
                <a:gd name="connsiteX15" fmla="*/ 237622 w 305621"/>
                <a:gd name="connsiteY15" fmla="*/ 202695 h 243685"/>
                <a:gd name="connsiteX16" fmla="*/ 261675 w 305621"/>
                <a:gd name="connsiteY16" fmla="*/ 210112 h 243685"/>
                <a:gd name="connsiteX17" fmla="*/ 270795 w 305621"/>
                <a:gd name="connsiteY17" fmla="*/ 209661 h 243685"/>
                <a:gd name="connsiteX18" fmla="*/ 296802 w 305621"/>
                <a:gd name="connsiteY18" fmla="*/ 189316 h 243685"/>
                <a:gd name="connsiteX19" fmla="*/ 303266 w 305621"/>
                <a:gd name="connsiteY19" fmla="*/ 177089 h 243685"/>
                <a:gd name="connsiteX20" fmla="*/ 305621 w 305621"/>
                <a:gd name="connsiteY20" fmla="*/ 172279 h 243685"/>
                <a:gd name="connsiteX21" fmla="*/ 304569 w 305621"/>
                <a:gd name="connsiteY21" fmla="*/ 169623 h 243685"/>
                <a:gd name="connsiteX22" fmla="*/ 302114 w 305621"/>
                <a:gd name="connsiteY22" fmla="*/ 164461 h 243685"/>
                <a:gd name="connsiteX23" fmla="*/ 289536 w 305621"/>
                <a:gd name="connsiteY23" fmla="*/ 125275 h 243685"/>
                <a:gd name="connsiteX24" fmla="*/ 288935 w 305621"/>
                <a:gd name="connsiteY24" fmla="*/ 119012 h 243685"/>
                <a:gd name="connsiteX25" fmla="*/ 270444 w 305621"/>
                <a:gd name="connsiteY25" fmla="*/ 103678 h 243685"/>
                <a:gd name="connsiteX26" fmla="*/ 267989 w 305621"/>
                <a:gd name="connsiteY26" fmla="*/ 103528 h 243685"/>
                <a:gd name="connsiteX27" fmla="*/ 259169 w 305621"/>
                <a:gd name="connsiteY27" fmla="*/ 103578 h 243685"/>
                <a:gd name="connsiteX28" fmla="*/ 220134 w 305621"/>
                <a:gd name="connsiteY28" fmla="*/ 85488 h 243685"/>
                <a:gd name="connsiteX29" fmla="*/ 211815 w 305621"/>
                <a:gd name="connsiteY29" fmla="*/ 73311 h 243685"/>
                <a:gd name="connsiteX30" fmla="*/ 195279 w 305621"/>
                <a:gd name="connsiteY30" fmla="*/ 61686 h 243685"/>
                <a:gd name="connsiteX31" fmla="*/ 179544 w 305621"/>
                <a:gd name="connsiteY31" fmla="*/ 57276 h 243685"/>
                <a:gd name="connsiteX32" fmla="*/ 172930 w 305621"/>
                <a:gd name="connsiteY32" fmla="*/ 55272 h 243685"/>
                <a:gd name="connsiteX33" fmla="*/ 171677 w 305621"/>
                <a:gd name="connsiteY33" fmla="*/ 54921 h 243685"/>
                <a:gd name="connsiteX34" fmla="*/ 171176 w 305621"/>
                <a:gd name="connsiteY34" fmla="*/ 53668 h 243685"/>
                <a:gd name="connsiteX35" fmla="*/ 169974 w 305621"/>
                <a:gd name="connsiteY35" fmla="*/ 50962 h 243685"/>
                <a:gd name="connsiteX36" fmla="*/ 168220 w 305621"/>
                <a:gd name="connsiteY36" fmla="*/ 45300 h 243685"/>
                <a:gd name="connsiteX37" fmla="*/ 156444 w 305621"/>
                <a:gd name="connsiteY37" fmla="*/ 26859 h 243685"/>
                <a:gd name="connsiteX38" fmla="*/ 133343 w 305621"/>
                <a:gd name="connsiteY38" fmla="*/ 5161 h 243685"/>
                <a:gd name="connsiteX39" fmla="*/ 128633 w 305621"/>
                <a:gd name="connsiteY39" fmla="*/ 952 h 243685"/>
                <a:gd name="connsiteX40" fmla="*/ 127330 w 305621"/>
                <a:gd name="connsiteY40" fmla="*/ 0 h 243685"/>
                <a:gd name="connsiteX41" fmla="*/ 112297 w 305621"/>
                <a:gd name="connsiteY41" fmla="*/ 20846 h 243685"/>
                <a:gd name="connsiteX42" fmla="*/ 93355 w 305621"/>
                <a:gd name="connsiteY42" fmla="*/ 45951 h 243685"/>
                <a:gd name="connsiteX43" fmla="*/ 92052 w 305621"/>
                <a:gd name="connsiteY43" fmla="*/ 47254 h 243685"/>
                <a:gd name="connsiteX44" fmla="*/ 89647 w 305621"/>
                <a:gd name="connsiteY44" fmla="*/ 46202 h 243685"/>
                <a:gd name="connsiteX45" fmla="*/ 46652 w 305621"/>
                <a:gd name="connsiteY45" fmla="*/ 40640 h 243685"/>
                <a:gd name="connsiteX46" fmla="*/ 46652 w 305621"/>
                <a:gd name="connsiteY46" fmla="*/ 42243 h 243685"/>
                <a:gd name="connsiteX47" fmla="*/ 47103 w 305621"/>
                <a:gd name="connsiteY47" fmla="*/ 47805 h 243685"/>
                <a:gd name="connsiteX48" fmla="*/ 46402 w 305621"/>
                <a:gd name="connsiteY48" fmla="*/ 88945 h 243685"/>
                <a:gd name="connsiteX49" fmla="*/ 47554 w 305621"/>
                <a:gd name="connsiteY49" fmla="*/ 114702 h 243685"/>
                <a:gd name="connsiteX50" fmla="*/ 46101 w 305621"/>
                <a:gd name="connsiteY50" fmla="*/ 151282 h 243685"/>
                <a:gd name="connsiteX51" fmla="*/ 41942 w 305621"/>
                <a:gd name="connsiteY51" fmla="*/ 157346 h 243685"/>
                <a:gd name="connsiteX52" fmla="*/ 8018 w 305621"/>
                <a:gd name="connsiteY52" fmla="*/ 194327 h 243685"/>
                <a:gd name="connsiteX53" fmla="*/ 1854 w 305621"/>
                <a:gd name="connsiteY53" fmla="*/ 199939 h 243685"/>
                <a:gd name="connsiteX54" fmla="*/ 0 w 305621"/>
                <a:gd name="connsiteY54" fmla="*/ 201894 h 243685"/>
                <a:gd name="connsiteX55" fmla="*/ 2055 w 305621"/>
                <a:gd name="connsiteY55" fmla="*/ 205101 h 243685"/>
                <a:gd name="connsiteX56" fmla="*/ 7116 w 305621"/>
                <a:gd name="connsiteY56" fmla="*/ 213218 h 243685"/>
                <a:gd name="connsiteX57" fmla="*/ 39386 w 305621"/>
                <a:gd name="connsiteY57" fmla="*/ 233413 h 24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05621" h="243685">
                  <a:moveTo>
                    <a:pt x="39487" y="233513"/>
                  </a:moveTo>
                  <a:lnTo>
                    <a:pt x="41641" y="233714"/>
                  </a:lnTo>
                  <a:cubicBezTo>
                    <a:pt x="55923" y="235117"/>
                    <a:pt x="70705" y="236520"/>
                    <a:pt x="83684" y="243685"/>
                  </a:cubicBezTo>
                  <a:cubicBezTo>
                    <a:pt x="91100" y="237923"/>
                    <a:pt x="94107" y="230306"/>
                    <a:pt x="97314" y="222339"/>
                  </a:cubicBezTo>
                  <a:cubicBezTo>
                    <a:pt x="97965" y="220685"/>
                    <a:pt x="98617" y="219031"/>
                    <a:pt x="99318" y="217378"/>
                  </a:cubicBezTo>
                  <a:cubicBezTo>
                    <a:pt x="102826" y="209210"/>
                    <a:pt x="106283" y="201042"/>
                    <a:pt x="109541" y="193174"/>
                  </a:cubicBezTo>
                  <a:lnTo>
                    <a:pt x="113149" y="184556"/>
                  </a:lnTo>
                  <a:lnTo>
                    <a:pt x="114401" y="184205"/>
                  </a:lnTo>
                  <a:cubicBezTo>
                    <a:pt x="115704" y="183804"/>
                    <a:pt x="116857" y="183403"/>
                    <a:pt x="117859" y="183052"/>
                  </a:cubicBezTo>
                  <a:cubicBezTo>
                    <a:pt x="119863" y="182351"/>
                    <a:pt x="121617" y="181800"/>
                    <a:pt x="123521" y="181749"/>
                  </a:cubicBezTo>
                  <a:cubicBezTo>
                    <a:pt x="139657" y="181900"/>
                    <a:pt x="150932" y="179645"/>
                    <a:pt x="161154" y="174283"/>
                  </a:cubicBezTo>
                  <a:cubicBezTo>
                    <a:pt x="167919" y="170725"/>
                    <a:pt x="174985" y="172429"/>
                    <a:pt x="181649" y="174784"/>
                  </a:cubicBezTo>
                  <a:lnTo>
                    <a:pt x="184706" y="175887"/>
                  </a:lnTo>
                  <a:cubicBezTo>
                    <a:pt x="190869" y="178092"/>
                    <a:pt x="197233" y="180396"/>
                    <a:pt x="203447" y="180998"/>
                  </a:cubicBezTo>
                  <a:cubicBezTo>
                    <a:pt x="212767" y="181850"/>
                    <a:pt x="219883" y="185207"/>
                    <a:pt x="225796" y="191571"/>
                  </a:cubicBezTo>
                  <a:cubicBezTo>
                    <a:pt x="229154" y="195179"/>
                    <a:pt x="233012" y="198787"/>
                    <a:pt x="237622" y="202695"/>
                  </a:cubicBezTo>
                  <a:cubicBezTo>
                    <a:pt x="244437" y="208508"/>
                    <a:pt x="251853" y="210813"/>
                    <a:pt x="261675" y="210112"/>
                  </a:cubicBezTo>
                  <a:cubicBezTo>
                    <a:pt x="265233" y="209861"/>
                    <a:pt x="268239" y="209761"/>
                    <a:pt x="270795" y="209661"/>
                  </a:cubicBezTo>
                  <a:cubicBezTo>
                    <a:pt x="279614" y="209325"/>
                    <a:pt x="288283" y="202545"/>
                    <a:pt x="296802" y="189316"/>
                  </a:cubicBezTo>
                  <a:cubicBezTo>
                    <a:pt x="299258" y="185508"/>
                    <a:pt x="301312" y="181248"/>
                    <a:pt x="303266" y="177089"/>
                  </a:cubicBezTo>
                  <a:cubicBezTo>
                    <a:pt x="304018" y="175436"/>
                    <a:pt x="304820" y="173832"/>
                    <a:pt x="305621" y="172279"/>
                  </a:cubicBezTo>
                  <a:cubicBezTo>
                    <a:pt x="305221" y="171377"/>
                    <a:pt x="304870" y="170475"/>
                    <a:pt x="304569" y="169623"/>
                  </a:cubicBezTo>
                  <a:cubicBezTo>
                    <a:pt x="303717" y="167468"/>
                    <a:pt x="303066" y="165764"/>
                    <a:pt x="302114" y="164461"/>
                  </a:cubicBezTo>
                  <a:cubicBezTo>
                    <a:pt x="292192" y="151082"/>
                    <a:pt x="288183" y="138655"/>
                    <a:pt x="289536" y="125275"/>
                  </a:cubicBezTo>
                  <a:cubicBezTo>
                    <a:pt x="289737" y="123371"/>
                    <a:pt x="289336" y="121267"/>
                    <a:pt x="288935" y="119012"/>
                  </a:cubicBezTo>
                  <a:cubicBezTo>
                    <a:pt x="286730" y="107486"/>
                    <a:pt x="282922" y="104379"/>
                    <a:pt x="270444" y="103678"/>
                  </a:cubicBezTo>
                  <a:lnTo>
                    <a:pt x="267989" y="103528"/>
                  </a:lnTo>
                  <a:cubicBezTo>
                    <a:pt x="264882" y="103327"/>
                    <a:pt x="261925" y="103177"/>
                    <a:pt x="259169" y="103578"/>
                  </a:cubicBezTo>
                  <a:cubicBezTo>
                    <a:pt x="239727" y="106534"/>
                    <a:pt x="227600" y="94708"/>
                    <a:pt x="220134" y="85488"/>
                  </a:cubicBezTo>
                  <a:cubicBezTo>
                    <a:pt x="217127" y="81780"/>
                    <a:pt x="214020" y="77821"/>
                    <a:pt x="211815" y="73311"/>
                  </a:cubicBezTo>
                  <a:cubicBezTo>
                    <a:pt x="208809" y="66997"/>
                    <a:pt x="203848" y="63490"/>
                    <a:pt x="195279" y="61686"/>
                  </a:cubicBezTo>
                  <a:cubicBezTo>
                    <a:pt x="189867" y="60533"/>
                    <a:pt x="184606" y="58879"/>
                    <a:pt x="179544" y="57276"/>
                  </a:cubicBezTo>
                  <a:cubicBezTo>
                    <a:pt x="177340" y="56575"/>
                    <a:pt x="175135" y="55873"/>
                    <a:pt x="172930" y="55272"/>
                  </a:cubicBezTo>
                  <a:lnTo>
                    <a:pt x="171677" y="54921"/>
                  </a:lnTo>
                  <a:lnTo>
                    <a:pt x="171176" y="53668"/>
                  </a:lnTo>
                  <a:cubicBezTo>
                    <a:pt x="170775" y="52666"/>
                    <a:pt x="170374" y="51814"/>
                    <a:pt x="169974" y="50962"/>
                  </a:cubicBezTo>
                  <a:cubicBezTo>
                    <a:pt x="169071" y="49108"/>
                    <a:pt x="168220" y="47304"/>
                    <a:pt x="168220" y="45300"/>
                  </a:cubicBezTo>
                  <a:cubicBezTo>
                    <a:pt x="168220" y="37282"/>
                    <a:pt x="164612" y="31569"/>
                    <a:pt x="156444" y="26859"/>
                  </a:cubicBezTo>
                  <a:cubicBezTo>
                    <a:pt x="146572" y="21147"/>
                    <a:pt x="139005" y="14081"/>
                    <a:pt x="133343" y="5161"/>
                  </a:cubicBezTo>
                  <a:cubicBezTo>
                    <a:pt x="132391" y="3658"/>
                    <a:pt x="130637" y="2405"/>
                    <a:pt x="128633" y="952"/>
                  </a:cubicBezTo>
                  <a:cubicBezTo>
                    <a:pt x="128182" y="651"/>
                    <a:pt x="127781" y="351"/>
                    <a:pt x="127330" y="0"/>
                  </a:cubicBezTo>
                  <a:cubicBezTo>
                    <a:pt x="121567" y="6564"/>
                    <a:pt x="116857" y="13780"/>
                    <a:pt x="112297" y="20846"/>
                  </a:cubicBezTo>
                  <a:cubicBezTo>
                    <a:pt x="106785" y="29365"/>
                    <a:pt x="101072" y="38184"/>
                    <a:pt x="93355" y="45951"/>
                  </a:cubicBezTo>
                  <a:lnTo>
                    <a:pt x="92052" y="47254"/>
                  </a:lnTo>
                  <a:lnTo>
                    <a:pt x="89647" y="46202"/>
                  </a:lnTo>
                  <a:cubicBezTo>
                    <a:pt x="75215" y="39938"/>
                    <a:pt x="61585" y="33975"/>
                    <a:pt x="46652" y="40640"/>
                  </a:cubicBezTo>
                  <a:cubicBezTo>
                    <a:pt x="46652" y="41191"/>
                    <a:pt x="46652" y="41742"/>
                    <a:pt x="46652" y="42243"/>
                  </a:cubicBezTo>
                  <a:cubicBezTo>
                    <a:pt x="46652" y="44398"/>
                    <a:pt x="46652" y="46252"/>
                    <a:pt x="47103" y="47805"/>
                  </a:cubicBezTo>
                  <a:cubicBezTo>
                    <a:pt x="51213" y="61084"/>
                    <a:pt x="50962" y="74514"/>
                    <a:pt x="46402" y="88945"/>
                  </a:cubicBezTo>
                  <a:cubicBezTo>
                    <a:pt x="43596" y="97765"/>
                    <a:pt x="43997" y="106183"/>
                    <a:pt x="47554" y="114702"/>
                  </a:cubicBezTo>
                  <a:cubicBezTo>
                    <a:pt x="53468" y="128733"/>
                    <a:pt x="52966" y="141411"/>
                    <a:pt x="46101" y="151282"/>
                  </a:cubicBezTo>
                  <a:cubicBezTo>
                    <a:pt x="44698" y="153287"/>
                    <a:pt x="43345" y="155291"/>
                    <a:pt x="41942" y="157346"/>
                  </a:cubicBezTo>
                  <a:cubicBezTo>
                    <a:pt x="32672" y="170976"/>
                    <a:pt x="23101" y="185057"/>
                    <a:pt x="8018" y="194327"/>
                  </a:cubicBezTo>
                  <a:cubicBezTo>
                    <a:pt x="5813" y="195680"/>
                    <a:pt x="3909" y="197735"/>
                    <a:pt x="1854" y="199939"/>
                  </a:cubicBezTo>
                  <a:cubicBezTo>
                    <a:pt x="1253" y="200591"/>
                    <a:pt x="651" y="201242"/>
                    <a:pt x="0" y="201894"/>
                  </a:cubicBezTo>
                  <a:cubicBezTo>
                    <a:pt x="701" y="202996"/>
                    <a:pt x="1403" y="204099"/>
                    <a:pt x="2055" y="205101"/>
                  </a:cubicBezTo>
                  <a:cubicBezTo>
                    <a:pt x="3909" y="208007"/>
                    <a:pt x="5562" y="210563"/>
                    <a:pt x="7116" y="213218"/>
                  </a:cubicBezTo>
                  <a:cubicBezTo>
                    <a:pt x="14482" y="225746"/>
                    <a:pt x="24454" y="231960"/>
                    <a:pt x="39386" y="23341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51" name="Полилиния: фигура 150">
              <a:extLst>
                <a:ext uri="{FF2B5EF4-FFF2-40B4-BE49-F238E27FC236}">
                  <a16:creationId xmlns:a16="http://schemas.microsoft.com/office/drawing/2014/main" id="{5A257F5F-41DB-4FEC-BD44-ADD726A5DDA9}"/>
                </a:ext>
              </a:extLst>
            </p:cNvPr>
            <p:cNvSpPr/>
            <p:nvPr/>
          </p:nvSpPr>
          <p:spPr>
            <a:xfrm>
              <a:off x="1547619" y="3482488"/>
              <a:ext cx="259784" cy="300020"/>
            </a:xfrm>
            <a:custGeom>
              <a:avLst/>
              <a:gdLst>
                <a:gd name="connsiteX0" fmla="*/ 178242 w 208307"/>
                <a:gd name="connsiteY0" fmla="*/ 198929 h 240570"/>
                <a:gd name="connsiteX1" fmla="*/ 187312 w 208307"/>
                <a:gd name="connsiteY1" fmla="*/ 184046 h 240570"/>
                <a:gd name="connsiteX2" fmla="*/ 187412 w 208307"/>
                <a:gd name="connsiteY2" fmla="*/ 176530 h 240570"/>
                <a:gd name="connsiteX3" fmla="*/ 182351 w 208307"/>
                <a:gd name="connsiteY3" fmla="*/ 133786 h 240570"/>
                <a:gd name="connsiteX4" fmla="*/ 179795 w 208307"/>
                <a:gd name="connsiteY4" fmla="*/ 124165 h 240570"/>
                <a:gd name="connsiteX5" fmla="*/ 179043 w 208307"/>
                <a:gd name="connsiteY5" fmla="*/ 120657 h 240570"/>
                <a:gd name="connsiteX6" fmla="*/ 178793 w 208307"/>
                <a:gd name="connsiteY6" fmla="*/ 119504 h 240570"/>
                <a:gd name="connsiteX7" fmla="*/ 179444 w 208307"/>
                <a:gd name="connsiteY7" fmla="*/ 118502 h 240570"/>
                <a:gd name="connsiteX8" fmla="*/ 189116 w 208307"/>
                <a:gd name="connsiteY8" fmla="*/ 80769 h 240570"/>
                <a:gd name="connsiteX9" fmla="*/ 188815 w 208307"/>
                <a:gd name="connsiteY9" fmla="*/ 79467 h 240570"/>
                <a:gd name="connsiteX10" fmla="*/ 189667 w 208307"/>
                <a:gd name="connsiteY10" fmla="*/ 78414 h 240570"/>
                <a:gd name="connsiteX11" fmla="*/ 208308 w 208307"/>
                <a:gd name="connsiteY11" fmla="*/ 45943 h 240570"/>
                <a:gd name="connsiteX12" fmla="*/ 179094 w 208307"/>
                <a:gd name="connsiteY12" fmla="*/ 28505 h 240570"/>
                <a:gd name="connsiteX13" fmla="*/ 175987 w 208307"/>
                <a:gd name="connsiteY13" fmla="*/ 29657 h 240570"/>
                <a:gd name="connsiteX14" fmla="*/ 166416 w 208307"/>
                <a:gd name="connsiteY14" fmla="*/ 32614 h 240570"/>
                <a:gd name="connsiteX15" fmla="*/ 131188 w 208307"/>
                <a:gd name="connsiteY15" fmla="*/ 18282 h 240570"/>
                <a:gd name="connsiteX16" fmla="*/ 125275 w 208307"/>
                <a:gd name="connsiteY16" fmla="*/ 9663 h 240570"/>
                <a:gd name="connsiteX17" fmla="*/ 123972 w 208307"/>
                <a:gd name="connsiteY17" fmla="*/ 7959 h 240570"/>
                <a:gd name="connsiteX18" fmla="*/ 113600 w 208307"/>
                <a:gd name="connsiteY18" fmla="*/ 5805 h 240570"/>
                <a:gd name="connsiteX19" fmla="*/ 88344 w 208307"/>
                <a:gd name="connsiteY19" fmla="*/ 393 h 240570"/>
                <a:gd name="connsiteX20" fmla="*/ 74714 w 208307"/>
                <a:gd name="connsiteY20" fmla="*/ 3349 h 240570"/>
                <a:gd name="connsiteX21" fmla="*/ 24253 w 208307"/>
                <a:gd name="connsiteY21" fmla="*/ 47546 h 240570"/>
                <a:gd name="connsiteX22" fmla="*/ 18441 w 208307"/>
                <a:gd name="connsiteY22" fmla="*/ 69344 h 240570"/>
                <a:gd name="connsiteX23" fmla="*/ 23001 w 208307"/>
                <a:gd name="connsiteY23" fmla="*/ 97456 h 240570"/>
                <a:gd name="connsiteX24" fmla="*/ 23201 w 208307"/>
                <a:gd name="connsiteY24" fmla="*/ 108831 h 240570"/>
                <a:gd name="connsiteX25" fmla="*/ 23101 w 208307"/>
                <a:gd name="connsiteY25" fmla="*/ 113592 h 240570"/>
                <a:gd name="connsiteX26" fmla="*/ 23101 w 208307"/>
                <a:gd name="connsiteY26" fmla="*/ 114995 h 240570"/>
                <a:gd name="connsiteX27" fmla="*/ 0 w 208307"/>
                <a:gd name="connsiteY27" fmla="*/ 131431 h 240570"/>
                <a:gd name="connsiteX28" fmla="*/ 2205 w 208307"/>
                <a:gd name="connsiteY28" fmla="*/ 135690 h 240570"/>
                <a:gd name="connsiteX29" fmla="*/ 7717 w 208307"/>
                <a:gd name="connsiteY29" fmla="*/ 149771 h 240570"/>
                <a:gd name="connsiteX30" fmla="*/ 6514 w 208307"/>
                <a:gd name="connsiteY30" fmla="*/ 166608 h 240570"/>
                <a:gd name="connsiteX31" fmla="*/ 5612 w 208307"/>
                <a:gd name="connsiteY31" fmla="*/ 172271 h 240570"/>
                <a:gd name="connsiteX32" fmla="*/ 9721 w 208307"/>
                <a:gd name="connsiteY32" fmla="*/ 174926 h 240570"/>
                <a:gd name="connsiteX33" fmla="*/ 20345 w 208307"/>
                <a:gd name="connsiteY33" fmla="*/ 180889 h 240570"/>
                <a:gd name="connsiteX34" fmla="*/ 46252 w 208307"/>
                <a:gd name="connsiteY34" fmla="*/ 206446 h 240570"/>
                <a:gd name="connsiteX35" fmla="*/ 51664 w 208307"/>
                <a:gd name="connsiteY35" fmla="*/ 216468 h 240570"/>
                <a:gd name="connsiteX36" fmla="*/ 52415 w 208307"/>
                <a:gd name="connsiteY36" fmla="*/ 217620 h 240570"/>
                <a:gd name="connsiteX37" fmla="*/ 55823 w 208307"/>
                <a:gd name="connsiteY37" fmla="*/ 222030 h 240570"/>
                <a:gd name="connsiteX38" fmla="*/ 56374 w 208307"/>
                <a:gd name="connsiteY38" fmla="*/ 222030 h 240570"/>
                <a:gd name="connsiteX39" fmla="*/ 72459 w 208307"/>
                <a:gd name="connsiteY39" fmla="*/ 234858 h 240570"/>
                <a:gd name="connsiteX40" fmla="*/ 75716 w 208307"/>
                <a:gd name="connsiteY40" fmla="*/ 240571 h 240570"/>
                <a:gd name="connsiteX41" fmla="*/ 78021 w 208307"/>
                <a:gd name="connsiteY41" fmla="*/ 240069 h 240570"/>
                <a:gd name="connsiteX42" fmla="*/ 85087 w 208307"/>
                <a:gd name="connsiteY42" fmla="*/ 238215 h 240570"/>
                <a:gd name="connsiteX43" fmla="*/ 161605 w 208307"/>
                <a:gd name="connsiteY43" fmla="*/ 207197 h 240570"/>
                <a:gd name="connsiteX44" fmla="*/ 178141 w 208307"/>
                <a:gd name="connsiteY44" fmla="*/ 198779 h 240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08307" h="240570">
                  <a:moveTo>
                    <a:pt x="178242" y="198929"/>
                  </a:moveTo>
                  <a:cubicBezTo>
                    <a:pt x="184305" y="195572"/>
                    <a:pt x="187262" y="190711"/>
                    <a:pt x="187312" y="184046"/>
                  </a:cubicBezTo>
                  <a:cubicBezTo>
                    <a:pt x="187312" y="181541"/>
                    <a:pt x="187362" y="179035"/>
                    <a:pt x="187412" y="176530"/>
                  </a:cubicBezTo>
                  <a:cubicBezTo>
                    <a:pt x="187662" y="161597"/>
                    <a:pt x="187963" y="147516"/>
                    <a:pt x="182351" y="133786"/>
                  </a:cubicBezTo>
                  <a:cubicBezTo>
                    <a:pt x="181048" y="130579"/>
                    <a:pt x="180396" y="127171"/>
                    <a:pt x="179795" y="124165"/>
                  </a:cubicBezTo>
                  <a:cubicBezTo>
                    <a:pt x="179545" y="122912"/>
                    <a:pt x="179344" y="121760"/>
                    <a:pt x="179043" y="120657"/>
                  </a:cubicBezTo>
                  <a:lnTo>
                    <a:pt x="178793" y="119504"/>
                  </a:lnTo>
                  <a:lnTo>
                    <a:pt x="179444" y="118502"/>
                  </a:lnTo>
                  <a:cubicBezTo>
                    <a:pt x="188629" y="104772"/>
                    <a:pt x="191857" y="92194"/>
                    <a:pt x="189116" y="80769"/>
                  </a:cubicBezTo>
                  <a:lnTo>
                    <a:pt x="188815" y="79467"/>
                  </a:lnTo>
                  <a:lnTo>
                    <a:pt x="189667" y="78414"/>
                  </a:lnTo>
                  <a:cubicBezTo>
                    <a:pt x="196532" y="69946"/>
                    <a:pt x="204098" y="59773"/>
                    <a:pt x="208308" y="45943"/>
                  </a:cubicBezTo>
                  <a:cubicBezTo>
                    <a:pt x="198185" y="38426"/>
                    <a:pt x="188865" y="32864"/>
                    <a:pt x="179094" y="28505"/>
                  </a:cubicBezTo>
                  <a:cubicBezTo>
                    <a:pt x="178041" y="28855"/>
                    <a:pt x="176989" y="29256"/>
                    <a:pt x="175987" y="29657"/>
                  </a:cubicBezTo>
                  <a:cubicBezTo>
                    <a:pt x="172930" y="30810"/>
                    <a:pt x="169723" y="31962"/>
                    <a:pt x="166416" y="32614"/>
                  </a:cubicBezTo>
                  <a:cubicBezTo>
                    <a:pt x="150431" y="35770"/>
                    <a:pt x="138554" y="31010"/>
                    <a:pt x="131188" y="18282"/>
                  </a:cubicBezTo>
                  <a:cubicBezTo>
                    <a:pt x="129334" y="15075"/>
                    <a:pt x="127079" y="12068"/>
                    <a:pt x="125275" y="9663"/>
                  </a:cubicBezTo>
                  <a:cubicBezTo>
                    <a:pt x="124824" y="9062"/>
                    <a:pt x="124373" y="8461"/>
                    <a:pt x="123972" y="7959"/>
                  </a:cubicBezTo>
                  <a:lnTo>
                    <a:pt x="113600" y="5805"/>
                  </a:lnTo>
                  <a:cubicBezTo>
                    <a:pt x="104780" y="4001"/>
                    <a:pt x="96462" y="2297"/>
                    <a:pt x="88344" y="393"/>
                  </a:cubicBezTo>
                  <a:cubicBezTo>
                    <a:pt x="83333" y="-760"/>
                    <a:pt x="79274" y="743"/>
                    <a:pt x="74714" y="3349"/>
                  </a:cubicBezTo>
                  <a:cubicBezTo>
                    <a:pt x="56123" y="14273"/>
                    <a:pt x="39637" y="28755"/>
                    <a:pt x="24253" y="47546"/>
                  </a:cubicBezTo>
                  <a:cubicBezTo>
                    <a:pt x="18691" y="54412"/>
                    <a:pt x="16887" y="61126"/>
                    <a:pt x="18441" y="69344"/>
                  </a:cubicBezTo>
                  <a:cubicBezTo>
                    <a:pt x="19994" y="77562"/>
                    <a:pt x="21798" y="87334"/>
                    <a:pt x="23001" y="97456"/>
                  </a:cubicBezTo>
                  <a:cubicBezTo>
                    <a:pt x="23452" y="101315"/>
                    <a:pt x="23351" y="105123"/>
                    <a:pt x="23201" y="108831"/>
                  </a:cubicBezTo>
                  <a:cubicBezTo>
                    <a:pt x="23151" y="110435"/>
                    <a:pt x="23101" y="112038"/>
                    <a:pt x="23101" y="113592"/>
                  </a:cubicBezTo>
                  <a:lnTo>
                    <a:pt x="23101" y="114995"/>
                  </a:lnTo>
                  <a:lnTo>
                    <a:pt x="0" y="131431"/>
                  </a:lnTo>
                  <a:cubicBezTo>
                    <a:pt x="752" y="132884"/>
                    <a:pt x="1503" y="134337"/>
                    <a:pt x="2205" y="135690"/>
                  </a:cubicBezTo>
                  <a:cubicBezTo>
                    <a:pt x="4710" y="140400"/>
                    <a:pt x="7116" y="144860"/>
                    <a:pt x="7717" y="149771"/>
                  </a:cubicBezTo>
                  <a:cubicBezTo>
                    <a:pt x="8419" y="155283"/>
                    <a:pt x="7466" y="160795"/>
                    <a:pt x="6514" y="166608"/>
                  </a:cubicBezTo>
                  <a:cubicBezTo>
                    <a:pt x="6214" y="168462"/>
                    <a:pt x="5863" y="170366"/>
                    <a:pt x="5612" y="172271"/>
                  </a:cubicBezTo>
                  <a:cubicBezTo>
                    <a:pt x="7015" y="173122"/>
                    <a:pt x="8419" y="174024"/>
                    <a:pt x="9721" y="174926"/>
                  </a:cubicBezTo>
                  <a:cubicBezTo>
                    <a:pt x="13329" y="177282"/>
                    <a:pt x="16787" y="179536"/>
                    <a:pt x="20345" y="180889"/>
                  </a:cubicBezTo>
                  <a:cubicBezTo>
                    <a:pt x="31870" y="185249"/>
                    <a:pt x="40088" y="193417"/>
                    <a:pt x="46252" y="206446"/>
                  </a:cubicBezTo>
                  <a:cubicBezTo>
                    <a:pt x="47705" y="209553"/>
                    <a:pt x="49509" y="213210"/>
                    <a:pt x="51664" y="216468"/>
                  </a:cubicBezTo>
                  <a:lnTo>
                    <a:pt x="52415" y="217620"/>
                  </a:lnTo>
                  <a:cubicBezTo>
                    <a:pt x="53267" y="218923"/>
                    <a:pt x="54971" y="221629"/>
                    <a:pt x="55823" y="222030"/>
                  </a:cubicBezTo>
                  <a:cubicBezTo>
                    <a:pt x="56023" y="222030"/>
                    <a:pt x="56173" y="222030"/>
                    <a:pt x="56374" y="222030"/>
                  </a:cubicBezTo>
                  <a:cubicBezTo>
                    <a:pt x="65895" y="222030"/>
                    <a:pt x="69403" y="228845"/>
                    <a:pt x="72459" y="234858"/>
                  </a:cubicBezTo>
                  <a:cubicBezTo>
                    <a:pt x="73512" y="236912"/>
                    <a:pt x="74514" y="238867"/>
                    <a:pt x="75716" y="240571"/>
                  </a:cubicBezTo>
                  <a:cubicBezTo>
                    <a:pt x="76518" y="240420"/>
                    <a:pt x="77270" y="240270"/>
                    <a:pt x="78021" y="240069"/>
                  </a:cubicBezTo>
                  <a:cubicBezTo>
                    <a:pt x="80527" y="239568"/>
                    <a:pt x="82932" y="239067"/>
                    <a:pt x="85087" y="238215"/>
                  </a:cubicBezTo>
                  <a:cubicBezTo>
                    <a:pt x="114251" y="226540"/>
                    <a:pt x="138605" y="216668"/>
                    <a:pt x="161605" y="207197"/>
                  </a:cubicBezTo>
                  <a:cubicBezTo>
                    <a:pt x="167368" y="204792"/>
                    <a:pt x="172830" y="201735"/>
                    <a:pt x="178141" y="19877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52" name="Полилиния: фигура 151">
              <a:extLst>
                <a:ext uri="{FF2B5EF4-FFF2-40B4-BE49-F238E27FC236}">
                  <a16:creationId xmlns:a16="http://schemas.microsoft.com/office/drawing/2014/main" id="{908D46F9-0AF1-4840-ACFA-BA45182E0287}"/>
                </a:ext>
              </a:extLst>
            </p:cNvPr>
            <p:cNvSpPr/>
            <p:nvPr/>
          </p:nvSpPr>
          <p:spPr>
            <a:xfrm>
              <a:off x="1836526" y="3012715"/>
              <a:ext cx="282650" cy="327528"/>
            </a:xfrm>
            <a:custGeom>
              <a:avLst/>
              <a:gdLst>
                <a:gd name="connsiteX0" fmla="*/ 86490 w 226642"/>
                <a:gd name="connsiteY0" fmla="*/ 262627 h 262627"/>
                <a:gd name="connsiteX1" fmla="*/ 123622 w 226642"/>
                <a:gd name="connsiteY1" fmla="*/ 251152 h 262627"/>
                <a:gd name="connsiteX2" fmla="*/ 159601 w 226642"/>
                <a:gd name="connsiteY2" fmla="*/ 237772 h 262627"/>
                <a:gd name="connsiteX3" fmla="*/ 166365 w 226642"/>
                <a:gd name="connsiteY3" fmla="*/ 237722 h 262627"/>
                <a:gd name="connsiteX4" fmla="*/ 176438 w 226642"/>
                <a:gd name="connsiteY4" fmla="*/ 238023 h 262627"/>
                <a:gd name="connsiteX5" fmla="*/ 208157 w 226642"/>
                <a:gd name="connsiteY5" fmla="*/ 229955 h 262627"/>
                <a:gd name="connsiteX6" fmla="*/ 214371 w 226642"/>
                <a:gd name="connsiteY6" fmla="*/ 226748 h 262627"/>
                <a:gd name="connsiteX7" fmla="*/ 226598 w 226642"/>
                <a:gd name="connsiteY7" fmla="*/ 206353 h 262627"/>
                <a:gd name="connsiteX8" fmla="*/ 217378 w 226642"/>
                <a:gd name="connsiteY8" fmla="*/ 196331 h 262627"/>
                <a:gd name="connsiteX9" fmla="*/ 213669 w 226642"/>
                <a:gd name="connsiteY9" fmla="*/ 194377 h 262627"/>
                <a:gd name="connsiteX10" fmla="*/ 209911 w 226642"/>
                <a:gd name="connsiteY10" fmla="*/ 192423 h 262627"/>
                <a:gd name="connsiteX11" fmla="*/ 189566 w 226642"/>
                <a:gd name="connsiteY11" fmla="*/ 163108 h 262627"/>
                <a:gd name="connsiteX12" fmla="*/ 188514 w 226642"/>
                <a:gd name="connsiteY12" fmla="*/ 160002 h 262627"/>
                <a:gd name="connsiteX13" fmla="*/ 187963 w 226642"/>
                <a:gd name="connsiteY13" fmla="*/ 158799 h 262627"/>
                <a:gd name="connsiteX14" fmla="*/ 183052 w 226642"/>
                <a:gd name="connsiteY14" fmla="*/ 154339 h 262627"/>
                <a:gd name="connsiteX15" fmla="*/ 145570 w 226642"/>
                <a:gd name="connsiteY15" fmla="*/ 110443 h 262627"/>
                <a:gd name="connsiteX16" fmla="*/ 116857 w 226642"/>
                <a:gd name="connsiteY16" fmla="*/ 92152 h 262627"/>
                <a:gd name="connsiteX17" fmla="*/ 105582 w 226642"/>
                <a:gd name="connsiteY17" fmla="*/ 89898 h 262627"/>
                <a:gd name="connsiteX18" fmla="*/ 97214 w 226642"/>
                <a:gd name="connsiteY18" fmla="*/ 88194 h 262627"/>
                <a:gd name="connsiteX19" fmla="*/ 99819 w 226642"/>
                <a:gd name="connsiteY19" fmla="*/ 75015 h 262627"/>
                <a:gd name="connsiteX20" fmla="*/ 103527 w 226642"/>
                <a:gd name="connsiteY20" fmla="*/ 56725 h 262627"/>
                <a:gd name="connsiteX21" fmla="*/ 97214 w 226642"/>
                <a:gd name="connsiteY21" fmla="*/ 29014 h 262627"/>
                <a:gd name="connsiteX22" fmla="*/ 64842 w 226642"/>
                <a:gd name="connsiteY22" fmla="*/ 34877 h 262627"/>
                <a:gd name="connsiteX23" fmla="*/ 63890 w 226642"/>
                <a:gd name="connsiteY23" fmla="*/ 34175 h 262627"/>
                <a:gd name="connsiteX24" fmla="*/ 30116 w 226642"/>
                <a:gd name="connsiteY24" fmla="*/ 0 h 262627"/>
                <a:gd name="connsiteX25" fmla="*/ 1804 w 226642"/>
                <a:gd name="connsiteY25" fmla="*/ 66496 h 262627"/>
                <a:gd name="connsiteX26" fmla="*/ 0 w 226642"/>
                <a:gd name="connsiteY26" fmla="*/ 72760 h 262627"/>
                <a:gd name="connsiteX27" fmla="*/ 5312 w 226642"/>
                <a:gd name="connsiteY27" fmla="*/ 81679 h 262627"/>
                <a:gd name="connsiteX28" fmla="*/ 18340 w 226642"/>
                <a:gd name="connsiteY28" fmla="*/ 101974 h 262627"/>
                <a:gd name="connsiteX29" fmla="*/ 34977 w 226642"/>
                <a:gd name="connsiteY29" fmla="*/ 119913 h 262627"/>
                <a:gd name="connsiteX30" fmla="*/ 43896 w 226642"/>
                <a:gd name="connsiteY30" fmla="*/ 128933 h 262627"/>
                <a:gd name="connsiteX31" fmla="*/ 44999 w 226642"/>
                <a:gd name="connsiteY31" fmla="*/ 130086 h 262627"/>
                <a:gd name="connsiteX32" fmla="*/ 40138 w 226642"/>
                <a:gd name="connsiteY32" fmla="*/ 145319 h 262627"/>
                <a:gd name="connsiteX33" fmla="*/ 29515 w 226642"/>
                <a:gd name="connsiteY33" fmla="*/ 178242 h 262627"/>
                <a:gd name="connsiteX34" fmla="*/ 30667 w 226642"/>
                <a:gd name="connsiteY34" fmla="*/ 191571 h 262627"/>
                <a:gd name="connsiteX35" fmla="*/ 86440 w 226642"/>
                <a:gd name="connsiteY35" fmla="*/ 262627 h 262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26642" h="262627">
                  <a:moveTo>
                    <a:pt x="86490" y="262627"/>
                  </a:moveTo>
                  <a:cubicBezTo>
                    <a:pt x="100070" y="262326"/>
                    <a:pt x="114000" y="261024"/>
                    <a:pt x="123622" y="251152"/>
                  </a:cubicBezTo>
                  <a:cubicBezTo>
                    <a:pt x="133694" y="240829"/>
                    <a:pt x="145119" y="236620"/>
                    <a:pt x="159601" y="237772"/>
                  </a:cubicBezTo>
                  <a:cubicBezTo>
                    <a:pt x="161755" y="237973"/>
                    <a:pt x="164010" y="237823"/>
                    <a:pt x="166365" y="237722"/>
                  </a:cubicBezTo>
                  <a:cubicBezTo>
                    <a:pt x="169673" y="237572"/>
                    <a:pt x="173030" y="237372"/>
                    <a:pt x="176438" y="238023"/>
                  </a:cubicBezTo>
                  <a:cubicBezTo>
                    <a:pt x="188264" y="240378"/>
                    <a:pt x="197935" y="235317"/>
                    <a:pt x="208157" y="229955"/>
                  </a:cubicBezTo>
                  <a:cubicBezTo>
                    <a:pt x="210262" y="228853"/>
                    <a:pt x="212316" y="227800"/>
                    <a:pt x="214371" y="226748"/>
                  </a:cubicBezTo>
                  <a:cubicBezTo>
                    <a:pt x="220685" y="223641"/>
                    <a:pt x="227249" y="216676"/>
                    <a:pt x="226598" y="206353"/>
                  </a:cubicBezTo>
                  <a:cubicBezTo>
                    <a:pt x="226247" y="201042"/>
                    <a:pt x="222840" y="199088"/>
                    <a:pt x="217378" y="196331"/>
                  </a:cubicBezTo>
                  <a:cubicBezTo>
                    <a:pt x="216125" y="195680"/>
                    <a:pt x="214872" y="195079"/>
                    <a:pt x="213669" y="194377"/>
                  </a:cubicBezTo>
                  <a:cubicBezTo>
                    <a:pt x="212266" y="193575"/>
                    <a:pt x="211114" y="192874"/>
                    <a:pt x="209911" y="192423"/>
                  </a:cubicBezTo>
                  <a:cubicBezTo>
                    <a:pt x="195630" y="187362"/>
                    <a:pt x="188765" y="177490"/>
                    <a:pt x="189566" y="163108"/>
                  </a:cubicBezTo>
                  <a:cubicBezTo>
                    <a:pt x="189566" y="162307"/>
                    <a:pt x="189015" y="161104"/>
                    <a:pt x="188514" y="160002"/>
                  </a:cubicBezTo>
                  <a:cubicBezTo>
                    <a:pt x="188314" y="159601"/>
                    <a:pt x="188113" y="159200"/>
                    <a:pt x="187963" y="158799"/>
                  </a:cubicBezTo>
                  <a:lnTo>
                    <a:pt x="183052" y="154339"/>
                  </a:lnTo>
                  <a:cubicBezTo>
                    <a:pt x="168370" y="141010"/>
                    <a:pt x="154540" y="128432"/>
                    <a:pt x="145570" y="110443"/>
                  </a:cubicBezTo>
                  <a:cubicBezTo>
                    <a:pt x="140759" y="100721"/>
                    <a:pt x="131339" y="94758"/>
                    <a:pt x="116857" y="92152"/>
                  </a:cubicBezTo>
                  <a:cubicBezTo>
                    <a:pt x="113299" y="91551"/>
                    <a:pt x="109691" y="90749"/>
                    <a:pt x="105582" y="89898"/>
                  </a:cubicBezTo>
                  <a:lnTo>
                    <a:pt x="97214" y="88194"/>
                  </a:lnTo>
                  <a:lnTo>
                    <a:pt x="99819" y="75015"/>
                  </a:lnTo>
                  <a:cubicBezTo>
                    <a:pt x="101072" y="68651"/>
                    <a:pt x="102275" y="62688"/>
                    <a:pt x="103527" y="56725"/>
                  </a:cubicBezTo>
                  <a:cubicBezTo>
                    <a:pt x="105883" y="45700"/>
                    <a:pt x="103878" y="36831"/>
                    <a:pt x="97214" y="29014"/>
                  </a:cubicBezTo>
                  <a:lnTo>
                    <a:pt x="64842" y="34877"/>
                  </a:lnTo>
                  <a:lnTo>
                    <a:pt x="63890" y="34175"/>
                  </a:lnTo>
                  <a:cubicBezTo>
                    <a:pt x="51714" y="25055"/>
                    <a:pt x="40940" y="14131"/>
                    <a:pt x="30116" y="0"/>
                  </a:cubicBezTo>
                  <a:cubicBezTo>
                    <a:pt x="14983" y="20194"/>
                    <a:pt x="8318" y="43696"/>
                    <a:pt x="1804" y="66496"/>
                  </a:cubicBezTo>
                  <a:lnTo>
                    <a:pt x="0" y="72760"/>
                  </a:lnTo>
                  <a:cubicBezTo>
                    <a:pt x="1804" y="75766"/>
                    <a:pt x="3558" y="78723"/>
                    <a:pt x="5312" y="81679"/>
                  </a:cubicBezTo>
                  <a:cubicBezTo>
                    <a:pt x="9521" y="88895"/>
                    <a:pt x="13530" y="95760"/>
                    <a:pt x="18340" y="101974"/>
                  </a:cubicBezTo>
                  <a:cubicBezTo>
                    <a:pt x="23151" y="108188"/>
                    <a:pt x="28863" y="113900"/>
                    <a:pt x="34977" y="119913"/>
                  </a:cubicBezTo>
                  <a:cubicBezTo>
                    <a:pt x="37833" y="122770"/>
                    <a:pt x="40840" y="125726"/>
                    <a:pt x="43896" y="128933"/>
                  </a:cubicBezTo>
                  <a:lnTo>
                    <a:pt x="44999" y="130086"/>
                  </a:lnTo>
                  <a:lnTo>
                    <a:pt x="40138" y="145319"/>
                  </a:lnTo>
                  <a:cubicBezTo>
                    <a:pt x="36480" y="156744"/>
                    <a:pt x="33073" y="167518"/>
                    <a:pt x="29515" y="178242"/>
                  </a:cubicBezTo>
                  <a:cubicBezTo>
                    <a:pt x="27711" y="183754"/>
                    <a:pt x="28062" y="187863"/>
                    <a:pt x="30667" y="191571"/>
                  </a:cubicBezTo>
                  <a:cubicBezTo>
                    <a:pt x="49659" y="218079"/>
                    <a:pt x="67899" y="241330"/>
                    <a:pt x="86440" y="262627"/>
                  </a:cubicBezTo>
                  <a:close/>
                </a:path>
              </a:pathLst>
            </a:custGeom>
            <a:solidFill>
              <a:srgbClr val="00B05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53" name="Полилиния: фигура 152">
              <a:extLst>
                <a:ext uri="{FF2B5EF4-FFF2-40B4-BE49-F238E27FC236}">
                  <a16:creationId xmlns:a16="http://schemas.microsoft.com/office/drawing/2014/main" id="{352F4959-AE17-459A-8032-0E4E0427E56B}"/>
                </a:ext>
              </a:extLst>
            </p:cNvPr>
            <p:cNvSpPr/>
            <p:nvPr/>
          </p:nvSpPr>
          <p:spPr>
            <a:xfrm>
              <a:off x="1863522" y="3458882"/>
              <a:ext cx="357150" cy="264071"/>
            </a:xfrm>
            <a:custGeom>
              <a:avLst/>
              <a:gdLst>
                <a:gd name="connsiteX0" fmla="*/ 25606 w 286379"/>
                <a:gd name="connsiteY0" fmla="*/ 99097 h 211744"/>
                <a:gd name="connsiteX1" fmla="*/ 43245 w 286379"/>
                <a:gd name="connsiteY1" fmla="*/ 86720 h 211744"/>
                <a:gd name="connsiteX2" fmla="*/ 45099 w 286379"/>
                <a:gd name="connsiteY2" fmla="*/ 85417 h 211744"/>
                <a:gd name="connsiteX3" fmla="*/ 46702 w 286379"/>
                <a:gd name="connsiteY3" fmla="*/ 87070 h 211744"/>
                <a:gd name="connsiteX4" fmla="*/ 58829 w 286379"/>
                <a:gd name="connsiteY4" fmla="*/ 106062 h 211744"/>
                <a:gd name="connsiteX5" fmla="*/ 61235 w 286379"/>
                <a:gd name="connsiteY5" fmla="*/ 111023 h 211744"/>
                <a:gd name="connsiteX6" fmla="*/ 73612 w 286379"/>
                <a:gd name="connsiteY6" fmla="*/ 135677 h 211744"/>
                <a:gd name="connsiteX7" fmla="*/ 92102 w 286379"/>
                <a:gd name="connsiteY7" fmla="*/ 172057 h 211744"/>
                <a:gd name="connsiteX8" fmla="*/ 99468 w 286379"/>
                <a:gd name="connsiteY8" fmla="*/ 178722 h 211744"/>
                <a:gd name="connsiteX9" fmla="*/ 109841 w 286379"/>
                <a:gd name="connsiteY9" fmla="*/ 175915 h 211744"/>
                <a:gd name="connsiteX10" fmla="*/ 115153 w 286379"/>
                <a:gd name="connsiteY10" fmla="*/ 171205 h 211744"/>
                <a:gd name="connsiteX11" fmla="*/ 130386 w 286379"/>
                <a:gd name="connsiteY11" fmla="*/ 161785 h 211744"/>
                <a:gd name="connsiteX12" fmla="*/ 131790 w 286379"/>
                <a:gd name="connsiteY12" fmla="*/ 161534 h 211744"/>
                <a:gd name="connsiteX13" fmla="*/ 132792 w 286379"/>
                <a:gd name="connsiteY13" fmla="*/ 162536 h 211744"/>
                <a:gd name="connsiteX14" fmla="*/ 139005 w 286379"/>
                <a:gd name="connsiteY14" fmla="*/ 168650 h 211744"/>
                <a:gd name="connsiteX15" fmla="*/ 153036 w 286379"/>
                <a:gd name="connsiteY15" fmla="*/ 182179 h 211744"/>
                <a:gd name="connsiteX16" fmla="*/ 201292 w 286379"/>
                <a:gd name="connsiteY16" fmla="*/ 206834 h 211744"/>
                <a:gd name="connsiteX17" fmla="*/ 219582 w 286379"/>
                <a:gd name="connsiteY17" fmla="*/ 208287 h 211744"/>
                <a:gd name="connsiteX18" fmla="*/ 247744 w 286379"/>
                <a:gd name="connsiteY18" fmla="*/ 211744 h 211744"/>
                <a:gd name="connsiteX19" fmla="*/ 286379 w 286379"/>
                <a:gd name="connsiteY19" fmla="*/ 138183 h 211744"/>
                <a:gd name="connsiteX20" fmla="*/ 285527 w 286379"/>
                <a:gd name="connsiteY20" fmla="*/ 136980 h 211744"/>
                <a:gd name="connsiteX21" fmla="*/ 281869 w 286379"/>
                <a:gd name="connsiteY21" fmla="*/ 132119 h 211744"/>
                <a:gd name="connsiteX22" fmla="*/ 281869 w 286379"/>
                <a:gd name="connsiteY22" fmla="*/ 132119 h 211744"/>
                <a:gd name="connsiteX23" fmla="*/ 275555 w 286379"/>
                <a:gd name="connsiteY23" fmla="*/ 125705 h 211744"/>
                <a:gd name="connsiteX24" fmla="*/ 263780 w 286379"/>
                <a:gd name="connsiteY24" fmla="*/ 102103 h 211744"/>
                <a:gd name="connsiteX25" fmla="*/ 237973 w 286379"/>
                <a:gd name="connsiteY25" fmla="*/ 110672 h 211744"/>
                <a:gd name="connsiteX26" fmla="*/ 232260 w 286379"/>
                <a:gd name="connsiteY26" fmla="*/ 113128 h 211744"/>
                <a:gd name="connsiteX27" fmla="*/ 214271 w 286379"/>
                <a:gd name="connsiteY27" fmla="*/ 116686 h 211744"/>
                <a:gd name="connsiteX28" fmla="*/ 189065 w 286379"/>
                <a:gd name="connsiteY28" fmla="*/ 120895 h 211744"/>
                <a:gd name="connsiteX29" fmla="*/ 187462 w 286379"/>
                <a:gd name="connsiteY29" fmla="*/ 121697 h 211744"/>
                <a:gd name="connsiteX30" fmla="*/ 179544 w 286379"/>
                <a:gd name="connsiteY30" fmla="*/ 124603 h 211744"/>
                <a:gd name="connsiteX31" fmla="*/ 175486 w 286379"/>
                <a:gd name="connsiteY31" fmla="*/ 125956 h 211744"/>
                <a:gd name="connsiteX32" fmla="*/ 173531 w 286379"/>
                <a:gd name="connsiteY32" fmla="*/ 126607 h 211744"/>
                <a:gd name="connsiteX33" fmla="*/ 172379 w 286379"/>
                <a:gd name="connsiteY33" fmla="*/ 124903 h 211744"/>
                <a:gd name="connsiteX34" fmla="*/ 169573 w 286379"/>
                <a:gd name="connsiteY34" fmla="*/ 121045 h 211744"/>
                <a:gd name="connsiteX35" fmla="*/ 164111 w 286379"/>
                <a:gd name="connsiteY35" fmla="*/ 112627 h 211744"/>
                <a:gd name="connsiteX36" fmla="*/ 161856 w 286379"/>
                <a:gd name="connsiteY36" fmla="*/ 107916 h 211744"/>
                <a:gd name="connsiteX37" fmla="*/ 147875 w 286379"/>
                <a:gd name="connsiteY37" fmla="*/ 75745 h 211744"/>
                <a:gd name="connsiteX38" fmla="*/ 136750 w 286379"/>
                <a:gd name="connsiteY38" fmla="*/ 36910 h 211744"/>
                <a:gd name="connsiteX39" fmla="*/ 111645 w 286379"/>
                <a:gd name="connsiteY39" fmla="*/ 14962 h 211744"/>
                <a:gd name="connsiteX40" fmla="*/ 86891 w 286379"/>
                <a:gd name="connsiteY40" fmla="*/ 3988 h 211744"/>
                <a:gd name="connsiteX41" fmla="*/ 86089 w 286379"/>
                <a:gd name="connsiteY41" fmla="*/ 3086 h 211744"/>
                <a:gd name="connsiteX42" fmla="*/ 80276 w 286379"/>
                <a:gd name="connsiteY42" fmla="*/ 129 h 211744"/>
                <a:gd name="connsiteX43" fmla="*/ 62838 w 286379"/>
                <a:gd name="connsiteY43" fmla="*/ 20674 h 211744"/>
                <a:gd name="connsiteX44" fmla="*/ 56424 w 286379"/>
                <a:gd name="connsiteY44" fmla="*/ 25134 h 211744"/>
                <a:gd name="connsiteX45" fmla="*/ 49459 w 286379"/>
                <a:gd name="connsiteY45" fmla="*/ 29995 h 211744"/>
                <a:gd name="connsiteX46" fmla="*/ 37232 w 286379"/>
                <a:gd name="connsiteY46" fmla="*/ 34455 h 211744"/>
                <a:gd name="connsiteX47" fmla="*/ 34075 w 286379"/>
                <a:gd name="connsiteY47" fmla="*/ 35407 h 211744"/>
                <a:gd name="connsiteX48" fmla="*/ 43496 w 286379"/>
                <a:gd name="connsiteY48" fmla="*/ 63569 h 211744"/>
                <a:gd name="connsiteX49" fmla="*/ 15885 w 286379"/>
                <a:gd name="connsiteY49" fmla="*/ 54148 h 211744"/>
                <a:gd name="connsiteX50" fmla="*/ 0 w 286379"/>
                <a:gd name="connsiteY50" fmla="*/ 68329 h 211744"/>
                <a:gd name="connsiteX51" fmla="*/ 25556 w 286379"/>
                <a:gd name="connsiteY51" fmla="*/ 99347 h 21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86379" h="211744">
                  <a:moveTo>
                    <a:pt x="25606" y="99097"/>
                  </a:moveTo>
                  <a:cubicBezTo>
                    <a:pt x="31018" y="95288"/>
                    <a:pt x="36380" y="91480"/>
                    <a:pt x="43245" y="86720"/>
                  </a:cubicBezTo>
                  <a:lnTo>
                    <a:pt x="45099" y="85417"/>
                  </a:lnTo>
                  <a:lnTo>
                    <a:pt x="46702" y="87070"/>
                  </a:lnTo>
                  <a:cubicBezTo>
                    <a:pt x="52716" y="93234"/>
                    <a:pt x="55823" y="99748"/>
                    <a:pt x="58829" y="106062"/>
                  </a:cubicBezTo>
                  <a:cubicBezTo>
                    <a:pt x="59631" y="107716"/>
                    <a:pt x="60383" y="109369"/>
                    <a:pt x="61235" y="111023"/>
                  </a:cubicBezTo>
                  <a:cubicBezTo>
                    <a:pt x="65444" y="119191"/>
                    <a:pt x="69503" y="127459"/>
                    <a:pt x="73612" y="135677"/>
                  </a:cubicBezTo>
                  <a:cubicBezTo>
                    <a:pt x="79575" y="147654"/>
                    <a:pt x="85738" y="160031"/>
                    <a:pt x="92102" y="172057"/>
                  </a:cubicBezTo>
                  <a:cubicBezTo>
                    <a:pt x="94057" y="175765"/>
                    <a:pt x="96512" y="178020"/>
                    <a:pt x="99468" y="178722"/>
                  </a:cubicBezTo>
                  <a:cubicBezTo>
                    <a:pt x="102575" y="179473"/>
                    <a:pt x="106133" y="178471"/>
                    <a:pt x="109841" y="175915"/>
                  </a:cubicBezTo>
                  <a:cubicBezTo>
                    <a:pt x="111695" y="174613"/>
                    <a:pt x="113399" y="172959"/>
                    <a:pt x="115153" y="171205"/>
                  </a:cubicBezTo>
                  <a:cubicBezTo>
                    <a:pt x="118961" y="167397"/>
                    <a:pt x="123321" y="163137"/>
                    <a:pt x="130386" y="161785"/>
                  </a:cubicBezTo>
                  <a:lnTo>
                    <a:pt x="131790" y="161534"/>
                  </a:lnTo>
                  <a:lnTo>
                    <a:pt x="132792" y="162536"/>
                  </a:lnTo>
                  <a:cubicBezTo>
                    <a:pt x="134896" y="164541"/>
                    <a:pt x="136951" y="166595"/>
                    <a:pt x="139005" y="168650"/>
                  </a:cubicBezTo>
                  <a:cubicBezTo>
                    <a:pt x="143565" y="173159"/>
                    <a:pt x="148226" y="177820"/>
                    <a:pt x="153036" y="182179"/>
                  </a:cubicBezTo>
                  <a:cubicBezTo>
                    <a:pt x="168420" y="196160"/>
                    <a:pt x="184656" y="204428"/>
                    <a:pt x="201292" y="206834"/>
                  </a:cubicBezTo>
                  <a:cubicBezTo>
                    <a:pt x="207305" y="207685"/>
                    <a:pt x="213569" y="207986"/>
                    <a:pt x="219582" y="208287"/>
                  </a:cubicBezTo>
                  <a:cubicBezTo>
                    <a:pt x="228953" y="208738"/>
                    <a:pt x="238574" y="209189"/>
                    <a:pt x="247744" y="211744"/>
                  </a:cubicBezTo>
                  <a:cubicBezTo>
                    <a:pt x="275004" y="179774"/>
                    <a:pt x="282471" y="165543"/>
                    <a:pt x="286379" y="138183"/>
                  </a:cubicBezTo>
                  <a:cubicBezTo>
                    <a:pt x="286079" y="137782"/>
                    <a:pt x="285828" y="137381"/>
                    <a:pt x="285527" y="136980"/>
                  </a:cubicBezTo>
                  <a:cubicBezTo>
                    <a:pt x="284425" y="135377"/>
                    <a:pt x="283222" y="133673"/>
                    <a:pt x="281869" y="132119"/>
                  </a:cubicBezTo>
                  <a:lnTo>
                    <a:pt x="281869" y="132119"/>
                  </a:lnTo>
                  <a:cubicBezTo>
                    <a:pt x="280015" y="129914"/>
                    <a:pt x="277911" y="127910"/>
                    <a:pt x="275555" y="125705"/>
                  </a:cubicBezTo>
                  <a:cubicBezTo>
                    <a:pt x="266035" y="116786"/>
                    <a:pt x="265183" y="115633"/>
                    <a:pt x="263780" y="102103"/>
                  </a:cubicBezTo>
                  <a:cubicBezTo>
                    <a:pt x="254760" y="103356"/>
                    <a:pt x="246592" y="106914"/>
                    <a:pt x="237973" y="110672"/>
                  </a:cubicBezTo>
                  <a:lnTo>
                    <a:pt x="232260" y="113128"/>
                  </a:lnTo>
                  <a:cubicBezTo>
                    <a:pt x="226347" y="115683"/>
                    <a:pt x="219633" y="118589"/>
                    <a:pt x="214271" y="116686"/>
                  </a:cubicBezTo>
                  <a:cubicBezTo>
                    <a:pt x="204650" y="113228"/>
                    <a:pt x="197434" y="116786"/>
                    <a:pt x="189065" y="120895"/>
                  </a:cubicBezTo>
                  <a:lnTo>
                    <a:pt x="187462" y="121697"/>
                  </a:lnTo>
                  <a:cubicBezTo>
                    <a:pt x="185006" y="122899"/>
                    <a:pt x="182351" y="123751"/>
                    <a:pt x="179544" y="124603"/>
                  </a:cubicBezTo>
                  <a:cubicBezTo>
                    <a:pt x="178242" y="125004"/>
                    <a:pt x="176889" y="125455"/>
                    <a:pt x="175486" y="125956"/>
                  </a:cubicBezTo>
                  <a:lnTo>
                    <a:pt x="173531" y="126607"/>
                  </a:lnTo>
                  <a:lnTo>
                    <a:pt x="172379" y="124903"/>
                  </a:lnTo>
                  <a:cubicBezTo>
                    <a:pt x="171427" y="123551"/>
                    <a:pt x="170525" y="122298"/>
                    <a:pt x="169573" y="121045"/>
                  </a:cubicBezTo>
                  <a:cubicBezTo>
                    <a:pt x="167518" y="118239"/>
                    <a:pt x="165564" y="115633"/>
                    <a:pt x="164111" y="112627"/>
                  </a:cubicBezTo>
                  <a:lnTo>
                    <a:pt x="161856" y="107916"/>
                  </a:lnTo>
                  <a:cubicBezTo>
                    <a:pt x="156945" y="97543"/>
                    <a:pt x="151834" y="86770"/>
                    <a:pt x="147875" y="75745"/>
                  </a:cubicBezTo>
                  <a:cubicBezTo>
                    <a:pt x="143866" y="64671"/>
                    <a:pt x="140358" y="52294"/>
                    <a:pt x="136750" y="36910"/>
                  </a:cubicBezTo>
                  <a:cubicBezTo>
                    <a:pt x="133393" y="22478"/>
                    <a:pt x="125175" y="15262"/>
                    <a:pt x="111645" y="14962"/>
                  </a:cubicBezTo>
                  <a:cubicBezTo>
                    <a:pt x="101423" y="14711"/>
                    <a:pt x="93555" y="11204"/>
                    <a:pt x="86891" y="3988"/>
                  </a:cubicBezTo>
                  <a:lnTo>
                    <a:pt x="86089" y="3086"/>
                  </a:lnTo>
                  <a:cubicBezTo>
                    <a:pt x="84135" y="831"/>
                    <a:pt x="82832" y="-422"/>
                    <a:pt x="80276" y="129"/>
                  </a:cubicBezTo>
                  <a:cubicBezTo>
                    <a:pt x="78673" y="9199"/>
                    <a:pt x="72810" y="16115"/>
                    <a:pt x="62838" y="20674"/>
                  </a:cubicBezTo>
                  <a:cubicBezTo>
                    <a:pt x="60583" y="21677"/>
                    <a:pt x="58579" y="23380"/>
                    <a:pt x="56424" y="25134"/>
                  </a:cubicBezTo>
                  <a:cubicBezTo>
                    <a:pt x="54269" y="26888"/>
                    <a:pt x="52014" y="28692"/>
                    <a:pt x="49459" y="29995"/>
                  </a:cubicBezTo>
                  <a:cubicBezTo>
                    <a:pt x="45600" y="31949"/>
                    <a:pt x="41541" y="33152"/>
                    <a:pt x="37232" y="34455"/>
                  </a:cubicBezTo>
                  <a:cubicBezTo>
                    <a:pt x="36180" y="34755"/>
                    <a:pt x="35127" y="35106"/>
                    <a:pt x="34075" y="35407"/>
                  </a:cubicBezTo>
                  <a:lnTo>
                    <a:pt x="43496" y="63569"/>
                  </a:lnTo>
                  <a:lnTo>
                    <a:pt x="15885" y="54148"/>
                  </a:lnTo>
                  <a:cubicBezTo>
                    <a:pt x="10373" y="59059"/>
                    <a:pt x="5362" y="63519"/>
                    <a:pt x="0" y="68329"/>
                  </a:cubicBezTo>
                  <a:cubicBezTo>
                    <a:pt x="6865" y="81458"/>
                    <a:pt x="14081" y="91831"/>
                    <a:pt x="25556" y="9934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54" name="Полилиния: фигура 153">
              <a:extLst>
                <a:ext uri="{FF2B5EF4-FFF2-40B4-BE49-F238E27FC236}">
                  <a16:creationId xmlns:a16="http://schemas.microsoft.com/office/drawing/2014/main" id="{6E3B35C6-589C-4EAA-87D8-72F98DEAB928}"/>
                </a:ext>
              </a:extLst>
            </p:cNvPr>
            <p:cNvSpPr/>
            <p:nvPr/>
          </p:nvSpPr>
          <p:spPr>
            <a:xfrm>
              <a:off x="1050670" y="3439795"/>
              <a:ext cx="249786" cy="335214"/>
            </a:xfrm>
            <a:custGeom>
              <a:avLst/>
              <a:gdLst>
                <a:gd name="connsiteX0" fmla="*/ 110944 w 200290"/>
                <a:gd name="connsiteY0" fmla="*/ 203698 h 268790"/>
                <a:gd name="connsiteX1" fmla="*/ 111746 w 200290"/>
                <a:gd name="connsiteY1" fmla="*/ 205852 h 268790"/>
                <a:gd name="connsiteX2" fmla="*/ 117258 w 200290"/>
                <a:gd name="connsiteY2" fmla="*/ 222539 h 268790"/>
                <a:gd name="connsiteX3" fmla="*/ 140459 w 200290"/>
                <a:gd name="connsiteY3" fmla="*/ 268791 h 268790"/>
                <a:gd name="connsiteX4" fmla="*/ 156093 w 200290"/>
                <a:gd name="connsiteY4" fmla="*/ 246542 h 268790"/>
                <a:gd name="connsiteX5" fmla="*/ 159701 w 200290"/>
                <a:gd name="connsiteY5" fmla="*/ 238875 h 268790"/>
                <a:gd name="connsiteX6" fmla="*/ 161856 w 200290"/>
                <a:gd name="connsiteY6" fmla="*/ 234616 h 268790"/>
                <a:gd name="connsiteX7" fmla="*/ 187963 w 200290"/>
                <a:gd name="connsiteY7" fmla="*/ 207857 h 268790"/>
                <a:gd name="connsiteX8" fmla="*/ 187963 w 200290"/>
                <a:gd name="connsiteY8" fmla="*/ 165363 h 268790"/>
                <a:gd name="connsiteX9" fmla="*/ 188264 w 200290"/>
                <a:gd name="connsiteY9" fmla="*/ 164762 h 268790"/>
                <a:gd name="connsiteX10" fmla="*/ 196231 w 200290"/>
                <a:gd name="connsiteY10" fmla="*/ 157045 h 268790"/>
                <a:gd name="connsiteX11" fmla="*/ 200290 w 200290"/>
                <a:gd name="connsiteY11" fmla="*/ 152084 h 268790"/>
                <a:gd name="connsiteX12" fmla="*/ 183954 w 200290"/>
                <a:gd name="connsiteY12" fmla="*/ 138955 h 268790"/>
                <a:gd name="connsiteX13" fmla="*/ 184155 w 200290"/>
                <a:gd name="connsiteY13" fmla="*/ 137452 h 268790"/>
                <a:gd name="connsiteX14" fmla="*/ 184255 w 200290"/>
                <a:gd name="connsiteY14" fmla="*/ 131238 h 268790"/>
                <a:gd name="connsiteX15" fmla="*/ 187412 w 200290"/>
                <a:gd name="connsiteY15" fmla="*/ 116606 h 268790"/>
                <a:gd name="connsiteX16" fmla="*/ 188665 w 200290"/>
                <a:gd name="connsiteY16" fmla="*/ 114902 h 268790"/>
                <a:gd name="connsiteX17" fmla="*/ 198185 w 200290"/>
                <a:gd name="connsiteY17" fmla="*/ 118911 h 268790"/>
                <a:gd name="connsiteX18" fmla="*/ 198837 w 200290"/>
                <a:gd name="connsiteY18" fmla="*/ 104680 h 268790"/>
                <a:gd name="connsiteX19" fmla="*/ 177791 w 200290"/>
                <a:gd name="connsiteY19" fmla="*/ 80627 h 268790"/>
                <a:gd name="connsiteX20" fmla="*/ 149078 w 200290"/>
                <a:gd name="connsiteY20" fmla="*/ 66997 h 268790"/>
                <a:gd name="connsiteX21" fmla="*/ 109541 w 200290"/>
                <a:gd name="connsiteY21" fmla="*/ 48456 h 268790"/>
                <a:gd name="connsiteX22" fmla="*/ 76418 w 200290"/>
                <a:gd name="connsiteY22" fmla="*/ 20996 h 268790"/>
                <a:gd name="connsiteX23" fmla="*/ 59932 w 200290"/>
                <a:gd name="connsiteY23" fmla="*/ 11826 h 268790"/>
                <a:gd name="connsiteX24" fmla="*/ 22499 w 200290"/>
                <a:gd name="connsiteY24" fmla="*/ 0 h 268790"/>
                <a:gd name="connsiteX25" fmla="*/ 16586 w 200290"/>
                <a:gd name="connsiteY25" fmla="*/ 9220 h 268790"/>
                <a:gd name="connsiteX26" fmla="*/ 0 w 200290"/>
                <a:gd name="connsiteY26" fmla="*/ 39036 h 268790"/>
                <a:gd name="connsiteX27" fmla="*/ 1052 w 200290"/>
                <a:gd name="connsiteY27" fmla="*/ 40740 h 268790"/>
                <a:gd name="connsiteX28" fmla="*/ 3458 w 200290"/>
                <a:gd name="connsiteY28" fmla="*/ 44147 h 268790"/>
                <a:gd name="connsiteX29" fmla="*/ 5813 w 200290"/>
                <a:gd name="connsiteY29" fmla="*/ 46452 h 268790"/>
                <a:gd name="connsiteX30" fmla="*/ 33674 w 200290"/>
                <a:gd name="connsiteY30" fmla="*/ 94909 h 268790"/>
                <a:gd name="connsiteX31" fmla="*/ 54470 w 200290"/>
                <a:gd name="connsiteY31" fmla="*/ 116356 h 268790"/>
                <a:gd name="connsiteX32" fmla="*/ 91701 w 200290"/>
                <a:gd name="connsiteY32" fmla="*/ 135949 h 268790"/>
                <a:gd name="connsiteX33" fmla="*/ 101423 w 200290"/>
                <a:gd name="connsiteY33" fmla="*/ 142613 h 268790"/>
                <a:gd name="connsiteX34" fmla="*/ 103527 w 200290"/>
                <a:gd name="connsiteY34" fmla="*/ 144016 h 268790"/>
                <a:gd name="connsiteX35" fmla="*/ 102275 w 200290"/>
                <a:gd name="connsiteY35" fmla="*/ 146221 h 268790"/>
                <a:gd name="connsiteX36" fmla="*/ 98316 w 200290"/>
                <a:gd name="connsiteY36" fmla="*/ 152435 h 268790"/>
                <a:gd name="connsiteX37" fmla="*/ 93355 w 200290"/>
                <a:gd name="connsiteY37" fmla="*/ 162106 h 268790"/>
                <a:gd name="connsiteX38" fmla="*/ 89897 w 200290"/>
                <a:gd name="connsiteY38" fmla="*/ 201493 h 268790"/>
                <a:gd name="connsiteX39" fmla="*/ 91100 w 200290"/>
                <a:gd name="connsiteY39" fmla="*/ 206404 h 268790"/>
                <a:gd name="connsiteX40" fmla="*/ 99318 w 200290"/>
                <a:gd name="connsiteY40" fmla="*/ 206153 h 268790"/>
                <a:gd name="connsiteX41" fmla="*/ 105732 w 200290"/>
                <a:gd name="connsiteY41" fmla="*/ 204750 h 268790"/>
                <a:gd name="connsiteX42" fmla="*/ 110944 w 200290"/>
                <a:gd name="connsiteY42" fmla="*/ 203698 h 268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00290" h="268790">
                  <a:moveTo>
                    <a:pt x="110944" y="203698"/>
                  </a:moveTo>
                  <a:lnTo>
                    <a:pt x="111746" y="205852"/>
                  </a:lnTo>
                  <a:cubicBezTo>
                    <a:pt x="113800" y="211415"/>
                    <a:pt x="115554" y="217077"/>
                    <a:pt x="117258" y="222539"/>
                  </a:cubicBezTo>
                  <a:cubicBezTo>
                    <a:pt x="122519" y="239476"/>
                    <a:pt x="127530" y="255511"/>
                    <a:pt x="140459" y="268791"/>
                  </a:cubicBezTo>
                  <a:cubicBezTo>
                    <a:pt x="148777" y="262928"/>
                    <a:pt x="152335" y="254960"/>
                    <a:pt x="156093" y="246542"/>
                  </a:cubicBezTo>
                  <a:cubicBezTo>
                    <a:pt x="157245" y="243936"/>
                    <a:pt x="158398" y="241380"/>
                    <a:pt x="159701" y="238875"/>
                  </a:cubicBezTo>
                  <a:cubicBezTo>
                    <a:pt x="160453" y="237472"/>
                    <a:pt x="161154" y="236018"/>
                    <a:pt x="161856" y="234616"/>
                  </a:cubicBezTo>
                  <a:cubicBezTo>
                    <a:pt x="167368" y="223541"/>
                    <a:pt x="173080" y="212116"/>
                    <a:pt x="187963" y="207857"/>
                  </a:cubicBezTo>
                  <a:lnTo>
                    <a:pt x="187963" y="165363"/>
                  </a:lnTo>
                  <a:lnTo>
                    <a:pt x="188264" y="164762"/>
                  </a:lnTo>
                  <a:cubicBezTo>
                    <a:pt x="190418" y="160553"/>
                    <a:pt x="193625" y="158599"/>
                    <a:pt x="196231" y="157045"/>
                  </a:cubicBezTo>
                  <a:cubicBezTo>
                    <a:pt x="198937" y="155391"/>
                    <a:pt x="200290" y="154640"/>
                    <a:pt x="200290" y="152084"/>
                  </a:cubicBezTo>
                  <a:lnTo>
                    <a:pt x="183954" y="138955"/>
                  </a:lnTo>
                  <a:lnTo>
                    <a:pt x="184155" y="137452"/>
                  </a:lnTo>
                  <a:cubicBezTo>
                    <a:pt x="184405" y="135498"/>
                    <a:pt x="184355" y="133443"/>
                    <a:pt x="184255" y="131238"/>
                  </a:cubicBezTo>
                  <a:cubicBezTo>
                    <a:pt x="184105" y="126628"/>
                    <a:pt x="183904" y="121417"/>
                    <a:pt x="187412" y="116606"/>
                  </a:cubicBezTo>
                  <a:lnTo>
                    <a:pt x="188665" y="114902"/>
                  </a:lnTo>
                  <a:lnTo>
                    <a:pt x="198185" y="118911"/>
                  </a:lnTo>
                  <a:cubicBezTo>
                    <a:pt x="200941" y="114652"/>
                    <a:pt x="200491" y="110242"/>
                    <a:pt x="198837" y="104680"/>
                  </a:cubicBezTo>
                  <a:cubicBezTo>
                    <a:pt x="195480" y="93505"/>
                    <a:pt x="188614" y="85638"/>
                    <a:pt x="177791" y="80627"/>
                  </a:cubicBezTo>
                  <a:cubicBezTo>
                    <a:pt x="168170" y="76167"/>
                    <a:pt x="158649" y="71607"/>
                    <a:pt x="149078" y="66997"/>
                  </a:cubicBezTo>
                  <a:cubicBezTo>
                    <a:pt x="136149" y="60784"/>
                    <a:pt x="122820" y="54369"/>
                    <a:pt x="109541" y="48456"/>
                  </a:cubicBezTo>
                  <a:cubicBezTo>
                    <a:pt x="96462" y="42644"/>
                    <a:pt x="82982" y="36681"/>
                    <a:pt x="76418" y="20996"/>
                  </a:cubicBezTo>
                  <a:cubicBezTo>
                    <a:pt x="73612" y="14281"/>
                    <a:pt x="67599" y="10974"/>
                    <a:pt x="59932" y="11826"/>
                  </a:cubicBezTo>
                  <a:cubicBezTo>
                    <a:pt x="45951" y="13379"/>
                    <a:pt x="33975" y="9621"/>
                    <a:pt x="22499" y="0"/>
                  </a:cubicBezTo>
                  <a:cubicBezTo>
                    <a:pt x="20545" y="3157"/>
                    <a:pt x="18541" y="6214"/>
                    <a:pt x="16586" y="9220"/>
                  </a:cubicBezTo>
                  <a:cubicBezTo>
                    <a:pt x="10122" y="19242"/>
                    <a:pt x="4009" y="28713"/>
                    <a:pt x="0" y="39036"/>
                  </a:cubicBezTo>
                  <a:cubicBezTo>
                    <a:pt x="401" y="39637"/>
                    <a:pt x="752" y="40188"/>
                    <a:pt x="1052" y="40740"/>
                  </a:cubicBezTo>
                  <a:cubicBezTo>
                    <a:pt x="1954" y="42193"/>
                    <a:pt x="2656" y="43345"/>
                    <a:pt x="3458" y="44147"/>
                  </a:cubicBezTo>
                  <a:lnTo>
                    <a:pt x="5813" y="46452"/>
                  </a:lnTo>
                  <a:cubicBezTo>
                    <a:pt x="26508" y="66747"/>
                    <a:pt x="28212" y="68400"/>
                    <a:pt x="33674" y="94909"/>
                  </a:cubicBezTo>
                  <a:cubicBezTo>
                    <a:pt x="36129" y="106835"/>
                    <a:pt x="42543" y="113449"/>
                    <a:pt x="54470" y="116356"/>
                  </a:cubicBezTo>
                  <a:cubicBezTo>
                    <a:pt x="68701" y="119813"/>
                    <a:pt x="80377" y="128031"/>
                    <a:pt x="91701" y="135949"/>
                  </a:cubicBezTo>
                  <a:cubicBezTo>
                    <a:pt x="94959" y="138204"/>
                    <a:pt x="98166" y="140459"/>
                    <a:pt x="101423" y="142613"/>
                  </a:cubicBezTo>
                  <a:lnTo>
                    <a:pt x="103527" y="144016"/>
                  </a:lnTo>
                  <a:lnTo>
                    <a:pt x="102275" y="146221"/>
                  </a:lnTo>
                  <a:cubicBezTo>
                    <a:pt x="100972" y="148476"/>
                    <a:pt x="99619" y="150531"/>
                    <a:pt x="98316" y="152435"/>
                  </a:cubicBezTo>
                  <a:cubicBezTo>
                    <a:pt x="95911" y="155993"/>
                    <a:pt x="93856" y="159100"/>
                    <a:pt x="93355" y="162106"/>
                  </a:cubicBezTo>
                  <a:cubicBezTo>
                    <a:pt x="91401" y="173882"/>
                    <a:pt x="90298" y="186760"/>
                    <a:pt x="89897" y="201493"/>
                  </a:cubicBezTo>
                  <a:cubicBezTo>
                    <a:pt x="89897" y="203297"/>
                    <a:pt x="89998" y="205552"/>
                    <a:pt x="91100" y="206404"/>
                  </a:cubicBezTo>
                  <a:cubicBezTo>
                    <a:pt x="91902" y="207055"/>
                    <a:pt x="94007" y="207506"/>
                    <a:pt x="99318" y="206153"/>
                  </a:cubicBezTo>
                  <a:cubicBezTo>
                    <a:pt x="101323" y="205652"/>
                    <a:pt x="103377" y="205251"/>
                    <a:pt x="105732" y="204750"/>
                  </a:cubicBezTo>
                  <a:lnTo>
                    <a:pt x="110944" y="203698"/>
                  </a:lnTo>
                  <a:close/>
                </a:path>
              </a:pathLst>
            </a:custGeom>
            <a:solidFill>
              <a:srgbClr val="00B05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55" name="Полилиния: фигура 154">
              <a:extLst>
                <a:ext uri="{FF2B5EF4-FFF2-40B4-BE49-F238E27FC236}">
                  <a16:creationId xmlns:a16="http://schemas.microsoft.com/office/drawing/2014/main" id="{70A1754E-9CEA-4717-98FB-88195BE5E241}"/>
                </a:ext>
              </a:extLst>
            </p:cNvPr>
            <p:cNvSpPr/>
            <p:nvPr/>
          </p:nvSpPr>
          <p:spPr>
            <a:xfrm>
              <a:off x="1419439" y="3141764"/>
              <a:ext cx="233126" cy="246465"/>
            </a:xfrm>
            <a:custGeom>
              <a:avLst/>
              <a:gdLst>
                <a:gd name="connsiteX0" fmla="*/ 44000 w 186931"/>
                <a:gd name="connsiteY0" fmla="*/ 157246 h 197627"/>
                <a:gd name="connsiteX1" fmla="*/ 44000 w 186931"/>
                <a:gd name="connsiteY1" fmla="*/ 157246 h 197627"/>
                <a:gd name="connsiteX2" fmla="*/ 44000 w 186931"/>
                <a:gd name="connsiteY2" fmla="*/ 157847 h 197627"/>
                <a:gd name="connsiteX3" fmla="*/ 44000 w 186931"/>
                <a:gd name="connsiteY3" fmla="*/ 159501 h 197627"/>
                <a:gd name="connsiteX4" fmla="*/ 62992 w 186931"/>
                <a:gd name="connsiteY4" fmla="*/ 194578 h 197627"/>
                <a:gd name="connsiteX5" fmla="*/ 80230 w 186931"/>
                <a:gd name="connsiteY5" fmla="*/ 192222 h 197627"/>
                <a:gd name="connsiteX6" fmla="*/ 83337 w 186931"/>
                <a:gd name="connsiteY6" fmla="*/ 188765 h 197627"/>
                <a:gd name="connsiteX7" fmla="*/ 93810 w 186931"/>
                <a:gd name="connsiteY7" fmla="*/ 180948 h 197627"/>
                <a:gd name="connsiteX8" fmla="*/ 109694 w 186931"/>
                <a:gd name="connsiteY8" fmla="*/ 175586 h 197627"/>
                <a:gd name="connsiteX9" fmla="*/ 124577 w 186931"/>
                <a:gd name="connsiteY9" fmla="*/ 170224 h 197627"/>
                <a:gd name="connsiteX10" fmla="*/ 137255 w 186931"/>
                <a:gd name="connsiteY10" fmla="*/ 160603 h 197627"/>
                <a:gd name="connsiteX11" fmla="*/ 147528 w 186931"/>
                <a:gd name="connsiteY11" fmla="*/ 143966 h 197627"/>
                <a:gd name="connsiteX12" fmla="*/ 166670 w 186931"/>
                <a:gd name="connsiteY12" fmla="*/ 112247 h 197627"/>
                <a:gd name="connsiteX13" fmla="*/ 172633 w 186931"/>
                <a:gd name="connsiteY13" fmla="*/ 93556 h 197627"/>
                <a:gd name="connsiteX14" fmla="*/ 181402 w 186931"/>
                <a:gd name="connsiteY14" fmla="*/ 70455 h 197627"/>
                <a:gd name="connsiteX15" fmla="*/ 186864 w 186931"/>
                <a:gd name="connsiteY15" fmla="*/ 52515 h 197627"/>
                <a:gd name="connsiteX16" fmla="*/ 186162 w 186931"/>
                <a:gd name="connsiteY16" fmla="*/ 34827 h 197627"/>
                <a:gd name="connsiteX17" fmla="*/ 185962 w 186931"/>
                <a:gd name="connsiteY17" fmla="*/ 28412 h 197627"/>
                <a:gd name="connsiteX18" fmla="*/ 166269 w 186931"/>
                <a:gd name="connsiteY18" fmla="*/ 11575 h 197627"/>
                <a:gd name="connsiteX19" fmla="*/ 155645 w 186931"/>
                <a:gd name="connsiteY19" fmla="*/ 0 h 197627"/>
                <a:gd name="connsiteX20" fmla="*/ 117361 w 186931"/>
                <a:gd name="connsiteY20" fmla="*/ 11325 h 197627"/>
                <a:gd name="connsiteX21" fmla="*/ 116560 w 186931"/>
                <a:gd name="connsiteY21" fmla="*/ 12227 h 197627"/>
                <a:gd name="connsiteX22" fmla="*/ 108742 w 186931"/>
                <a:gd name="connsiteY22" fmla="*/ 20345 h 197627"/>
                <a:gd name="connsiteX23" fmla="*/ 84690 w 186931"/>
                <a:gd name="connsiteY23" fmla="*/ 20395 h 197627"/>
                <a:gd name="connsiteX24" fmla="*/ 59735 w 186931"/>
                <a:gd name="connsiteY24" fmla="*/ 6715 h 197627"/>
                <a:gd name="connsiteX25" fmla="*/ 50114 w 186931"/>
                <a:gd name="connsiteY25" fmla="*/ 2906 h 197627"/>
                <a:gd name="connsiteX26" fmla="*/ 46005 w 186931"/>
                <a:gd name="connsiteY26" fmla="*/ 2355 h 197627"/>
                <a:gd name="connsiteX27" fmla="*/ 28416 w 186931"/>
                <a:gd name="connsiteY27" fmla="*/ 7817 h 197627"/>
                <a:gd name="connsiteX28" fmla="*/ 20248 w 186931"/>
                <a:gd name="connsiteY28" fmla="*/ 8920 h 197627"/>
                <a:gd name="connsiteX29" fmla="*/ 54 w 186931"/>
                <a:gd name="connsiteY29" fmla="*/ 36079 h 197627"/>
                <a:gd name="connsiteX30" fmla="*/ 26311 w 186931"/>
                <a:gd name="connsiteY30" fmla="*/ 109290 h 197627"/>
                <a:gd name="connsiteX31" fmla="*/ 43950 w 186931"/>
                <a:gd name="connsiteY31" fmla="*/ 157195 h 19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6931" h="197627">
                  <a:moveTo>
                    <a:pt x="44000" y="157246"/>
                  </a:moveTo>
                  <a:lnTo>
                    <a:pt x="44000" y="157246"/>
                  </a:lnTo>
                  <a:cubicBezTo>
                    <a:pt x="44000" y="157246"/>
                    <a:pt x="44000" y="157646"/>
                    <a:pt x="44000" y="157847"/>
                  </a:cubicBezTo>
                  <a:cubicBezTo>
                    <a:pt x="44000" y="158398"/>
                    <a:pt x="44050" y="158949"/>
                    <a:pt x="44000" y="159501"/>
                  </a:cubicBezTo>
                  <a:cubicBezTo>
                    <a:pt x="41946" y="176388"/>
                    <a:pt x="52469" y="186710"/>
                    <a:pt x="62992" y="194578"/>
                  </a:cubicBezTo>
                  <a:cubicBezTo>
                    <a:pt x="69206" y="199238"/>
                    <a:pt x="73715" y="198637"/>
                    <a:pt x="80230" y="192222"/>
                  </a:cubicBezTo>
                  <a:cubicBezTo>
                    <a:pt x="81282" y="191170"/>
                    <a:pt x="82284" y="189967"/>
                    <a:pt x="83337" y="188765"/>
                  </a:cubicBezTo>
                  <a:cubicBezTo>
                    <a:pt x="86443" y="185157"/>
                    <a:pt x="89650" y="181399"/>
                    <a:pt x="93810" y="180948"/>
                  </a:cubicBezTo>
                  <a:cubicBezTo>
                    <a:pt x="99472" y="180296"/>
                    <a:pt x="104433" y="177991"/>
                    <a:pt x="109694" y="175586"/>
                  </a:cubicBezTo>
                  <a:cubicBezTo>
                    <a:pt x="114355" y="173431"/>
                    <a:pt x="119215" y="171176"/>
                    <a:pt x="124577" y="170224"/>
                  </a:cubicBezTo>
                  <a:cubicBezTo>
                    <a:pt x="130039" y="169222"/>
                    <a:pt x="133697" y="166466"/>
                    <a:pt x="137255" y="160603"/>
                  </a:cubicBezTo>
                  <a:cubicBezTo>
                    <a:pt x="140612" y="155041"/>
                    <a:pt x="144070" y="149479"/>
                    <a:pt x="147528" y="143966"/>
                  </a:cubicBezTo>
                  <a:cubicBezTo>
                    <a:pt x="153942" y="133644"/>
                    <a:pt x="160606" y="122970"/>
                    <a:pt x="166670" y="112247"/>
                  </a:cubicBezTo>
                  <a:cubicBezTo>
                    <a:pt x="169977" y="106434"/>
                    <a:pt x="172132" y="99619"/>
                    <a:pt x="172633" y="93556"/>
                  </a:cubicBezTo>
                  <a:cubicBezTo>
                    <a:pt x="173435" y="84135"/>
                    <a:pt x="176241" y="76819"/>
                    <a:pt x="181402" y="70455"/>
                  </a:cubicBezTo>
                  <a:cubicBezTo>
                    <a:pt x="185511" y="65394"/>
                    <a:pt x="187315" y="59531"/>
                    <a:pt x="186864" y="52515"/>
                  </a:cubicBezTo>
                  <a:cubicBezTo>
                    <a:pt x="186513" y="46703"/>
                    <a:pt x="186313" y="40840"/>
                    <a:pt x="186162" y="34827"/>
                  </a:cubicBezTo>
                  <a:cubicBezTo>
                    <a:pt x="186112" y="32722"/>
                    <a:pt x="186062" y="30567"/>
                    <a:pt x="185962" y="28412"/>
                  </a:cubicBezTo>
                  <a:cubicBezTo>
                    <a:pt x="176040" y="25707"/>
                    <a:pt x="170879" y="18240"/>
                    <a:pt x="166269" y="11575"/>
                  </a:cubicBezTo>
                  <a:cubicBezTo>
                    <a:pt x="163062" y="6915"/>
                    <a:pt x="159955" y="2506"/>
                    <a:pt x="155645" y="0"/>
                  </a:cubicBezTo>
                  <a:lnTo>
                    <a:pt x="117361" y="11325"/>
                  </a:lnTo>
                  <a:cubicBezTo>
                    <a:pt x="117111" y="11575"/>
                    <a:pt x="116860" y="11926"/>
                    <a:pt x="116560" y="12227"/>
                  </a:cubicBezTo>
                  <a:cubicBezTo>
                    <a:pt x="114706" y="14332"/>
                    <a:pt x="111949" y="17488"/>
                    <a:pt x="108742" y="20345"/>
                  </a:cubicBezTo>
                  <a:cubicBezTo>
                    <a:pt x="100675" y="27460"/>
                    <a:pt x="94210" y="29765"/>
                    <a:pt x="84690" y="20395"/>
                  </a:cubicBezTo>
                  <a:cubicBezTo>
                    <a:pt x="77624" y="13379"/>
                    <a:pt x="68955" y="10122"/>
                    <a:pt x="59735" y="6715"/>
                  </a:cubicBezTo>
                  <a:cubicBezTo>
                    <a:pt x="56478" y="5512"/>
                    <a:pt x="53271" y="4310"/>
                    <a:pt x="50114" y="2906"/>
                  </a:cubicBezTo>
                  <a:cubicBezTo>
                    <a:pt x="48660" y="2255"/>
                    <a:pt x="46556" y="2155"/>
                    <a:pt x="46005" y="2355"/>
                  </a:cubicBezTo>
                  <a:cubicBezTo>
                    <a:pt x="40643" y="6915"/>
                    <a:pt x="34128" y="7366"/>
                    <a:pt x="28416" y="7817"/>
                  </a:cubicBezTo>
                  <a:cubicBezTo>
                    <a:pt x="25510" y="8018"/>
                    <a:pt x="22804" y="8218"/>
                    <a:pt x="20248" y="8920"/>
                  </a:cubicBezTo>
                  <a:cubicBezTo>
                    <a:pt x="8622" y="11976"/>
                    <a:pt x="-798" y="24654"/>
                    <a:pt x="54" y="36079"/>
                  </a:cubicBezTo>
                  <a:cubicBezTo>
                    <a:pt x="2258" y="65043"/>
                    <a:pt x="15187" y="90399"/>
                    <a:pt x="26311" y="109290"/>
                  </a:cubicBezTo>
                  <a:cubicBezTo>
                    <a:pt x="41545" y="120314"/>
                    <a:pt x="47307" y="135999"/>
                    <a:pt x="43950" y="15719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56" name="Полилиния: фигура 155">
              <a:extLst>
                <a:ext uri="{FF2B5EF4-FFF2-40B4-BE49-F238E27FC236}">
                  <a16:creationId xmlns:a16="http://schemas.microsoft.com/office/drawing/2014/main" id="{DA3B548A-A4FA-4580-B5AE-885FB88F6796}"/>
                </a:ext>
              </a:extLst>
            </p:cNvPr>
            <p:cNvSpPr/>
            <p:nvPr/>
          </p:nvSpPr>
          <p:spPr>
            <a:xfrm>
              <a:off x="1977511" y="3026999"/>
              <a:ext cx="313091" cy="226315"/>
            </a:xfrm>
            <a:custGeom>
              <a:avLst/>
              <a:gdLst>
                <a:gd name="connsiteX0" fmla="*/ 3758 w 251051"/>
                <a:gd name="connsiteY0" fmla="*/ 49781 h 181470"/>
                <a:gd name="connsiteX1" fmla="*/ 2506 w 251051"/>
                <a:gd name="connsiteY1" fmla="*/ 66217 h 181470"/>
                <a:gd name="connsiteX2" fmla="*/ 30367 w 251051"/>
                <a:gd name="connsiteY2" fmla="*/ 68823 h 181470"/>
                <a:gd name="connsiteX3" fmla="*/ 31770 w 251051"/>
                <a:gd name="connsiteY3" fmla="*/ 68973 h 181470"/>
                <a:gd name="connsiteX4" fmla="*/ 32471 w 251051"/>
                <a:gd name="connsiteY4" fmla="*/ 70176 h 181470"/>
                <a:gd name="connsiteX5" fmla="*/ 39086 w 251051"/>
                <a:gd name="connsiteY5" fmla="*/ 82152 h 181470"/>
                <a:gd name="connsiteX6" fmla="*/ 54720 w 251051"/>
                <a:gd name="connsiteY6" fmla="*/ 108009 h 181470"/>
                <a:gd name="connsiteX7" fmla="*/ 88595 w 251051"/>
                <a:gd name="connsiteY7" fmla="*/ 136271 h 181470"/>
                <a:gd name="connsiteX8" fmla="*/ 89998 w 251051"/>
                <a:gd name="connsiteY8" fmla="*/ 136873 h 181470"/>
                <a:gd name="connsiteX9" fmla="*/ 90198 w 251051"/>
                <a:gd name="connsiteY9" fmla="*/ 138376 h 181470"/>
                <a:gd name="connsiteX10" fmla="*/ 90850 w 251051"/>
                <a:gd name="connsiteY10" fmla="*/ 142635 h 181470"/>
                <a:gd name="connsiteX11" fmla="*/ 91551 w 251051"/>
                <a:gd name="connsiteY11" fmla="*/ 149801 h 181470"/>
                <a:gd name="connsiteX12" fmla="*/ 104329 w 251051"/>
                <a:gd name="connsiteY12" fmla="*/ 169144 h 181470"/>
                <a:gd name="connsiteX13" fmla="*/ 142663 w 251051"/>
                <a:gd name="connsiteY13" fmla="*/ 181471 h 181470"/>
                <a:gd name="connsiteX14" fmla="*/ 168169 w 251051"/>
                <a:gd name="connsiteY14" fmla="*/ 158921 h 181470"/>
                <a:gd name="connsiteX15" fmla="*/ 193976 w 251051"/>
                <a:gd name="connsiteY15" fmla="*/ 170497 h 181470"/>
                <a:gd name="connsiteX16" fmla="*/ 222188 w 251051"/>
                <a:gd name="connsiteY16" fmla="*/ 163281 h 181470"/>
                <a:gd name="connsiteX17" fmla="*/ 243435 w 251051"/>
                <a:gd name="connsiteY17" fmla="*/ 143337 h 181470"/>
                <a:gd name="connsiteX18" fmla="*/ 249298 w 251051"/>
                <a:gd name="connsiteY18" fmla="*/ 139228 h 181470"/>
                <a:gd name="connsiteX19" fmla="*/ 251052 w 251051"/>
                <a:gd name="connsiteY19" fmla="*/ 137825 h 181470"/>
                <a:gd name="connsiteX20" fmla="*/ 250250 w 251051"/>
                <a:gd name="connsiteY20" fmla="*/ 136171 h 181470"/>
                <a:gd name="connsiteX21" fmla="*/ 246492 w 251051"/>
                <a:gd name="connsiteY21" fmla="*/ 128604 h 181470"/>
                <a:gd name="connsiteX22" fmla="*/ 228151 w 251051"/>
                <a:gd name="connsiteY22" fmla="*/ 117731 h 181470"/>
                <a:gd name="connsiteX23" fmla="*/ 225546 w 251051"/>
                <a:gd name="connsiteY23" fmla="*/ 117931 h 181470"/>
                <a:gd name="connsiteX24" fmla="*/ 208107 w 251051"/>
                <a:gd name="connsiteY24" fmla="*/ 114323 h 181470"/>
                <a:gd name="connsiteX25" fmla="*/ 206604 w 251051"/>
                <a:gd name="connsiteY25" fmla="*/ 113171 h 181470"/>
                <a:gd name="connsiteX26" fmla="*/ 207155 w 251051"/>
                <a:gd name="connsiteY26" fmla="*/ 111367 h 181470"/>
                <a:gd name="connsiteX27" fmla="*/ 213970 w 251051"/>
                <a:gd name="connsiteY27" fmla="*/ 100242 h 181470"/>
                <a:gd name="connsiteX28" fmla="*/ 220284 w 251051"/>
                <a:gd name="connsiteY28" fmla="*/ 85410 h 181470"/>
                <a:gd name="connsiteX29" fmla="*/ 217227 w 251051"/>
                <a:gd name="connsiteY29" fmla="*/ 83455 h 181470"/>
                <a:gd name="connsiteX30" fmla="*/ 206454 w 251051"/>
                <a:gd name="connsiteY30" fmla="*/ 77392 h 181470"/>
                <a:gd name="connsiteX31" fmla="*/ 182100 w 251051"/>
                <a:gd name="connsiteY31" fmla="*/ 53590 h 181470"/>
                <a:gd name="connsiteX32" fmla="*/ 176588 w 251051"/>
                <a:gd name="connsiteY32" fmla="*/ 44670 h 181470"/>
                <a:gd name="connsiteX33" fmla="*/ 174533 w 251051"/>
                <a:gd name="connsiteY33" fmla="*/ 41764 h 181470"/>
                <a:gd name="connsiteX34" fmla="*/ 147975 w 251051"/>
                <a:gd name="connsiteY34" fmla="*/ 53189 h 181470"/>
                <a:gd name="connsiteX35" fmla="*/ 146823 w 251051"/>
                <a:gd name="connsiteY35" fmla="*/ 52537 h 181470"/>
                <a:gd name="connsiteX36" fmla="*/ 131038 w 251051"/>
                <a:gd name="connsiteY36" fmla="*/ 43718 h 181470"/>
                <a:gd name="connsiteX37" fmla="*/ 95410 w 251051"/>
                <a:gd name="connsiteY37" fmla="*/ 24375 h 181470"/>
                <a:gd name="connsiteX38" fmla="*/ 48156 w 251051"/>
                <a:gd name="connsiteY38" fmla="*/ 3179 h 181470"/>
                <a:gd name="connsiteX39" fmla="*/ 46151 w 251051"/>
                <a:gd name="connsiteY39" fmla="*/ 2327 h 181470"/>
                <a:gd name="connsiteX40" fmla="*/ 34375 w 251051"/>
                <a:gd name="connsiteY40" fmla="*/ 323 h 181470"/>
                <a:gd name="connsiteX41" fmla="*/ 31469 w 251051"/>
                <a:gd name="connsiteY41" fmla="*/ 1174 h 181470"/>
                <a:gd name="connsiteX42" fmla="*/ 0 w 251051"/>
                <a:gd name="connsiteY42" fmla="*/ 16308 h 181470"/>
                <a:gd name="connsiteX43" fmla="*/ 3808 w 251051"/>
                <a:gd name="connsiteY43" fmla="*/ 49831 h 181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51051" h="181470">
                  <a:moveTo>
                    <a:pt x="3758" y="49781"/>
                  </a:moveTo>
                  <a:cubicBezTo>
                    <a:pt x="3057" y="55193"/>
                    <a:pt x="2305" y="60755"/>
                    <a:pt x="2506" y="66217"/>
                  </a:cubicBezTo>
                  <a:cubicBezTo>
                    <a:pt x="12127" y="67119"/>
                    <a:pt x="20746" y="67871"/>
                    <a:pt x="30367" y="68823"/>
                  </a:cubicBezTo>
                  <a:lnTo>
                    <a:pt x="31770" y="68973"/>
                  </a:lnTo>
                  <a:lnTo>
                    <a:pt x="32471" y="70176"/>
                  </a:lnTo>
                  <a:cubicBezTo>
                    <a:pt x="34726" y="74085"/>
                    <a:pt x="36881" y="78093"/>
                    <a:pt x="39086" y="82152"/>
                  </a:cubicBezTo>
                  <a:cubicBezTo>
                    <a:pt x="43846" y="90922"/>
                    <a:pt x="48707" y="100042"/>
                    <a:pt x="54720" y="108009"/>
                  </a:cubicBezTo>
                  <a:cubicBezTo>
                    <a:pt x="64943" y="121589"/>
                    <a:pt x="75716" y="130559"/>
                    <a:pt x="88595" y="136271"/>
                  </a:cubicBezTo>
                  <a:lnTo>
                    <a:pt x="89998" y="136873"/>
                  </a:lnTo>
                  <a:lnTo>
                    <a:pt x="90198" y="138376"/>
                  </a:lnTo>
                  <a:cubicBezTo>
                    <a:pt x="90399" y="139979"/>
                    <a:pt x="90649" y="141332"/>
                    <a:pt x="90850" y="142635"/>
                  </a:cubicBezTo>
                  <a:cubicBezTo>
                    <a:pt x="91301" y="145241"/>
                    <a:pt x="91651" y="147446"/>
                    <a:pt x="91551" y="149801"/>
                  </a:cubicBezTo>
                  <a:cubicBezTo>
                    <a:pt x="91050" y="158821"/>
                    <a:pt x="94758" y="164433"/>
                    <a:pt x="104329" y="169144"/>
                  </a:cubicBezTo>
                  <a:cubicBezTo>
                    <a:pt x="115404" y="174555"/>
                    <a:pt x="127580" y="178514"/>
                    <a:pt x="142663" y="181471"/>
                  </a:cubicBezTo>
                  <a:lnTo>
                    <a:pt x="168169" y="158921"/>
                  </a:lnTo>
                  <a:lnTo>
                    <a:pt x="193976" y="170497"/>
                  </a:lnTo>
                  <a:cubicBezTo>
                    <a:pt x="209110" y="177261"/>
                    <a:pt x="214672" y="175858"/>
                    <a:pt x="222188" y="163281"/>
                  </a:cubicBezTo>
                  <a:cubicBezTo>
                    <a:pt x="227700" y="154060"/>
                    <a:pt x="234465" y="147747"/>
                    <a:pt x="243435" y="143337"/>
                  </a:cubicBezTo>
                  <a:cubicBezTo>
                    <a:pt x="245339" y="142385"/>
                    <a:pt x="247193" y="140932"/>
                    <a:pt x="249298" y="139228"/>
                  </a:cubicBezTo>
                  <a:cubicBezTo>
                    <a:pt x="249849" y="138777"/>
                    <a:pt x="250450" y="138326"/>
                    <a:pt x="251052" y="137825"/>
                  </a:cubicBezTo>
                  <a:lnTo>
                    <a:pt x="250250" y="136171"/>
                  </a:lnTo>
                  <a:cubicBezTo>
                    <a:pt x="248897" y="133365"/>
                    <a:pt x="247744" y="130960"/>
                    <a:pt x="246492" y="128604"/>
                  </a:cubicBezTo>
                  <a:cubicBezTo>
                    <a:pt x="242332" y="120637"/>
                    <a:pt x="236620" y="117330"/>
                    <a:pt x="228151" y="117731"/>
                  </a:cubicBezTo>
                  <a:cubicBezTo>
                    <a:pt x="227299" y="117731"/>
                    <a:pt x="226448" y="117831"/>
                    <a:pt x="225546" y="117931"/>
                  </a:cubicBezTo>
                  <a:cubicBezTo>
                    <a:pt x="220434" y="118332"/>
                    <a:pt x="214020" y="118833"/>
                    <a:pt x="208107" y="114323"/>
                  </a:cubicBezTo>
                  <a:lnTo>
                    <a:pt x="206604" y="113171"/>
                  </a:lnTo>
                  <a:lnTo>
                    <a:pt x="207155" y="111367"/>
                  </a:lnTo>
                  <a:cubicBezTo>
                    <a:pt x="208558" y="106957"/>
                    <a:pt x="211314" y="103549"/>
                    <a:pt x="213970" y="100242"/>
                  </a:cubicBezTo>
                  <a:cubicBezTo>
                    <a:pt x="217728" y="95632"/>
                    <a:pt x="220986" y="91573"/>
                    <a:pt x="220284" y="85410"/>
                  </a:cubicBezTo>
                  <a:cubicBezTo>
                    <a:pt x="219282" y="84808"/>
                    <a:pt x="218229" y="84157"/>
                    <a:pt x="217227" y="83455"/>
                  </a:cubicBezTo>
                  <a:cubicBezTo>
                    <a:pt x="213770" y="81250"/>
                    <a:pt x="210262" y="78945"/>
                    <a:pt x="206454" y="77392"/>
                  </a:cubicBezTo>
                  <a:cubicBezTo>
                    <a:pt x="194928" y="72632"/>
                    <a:pt x="186961" y="64814"/>
                    <a:pt x="182100" y="53590"/>
                  </a:cubicBezTo>
                  <a:cubicBezTo>
                    <a:pt x="180797" y="50583"/>
                    <a:pt x="178743" y="47727"/>
                    <a:pt x="176588" y="44670"/>
                  </a:cubicBezTo>
                  <a:cubicBezTo>
                    <a:pt x="175886" y="43718"/>
                    <a:pt x="175235" y="42766"/>
                    <a:pt x="174533" y="41764"/>
                  </a:cubicBezTo>
                  <a:lnTo>
                    <a:pt x="147975" y="53189"/>
                  </a:lnTo>
                  <a:lnTo>
                    <a:pt x="146823" y="52537"/>
                  </a:lnTo>
                  <a:cubicBezTo>
                    <a:pt x="141561" y="49631"/>
                    <a:pt x="136299" y="46675"/>
                    <a:pt x="131038" y="43718"/>
                  </a:cubicBezTo>
                  <a:cubicBezTo>
                    <a:pt x="119462" y="37204"/>
                    <a:pt x="107486" y="30439"/>
                    <a:pt x="95410" y="24375"/>
                  </a:cubicBezTo>
                  <a:cubicBezTo>
                    <a:pt x="80026" y="16658"/>
                    <a:pt x="63840" y="9793"/>
                    <a:pt x="48156" y="3179"/>
                  </a:cubicBezTo>
                  <a:lnTo>
                    <a:pt x="46151" y="2327"/>
                  </a:lnTo>
                  <a:cubicBezTo>
                    <a:pt x="41191" y="222"/>
                    <a:pt x="36981" y="-479"/>
                    <a:pt x="34375" y="323"/>
                  </a:cubicBezTo>
                  <a:lnTo>
                    <a:pt x="31469" y="1174"/>
                  </a:lnTo>
                  <a:cubicBezTo>
                    <a:pt x="20796" y="4331"/>
                    <a:pt x="9822" y="7639"/>
                    <a:pt x="0" y="16308"/>
                  </a:cubicBezTo>
                  <a:cubicBezTo>
                    <a:pt x="6815" y="27182"/>
                    <a:pt x="5261" y="38707"/>
                    <a:pt x="3808" y="4983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57" name="Полилиния: фигура 156">
              <a:extLst>
                <a:ext uri="{FF2B5EF4-FFF2-40B4-BE49-F238E27FC236}">
                  <a16:creationId xmlns:a16="http://schemas.microsoft.com/office/drawing/2014/main" id="{0DB9CC27-03AD-4EC8-93EC-FD18E1ADE089}"/>
                </a:ext>
              </a:extLst>
            </p:cNvPr>
            <p:cNvSpPr/>
            <p:nvPr/>
          </p:nvSpPr>
          <p:spPr>
            <a:xfrm>
              <a:off x="1223653" y="3167674"/>
              <a:ext cx="232320" cy="277808"/>
            </a:xfrm>
            <a:custGeom>
              <a:avLst/>
              <a:gdLst>
                <a:gd name="connsiteX0" fmla="*/ 24203 w 186285"/>
                <a:gd name="connsiteY0" fmla="*/ 40459 h 222759"/>
                <a:gd name="connsiteX1" fmla="*/ 14031 w 186285"/>
                <a:gd name="connsiteY1" fmla="*/ 46271 h 222759"/>
                <a:gd name="connsiteX2" fmla="*/ 0 w 186285"/>
                <a:gd name="connsiteY2" fmla="*/ 62056 h 222759"/>
                <a:gd name="connsiteX3" fmla="*/ 21197 w 186285"/>
                <a:gd name="connsiteY3" fmla="*/ 78542 h 222759"/>
                <a:gd name="connsiteX4" fmla="*/ 24905 w 186285"/>
                <a:gd name="connsiteY4" fmla="*/ 104499 h 222759"/>
                <a:gd name="connsiteX5" fmla="*/ 32572 w 186285"/>
                <a:gd name="connsiteY5" fmla="*/ 108107 h 222759"/>
                <a:gd name="connsiteX6" fmla="*/ 51613 w 186285"/>
                <a:gd name="connsiteY6" fmla="*/ 117077 h 222759"/>
                <a:gd name="connsiteX7" fmla="*/ 65694 w 186285"/>
                <a:gd name="connsiteY7" fmla="*/ 137622 h 222759"/>
                <a:gd name="connsiteX8" fmla="*/ 66446 w 186285"/>
                <a:gd name="connsiteY8" fmla="*/ 146842 h 222759"/>
                <a:gd name="connsiteX9" fmla="*/ 67248 w 186285"/>
                <a:gd name="connsiteY9" fmla="*/ 156363 h 222759"/>
                <a:gd name="connsiteX10" fmla="*/ 78923 w 186285"/>
                <a:gd name="connsiteY10" fmla="*/ 183573 h 222759"/>
                <a:gd name="connsiteX11" fmla="*/ 86490 w 186285"/>
                <a:gd name="connsiteY11" fmla="*/ 205121 h 222759"/>
                <a:gd name="connsiteX12" fmla="*/ 86440 w 186285"/>
                <a:gd name="connsiteY12" fmla="*/ 211034 h 222759"/>
                <a:gd name="connsiteX13" fmla="*/ 86440 w 186285"/>
                <a:gd name="connsiteY13" fmla="*/ 212537 h 222759"/>
                <a:gd name="connsiteX14" fmla="*/ 102024 w 186285"/>
                <a:gd name="connsiteY14" fmla="*/ 222759 h 222759"/>
                <a:gd name="connsiteX15" fmla="*/ 134195 w 186285"/>
                <a:gd name="connsiteY15" fmla="*/ 214441 h 222759"/>
                <a:gd name="connsiteX16" fmla="*/ 137552 w 186285"/>
                <a:gd name="connsiteY16" fmla="*/ 204068 h 222759"/>
                <a:gd name="connsiteX17" fmla="*/ 145019 w 186285"/>
                <a:gd name="connsiteY17" fmla="*/ 180516 h 222759"/>
                <a:gd name="connsiteX18" fmla="*/ 158548 w 186285"/>
                <a:gd name="connsiteY18" fmla="*/ 165333 h 222759"/>
                <a:gd name="connsiteX19" fmla="*/ 177189 w 186285"/>
                <a:gd name="connsiteY19" fmla="*/ 155762 h 222759"/>
                <a:gd name="connsiteX20" fmla="*/ 184956 w 186285"/>
                <a:gd name="connsiteY20" fmla="*/ 151703 h 222759"/>
                <a:gd name="connsiteX21" fmla="*/ 185207 w 186285"/>
                <a:gd name="connsiteY21" fmla="*/ 144136 h 222759"/>
                <a:gd name="connsiteX22" fmla="*/ 186159 w 186285"/>
                <a:gd name="connsiteY22" fmla="*/ 124543 h 222759"/>
                <a:gd name="connsiteX23" fmla="*/ 179144 w 186285"/>
                <a:gd name="connsiteY23" fmla="*/ 105802 h 222759"/>
                <a:gd name="connsiteX24" fmla="*/ 160352 w 186285"/>
                <a:gd name="connsiteY24" fmla="*/ 77490 h 222759"/>
                <a:gd name="connsiteX25" fmla="*/ 157145 w 186285"/>
                <a:gd name="connsiteY25" fmla="*/ 70074 h 222759"/>
                <a:gd name="connsiteX26" fmla="*/ 143265 w 186285"/>
                <a:gd name="connsiteY26" fmla="*/ 25325 h 222759"/>
                <a:gd name="connsiteX27" fmla="*/ 131288 w 186285"/>
                <a:gd name="connsiteY27" fmla="*/ 11144 h 222759"/>
                <a:gd name="connsiteX28" fmla="*/ 108789 w 186285"/>
                <a:gd name="connsiteY28" fmla="*/ 5782 h 222759"/>
                <a:gd name="connsiteX29" fmla="*/ 85388 w 186285"/>
                <a:gd name="connsiteY29" fmla="*/ 220 h 222759"/>
                <a:gd name="connsiteX30" fmla="*/ 75716 w 186285"/>
                <a:gd name="connsiteY30" fmla="*/ 1523 h 222759"/>
                <a:gd name="connsiteX31" fmla="*/ 44498 w 186285"/>
                <a:gd name="connsiteY31" fmla="*/ 13499 h 222759"/>
                <a:gd name="connsiteX32" fmla="*/ 32622 w 186285"/>
                <a:gd name="connsiteY32" fmla="*/ 18110 h 222759"/>
                <a:gd name="connsiteX33" fmla="*/ 24855 w 186285"/>
                <a:gd name="connsiteY33" fmla="*/ 39857 h 222759"/>
                <a:gd name="connsiteX34" fmla="*/ 24253 w 186285"/>
                <a:gd name="connsiteY34" fmla="*/ 40359 h 22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86285" h="222759">
                  <a:moveTo>
                    <a:pt x="24203" y="40459"/>
                  </a:moveTo>
                  <a:cubicBezTo>
                    <a:pt x="20996" y="42914"/>
                    <a:pt x="17438" y="44618"/>
                    <a:pt x="14031" y="46271"/>
                  </a:cubicBezTo>
                  <a:cubicBezTo>
                    <a:pt x="6564" y="49879"/>
                    <a:pt x="601" y="52736"/>
                    <a:pt x="0" y="62056"/>
                  </a:cubicBezTo>
                  <a:lnTo>
                    <a:pt x="21197" y="78542"/>
                  </a:lnTo>
                  <a:lnTo>
                    <a:pt x="24905" y="104499"/>
                  </a:lnTo>
                  <a:lnTo>
                    <a:pt x="32572" y="108107"/>
                  </a:lnTo>
                  <a:cubicBezTo>
                    <a:pt x="38986" y="111164"/>
                    <a:pt x="45249" y="114121"/>
                    <a:pt x="51613" y="117077"/>
                  </a:cubicBezTo>
                  <a:cubicBezTo>
                    <a:pt x="61084" y="121537"/>
                    <a:pt x="65694" y="128252"/>
                    <a:pt x="65694" y="137622"/>
                  </a:cubicBezTo>
                  <a:cubicBezTo>
                    <a:pt x="65694" y="140629"/>
                    <a:pt x="66095" y="143686"/>
                    <a:pt x="66446" y="146842"/>
                  </a:cubicBezTo>
                  <a:cubicBezTo>
                    <a:pt x="66847" y="149949"/>
                    <a:pt x="67248" y="153156"/>
                    <a:pt x="67248" y="156363"/>
                  </a:cubicBezTo>
                  <a:cubicBezTo>
                    <a:pt x="67348" y="168340"/>
                    <a:pt x="71056" y="177009"/>
                    <a:pt x="78923" y="183573"/>
                  </a:cubicBezTo>
                  <a:cubicBezTo>
                    <a:pt x="84887" y="188584"/>
                    <a:pt x="87342" y="195650"/>
                    <a:pt x="86490" y="205121"/>
                  </a:cubicBezTo>
                  <a:cubicBezTo>
                    <a:pt x="86340" y="207025"/>
                    <a:pt x="86390" y="208979"/>
                    <a:pt x="86440" y="211034"/>
                  </a:cubicBezTo>
                  <a:cubicBezTo>
                    <a:pt x="86440" y="211534"/>
                    <a:pt x="86440" y="212036"/>
                    <a:pt x="86440" y="212537"/>
                  </a:cubicBezTo>
                  <a:lnTo>
                    <a:pt x="102024" y="222759"/>
                  </a:lnTo>
                  <a:lnTo>
                    <a:pt x="134195" y="214441"/>
                  </a:lnTo>
                  <a:cubicBezTo>
                    <a:pt x="135347" y="210883"/>
                    <a:pt x="136450" y="207425"/>
                    <a:pt x="137552" y="204068"/>
                  </a:cubicBezTo>
                  <a:cubicBezTo>
                    <a:pt x="140208" y="195900"/>
                    <a:pt x="142714" y="188183"/>
                    <a:pt x="145019" y="180516"/>
                  </a:cubicBezTo>
                  <a:cubicBezTo>
                    <a:pt x="147023" y="173802"/>
                    <a:pt x="151332" y="168991"/>
                    <a:pt x="158548" y="165333"/>
                  </a:cubicBezTo>
                  <a:cubicBezTo>
                    <a:pt x="164712" y="162226"/>
                    <a:pt x="170825" y="159069"/>
                    <a:pt x="177189" y="155762"/>
                  </a:cubicBezTo>
                  <a:lnTo>
                    <a:pt x="184956" y="151703"/>
                  </a:lnTo>
                  <a:cubicBezTo>
                    <a:pt x="185057" y="149147"/>
                    <a:pt x="185107" y="146642"/>
                    <a:pt x="185207" y="144136"/>
                  </a:cubicBezTo>
                  <a:cubicBezTo>
                    <a:pt x="185407" y="137372"/>
                    <a:pt x="185608" y="131008"/>
                    <a:pt x="186159" y="124543"/>
                  </a:cubicBezTo>
                  <a:cubicBezTo>
                    <a:pt x="186861" y="116275"/>
                    <a:pt x="184656" y="110312"/>
                    <a:pt x="179144" y="105802"/>
                  </a:cubicBezTo>
                  <a:cubicBezTo>
                    <a:pt x="169723" y="98135"/>
                    <a:pt x="164712" y="87612"/>
                    <a:pt x="160352" y="77490"/>
                  </a:cubicBezTo>
                  <a:cubicBezTo>
                    <a:pt x="159300" y="74985"/>
                    <a:pt x="158248" y="72529"/>
                    <a:pt x="157145" y="70074"/>
                  </a:cubicBezTo>
                  <a:cubicBezTo>
                    <a:pt x="151032" y="56043"/>
                    <a:pt x="144668" y="41511"/>
                    <a:pt x="143265" y="25325"/>
                  </a:cubicBezTo>
                  <a:cubicBezTo>
                    <a:pt x="142563" y="17308"/>
                    <a:pt x="138755" y="12798"/>
                    <a:pt x="131288" y="11144"/>
                  </a:cubicBezTo>
                  <a:cubicBezTo>
                    <a:pt x="123722" y="9491"/>
                    <a:pt x="116155" y="7586"/>
                    <a:pt x="108789" y="5782"/>
                  </a:cubicBezTo>
                  <a:cubicBezTo>
                    <a:pt x="101122" y="3878"/>
                    <a:pt x="93205" y="1874"/>
                    <a:pt x="85388" y="220"/>
                  </a:cubicBezTo>
                  <a:cubicBezTo>
                    <a:pt x="82882" y="-331"/>
                    <a:pt x="79374" y="170"/>
                    <a:pt x="75716" y="1523"/>
                  </a:cubicBezTo>
                  <a:cubicBezTo>
                    <a:pt x="65344" y="5331"/>
                    <a:pt x="55221" y="9290"/>
                    <a:pt x="44498" y="13499"/>
                  </a:cubicBezTo>
                  <a:lnTo>
                    <a:pt x="32622" y="18110"/>
                  </a:lnTo>
                  <a:lnTo>
                    <a:pt x="24855" y="39857"/>
                  </a:lnTo>
                  <a:lnTo>
                    <a:pt x="24253" y="40359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58" name="Полилиния: фигура 157">
              <a:extLst>
                <a:ext uri="{FF2B5EF4-FFF2-40B4-BE49-F238E27FC236}">
                  <a16:creationId xmlns:a16="http://schemas.microsoft.com/office/drawing/2014/main" id="{4F04C9EA-68BA-4872-AC8A-6BFAE1E3C312}"/>
                </a:ext>
              </a:extLst>
            </p:cNvPr>
            <p:cNvSpPr/>
            <p:nvPr/>
          </p:nvSpPr>
          <p:spPr>
            <a:xfrm>
              <a:off x="1363201" y="3374767"/>
              <a:ext cx="275284" cy="254756"/>
            </a:xfrm>
            <a:custGeom>
              <a:avLst/>
              <a:gdLst>
                <a:gd name="connsiteX0" fmla="*/ 216626 w 220735"/>
                <a:gd name="connsiteY0" fmla="*/ 74741 h 204275"/>
                <a:gd name="connsiteX1" fmla="*/ 220735 w 220735"/>
                <a:gd name="connsiteY1" fmla="*/ 71484 h 204275"/>
                <a:gd name="connsiteX2" fmla="*/ 219482 w 220735"/>
                <a:gd name="connsiteY2" fmla="*/ 44074 h 204275"/>
                <a:gd name="connsiteX3" fmla="*/ 199087 w 220735"/>
                <a:gd name="connsiteY3" fmla="*/ 36056 h 204275"/>
                <a:gd name="connsiteX4" fmla="*/ 183002 w 220735"/>
                <a:gd name="connsiteY4" fmla="*/ 31947 h 204275"/>
                <a:gd name="connsiteX5" fmla="*/ 181850 w 220735"/>
                <a:gd name="connsiteY5" fmla="*/ 31296 h 204275"/>
                <a:gd name="connsiteX6" fmla="*/ 181649 w 220735"/>
                <a:gd name="connsiteY6" fmla="*/ 29993 h 204275"/>
                <a:gd name="connsiteX7" fmla="*/ 180597 w 220735"/>
                <a:gd name="connsiteY7" fmla="*/ 22527 h 204275"/>
                <a:gd name="connsiteX8" fmla="*/ 177891 w 220735"/>
                <a:gd name="connsiteY8" fmla="*/ 6391 h 204275"/>
                <a:gd name="connsiteX9" fmla="*/ 174133 w 220735"/>
                <a:gd name="connsiteY9" fmla="*/ 678 h 204275"/>
                <a:gd name="connsiteX10" fmla="*/ 167067 w 220735"/>
                <a:gd name="connsiteY10" fmla="*/ 829 h 204275"/>
                <a:gd name="connsiteX11" fmla="*/ 162557 w 220735"/>
                <a:gd name="connsiteY11" fmla="*/ 3084 h 204275"/>
                <a:gd name="connsiteX12" fmla="*/ 153638 w 220735"/>
                <a:gd name="connsiteY12" fmla="*/ 6641 h 204275"/>
                <a:gd name="connsiteX13" fmla="*/ 134696 w 220735"/>
                <a:gd name="connsiteY13" fmla="*/ 18969 h 204275"/>
                <a:gd name="connsiteX14" fmla="*/ 120866 w 220735"/>
                <a:gd name="connsiteY14" fmla="*/ 25784 h 204275"/>
                <a:gd name="connsiteX15" fmla="*/ 94909 w 220735"/>
                <a:gd name="connsiteY15" fmla="*/ 17014 h 204275"/>
                <a:gd name="connsiteX16" fmla="*/ 83383 w 220735"/>
                <a:gd name="connsiteY16" fmla="*/ 6090 h 204275"/>
                <a:gd name="connsiteX17" fmla="*/ 79575 w 220735"/>
                <a:gd name="connsiteY17" fmla="*/ 2532 h 204275"/>
                <a:gd name="connsiteX18" fmla="*/ 39838 w 220735"/>
                <a:gd name="connsiteY18" fmla="*/ 50839 h 204275"/>
                <a:gd name="connsiteX19" fmla="*/ 39537 w 220735"/>
                <a:gd name="connsiteY19" fmla="*/ 54046 h 204275"/>
                <a:gd name="connsiteX20" fmla="*/ 38635 w 220735"/>
                <a:gd name="connsiteY20" fmla="*/ 60510 h 204275"/>
                <a:gd name="connsiteX21" fmla="*/ 36029 w 220735"/>
                <a:gd name="connsiteY21" fmla="*/ 66824 h 204275"/>
                <a:gd name="connsiteX22" fmla="*/ 34576 w 220735"/>
                <a:gd name="connsiteY22" fmla="*/ 69931 h 204275"/>
                <a:gd name="connsiteX23" fmla="*/ 33674 w 220735"/>
                <a:gd name="connsiteY23" fmla="*/ 71935 h 204275"/>
                <a:gd name="connsiteX24" fmla="*/ 31519 w 220735"/>
                <a:gd name="connsiteY24" fmla="*/ 71484 h 204275"/>
                <a:gd name="connsiteX25" fmla="*/ 24955 w 220735"/>
                <a:gd name="connsiteY25" fmla="*/ 69780 h 204275"/>
                <a:gd name="connsiteX26" fmla="*/ 0 w 220735"/>
                <a:gd name="connsiteY26" fmla="*/ 73689 h 204275"/>
                <a:gd name="connsiteX27" fmla="*/ 22800 w 220735"/>
                <a:gd name="connsiteY27" fmla="*/ 99245 h 204275"/>
                <a:gd name="connsiteX28" fmla="*/ 41591 w 220735"/>
                <a:gd name="connsiteY28" fmla="*/ 106661 h 204275"/>
                <a:gd name="connsiteX29" fmla="*/ 48958 w 220735"/>
                <a:gd name="connsiteY29" fmla="*/ 109317 h 204275"/>
                <a:gd name="connsiteX30" fmla="*/ 68751 w 220735"/>
                <a:gd name="connsiteY30" fmla="*/ 127858 h 204275"/>
                <a:gd name="connsiteX31" fmla="*/ 68751 w 220735"/>
                <a:gd name="connsiteY31" fmla="*/ 127858 h 204275"/>
                <a:gd name="connsiteX32" fmla="*/ 72760 w 220735"/>
                <a:gd name="connsiteY32" fmla="*/ 132217 h 204275"/>
                <a:gd name="connsiteX33" fmla="*/ 93105 w 220735"/>
                <a:gd name="connsiteY33" fmla="*/ 156471 h 204275"/>
                <a:gd name="connsiteX34" fmla="*/ 105432 w 220735"/>
                <a:gd name="connsiteY34" fmla="*/ 176164 h 204275"/>
                <a:gd name="connsiteX35" fmla="*/ 117709 w 220735"/>
                <a:gd name="connsiteY35" fmla="*/ 187840 h 204275"/>
                <a:gd name="connsiteX36" fmla="*/ 124173 w 220735"/>
                <a:gd name="connsiteY36" fmla="*/ 194304 h 204275"/>
                <a:gd name="connsiteX37" fmla="*/ 132040 w 220735"/>
                <a:gd name="connsiteY37" fmla="*/ 201470 h 204275"/>
                <a:gd name="connsiteX38" fmla="*/ 135247 w 220735"/>
                <a:gd name="connsiteY38" fmla="*/ 204276 h 204275"/>
                <a:gd name="connsiteX39" fmla="*/ 156344 w 220735"/>
                <a:gd name="connsiteY39" fmla="*/ 190746 h 204275"/>
                <a:gd name="connsiteX40" fmla="*/ 154840 w 220735"/>
                <a:gd name="connsiteY40" fmla="*/ 180173 h 204275"/>
                <a:gd name="connsiteX41" fmla="*/ 150831 w 220735"/>
                <a:gd name="connsiteY41" fmla="*/ 152963 h 204275"/>
                <a:gd name="connsiteX42" fmla="*/ 158348 w 220735"/>
                <a:gd name="connsiteY42" fmla="*/ 126856 h 204275"/>
                <a:gd name="connsiteX43" fmla="*/ 164461 w 220735"/>
                <a:gd name="connsiteY43" fmla="*/ 119941 h 204275"/>
                <a:gd name="connsiteX44" fmla="*/ 205251 w 220735"/>
                <a:gd name="connsiteY44" fmla="*/ 82909 h 204275"/>
                <a:gd name="connsiteX45" fmla="*/ 216576 w 220735"/>
                <a:gd name="connsiteY45" fmla="*/ 74691 h 20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20735" h="204275">
                  <a:moveTo>
                    <a:pt x="216626" y="74741"/>
                  </a:moveTo>
                  <a:cubicBezTo>
                    <a:pt x="217979" y="73639"/>
                    <a:pt x="219332" y="72536"/>
                    <a:pt x="220735" y="71484"/>
                  </a:cubicBezTo>
                  <a:lnTo>
                    <a:pt x="219482" y="44074"/>
                  </a:lnTo>
                  <a:cubicBezTo>
                    <a:pt x="213870" y="37810"/>
                    <a:pt x="206704" y="36958"/>
                    <a:pt x="199087" y="36056"/>
                  </a:cubicBezTo>
                  <a:cubicBezTo>
                    <a:pt x="193625" y="35405"/>
                    <a:pt x="188013" y="34703"/>
                    <a:pt x="183002" y="31947"/>
                  </a:cubicBezTo>
                  <a:lnTo>
                    <a:pt x="181850" y="31296"/>
                  </a:lnTo>
                  <a:lnTo>
                    <a:pt x="181649" y="29993"/>
                  </a:lnTo>
                  <a:cubicBezTo>
                    <a:pt x="181248" y="27437"/>
                    <a:pt x="180948" y="24932"/>
                    <a:pt x="180597" y="22527"/>
                  </a:cubicBezTo>
                  <a:cubicBezTo>
                    <a:pt x="179845" y="16864"/>
                    <a:pt x="179094" y="11552"/>
                    <a:pt x="177891" y="6391"/>
                  </a:cubicBezTo>
                  <a:cubicBezTo>
                    <a:pt x="177440" y="4437"/>
                    <a:pt x="176438" y="1881"/>
                    <a:pt x="174133" y="678"/>
                  </a:cubicBezTo>
                  <a:cubicBezTo>
                    <a:pt x="172279" y="-274"/>
                    <a:pt x="169823" y="-224"/>
                    <a:pt x="167067" y="829"/>
                  </a:cubicBezTo>
                  <a:cubicBezTo>
                    <a:pt x="165514" y="1430"/>
                    <a:pt x="164061" y="2282"/>
                    <a:pt x="162557" y="3084"/>
                  </a:cubicBezTo>
                  <a:cubicBezTo>
                    <a:pt x="159751" y="4587"/>
                    <a:pt x="156895" y="6191"/>
                    <a:pt x="153638" y="6641"/>
                  </a:cubicBezTo>
                  <a:cubicBezTo>
                    <a:pt x="145219" y="7844"/>
                    <a:pt x="139507" y="11552"/>
                    <a:pt x="134696" y="18969"/>
                  </a:cubicBezTo>
                  <a:cubicBezTo>
                    <a:pt x="132040" y="23078"/>
                    <a:pt x="125726" y="24932"/>
                    <a:pt x="120866" y="25784"/>
                  </a:cubicBezTo>
                  <a:cubicBezTo>
                    <a:pt x="111395" y="27437"/>
                    <a:pt x="102676" y="24481"/>
                    <a:pt x="94909" y="17014"/>
                  </a:cubicBezTo>
                  <a:cubicBezTo>
                    <a:pt x="91050" y="13306"/>
                    <a:pt x="87141" y="9598"/>
                    <a:pt x="83383" y="6090"/>
                  </a:cubicBezTo>
                  <a:lnTo>
                    <a:pt x="79575" y="2532"/>
                  </a:lnTo>
                  <a:cubicBezTo>
                    <a:pt x="50461" y="10600"/>
                    <a:pt x="44698" y="13857"/>
                    <a:pt x="39838" y="50839"/>
                  </a:cubicBezTo>
                  <a:cubicBezTo>
                    <a:pt x="39687" y="51891"/>
                    <a:pt x="39637" y="52993"/>
                    <a:pt x="39537" y="54046"/>
                  </a:cubicBezTo>
                  <a:cubicBezTo>
                    <a:pt x="39387" y="56150"/>
                    <a:pt x="39236" y="58355"/>
                    <a:pt x="38635" y="60510"/>
                  </a:cubicBezTo>
                  <a:cubicBezTo>
                    <a:pt x="38084" y="62715"/>
                    <a:pt x="37081" y="64719"/>
                    <a:pt x="36029" y="66824"/>
                  </a:cubicBezTo>
                  <a:cubicBezTo>
                    <a:pt x="35528" y="67776"/>
                    <a:pt x="35027" y="68828"/>
                    <a:pt x="34576" y="69931"/>
                  </a:cubicBezTo>
                  <a:lnTo>
                    <a:pt x="33674" y="71935"/>
                  </a:lnTo>
                  <a:lnTo>
                    <a:pt x="31519" y="71484"/>
                  </a:lnTo>
                  <a:cubicBezTo>
                    <a:pt x="29314" y="70983"/>
                    <a:pt x="27160" y="70382"/>
                    <a:pt x="24955" y="69780"/>
                  </a:cubicBezTo>
                  <a:cubicBezTo>
                    <a:pt x="15434" y="67074"/>
                    <a:pt x="7166" y="64769"/>
                    <a:pt x="0" y="73689"/>
                  </a:cubicBezTo>
                  <a:cubicBezTo>
                    <a:pt x="1754" y="84563"/>
                    <a:pt x="8870" y="92480"/>
                    <a:pt x="22800" y="99245"/>
                  </a:cubicBezTo>
                  <a:cubicBezTo>
                    <a:pt x="28813" y="102151"/>
                    <a:pt x="35328" y="104456"/>
                    <a:pt x="41591" y="106661"/>
                  </a:cubicBezTo>
                  <a:cubicBezTo>
                    <a:pt x="44047" y="107513"/>
                    <a:pt x="46502" y="108415"/>
                    <a:pt x="48958" y="109317"/>
                  </a:cubicBezTo>
                  <a:cubicBezTo>
                    <a:pt x="57577" y="112474"/>
                    <a:pt x="66195" y="116533"/>
                    <a:pt x="68751" y="127858"/>
                  </a:cubicBezTo>
                  <a:lnTo>
                    <a:pt x="68751" y="127858"/>
                  </a:lnTo>
                  <a:cubicBezTo>
                    <a:pt x="69102" y="129512"/>
                    <a:pt x="71607" y="132017"/>
                    <a:pt x="72760" y="132217"/>
                  </a:cubicBezTo>
                  <a:cubicBezTo>
                    <a:pt x="88394" y="134723"/>
                    <a:pt x="91451" y="148854"/>
                    <a:pt x="93105" y="156471"/>
                  </a:cubicBezTo>
                  <a:cubicBezTo>
                    <a:pt x="94858" y="164589"/>
                    <a:pt x="98567" y="170502"/>
                    <a:pt x="105432" y="176164"/>
                  </a:cubicBezTo>
                  <a:cubicBezTo>
                    <a:pt x="109841" y="179772"/>
                    <a:pt x="113850" y="183881"/>
                    <a:pt x="117709" y="187840"/>
                  </a:cubicBezTo>
                  <a:cubicBezTo>
                    <a:pt x="119863" y="190045"/>
                    <a:pt x="121968" y="192199"/>
                    <a:pt x="124173" y="194304"/>
                  </a:cubicBezTo>
                  <a:cubicBezTo>
                    <a:pt x="126728" y="196759"/>
                    <a:pt x="129334" y="199064"/>
                    <a:pt x="132040" y="201470"/>
                  </a:cubicBezTo>
                  <a:cubicBezTo>
                    <a:pt x="133092" y="202372"/>
                    <a:pt x="134145" y="203324"/>
                    <a:pt x="135247" y="204276"/>
                  </a:cubicBezTo>
                  <a:cubicBezTo>
                    <a:pt x="144267" y="201520"/>
                    <a:pt x="151032" y="198112"/>
                    <a:pt x="156344" y="190746"/>
                  </a:cubicBezTo>
                  <a:cubicBezTo>
                    <a:pt x="155842" y="187288"/>
                    <a:pt x="155341" y="183731"/>
                    <a:pt x="154840" y="180173"/>
                  </a:cubicBezTo>
                  <a:cubicBezTo>
                    <a:pt x="153587" y="171253"/>
                    <a:pt x="152335" y="162083"/>
                    <a:pt x="150831" y="152963"/>
                  </a:cubicBezTo>
                  <a:cubicBezTo>
                    <a:pt x="149178" y="142841"/>
                    <a:pt x="151633" y="134322"/>
                    <a:pt x="158348" y="126856"/>
                  </a:cubicBezTo>
                  <a:cubicBezTo>
                    <a:pt x="160402" y="124551"/>
                    <a:pt x="162407" y="122246"/>
                    <a:pt x="164461" y="119941"/>
                  </a:cubicBezTo>
                  <a:cubicBezTo>
                    <a:pt x="176388" y="106411"/>
                    <a:pt x="188715" y="92380"/>
                    <a:pt x="205251" y="82909"/>
                  </a:cubicBezTo>
                  <a:cubicBezTo>
                    <a:pt x="209210" y="80654"/>
                    <a:pt x="212768" y="77748"/>
                    <a:pt x="216576" y="74691"/>
                  </a:cubicBezTo>
                  <a:close/>
                </a:path>
              </a:pathLst>
            </a:custGeom>
            <a:solidFill>
              <a:srgbClr val="00B05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59" name="Полилиния: фигура 158">
              <a:extLst>
                <a:ext uri="{FF2B5EF4-FFF2-40B4-BE49-F238E27FC236}">
                  <a16:creationId xmlns:a16="http://schemas.microsoft.com/office/drawing/2014/main" id="{3CFDC0F6-5567-4A27-9737-CBFB18BA4833}"/>
                </a:ext>
              </a:extLst>
            </p:cNvPr>
            <p:cNvSpPr/>
            <p:nvPr/>
          </p:nvSpPr>
          <p:spPr>
            <a:xfrm>
              <a:off x="2234628" y="3511792"/>
              <a:ext cx="203393" cy="204563"/>
            </a:xfrm>
            <a:custGeom>
              <a:avLst/>
              <a:gdLst>
                <a:gd name="connsiteX0" fmla="*/ 163041 w 163090"/>
                <a:gd name="connsiteY0" fmla="*/ 93451 h 164028"/>
                <a:gd name="connsiteX1" fmla="*/ 149912 w 163090"/>
                <a:gd name="connsiteY1" fmla="*/ 39783 h 164028"/>
                <a:gd name="connsiteX2" fmla="*/ 143097 w 163090"/>
                <a:gd name="connsiteY2" fmla="*/ 20440 h 164028"/>
                <a:gd name="connsiteX3" fmla="*/ 139990 w 163090"/>
                <a:gd name="connsiteY3" fmla="*/ 19238 h 164028"/>
                <a:gd name="connsiteX4" fmla="*/ 134127 w 163090"/>
                <a:gd name="connsiteY4" fmla="*/ 17183 h 164028"/>
                <a:gd name="connsiteX5" fmla="*/ 122602 w 163090"/>
                <a:gd name="connsiteY5" fmla="*/ 14477 h 164028"/>
                <a:gd name="connsiteX6" fmla="*/ 88677 w 163090"/>
                <a:gd name="connsiteY6" fmla="*/ 2651 h 164028"/>
                <a:gd name="connsiteX7" fmla="*/ 64775 w 163090"/>
                <a:gd name="connsiteY7" fmla="*/ 4856 h 164028"/>
                <a:gd name="connsiteX8" fmla="*/ 61868 w 163090"/>
                <a:gd name="connsiteY8" fmla="*/ 6961 h 164028"/>
                <a:gd name="connsiteX9" fmla="*/ 52698 w 163090"/>
                <a:gd name="connsiteY9" fmla="*/ 12974 h 164028"/>
                <a:gd name="connsiteX10" fmla="*/ 44631 w 163090"/>
                <a:gd name="connsiteY10" fmla="*/ 27556 h 164028"/>
                <a:gd name="connsiteX11" fmla="*/ 47637 w 163090"/>
                <a:gd name="connsiteY11" fmla="*/ 42138 h 164028"/>
                <a:gd name="connsiteX12" fmla="*/ 48990 w 163090"/>
                <a:gd name="connsiteY12" fmla="*/ 47851 h 164028"/>
                <a:gd name="connsiteX13" fmla="*/ 50995 w 163090"/>
                <a:gd name="connsiteY13" fmla="*/ 56069 h 164028"/>
                <a:gd name="connsiteX14" fmla="*/ 52598 w 163090"/>
                <a:gd name="connsiteY14" fmla="*/ 62583 h 164028"/>
                <a:gd name="connsiteX15" fmla="*/ 50694 w 163090"/>
                <a:gd name="connsiteY15" fmla="*/ 63535 h 164028"/>
                <a:gd name="connsiteX16" fmla="*/ 49090 w 163090"/>
                <a:gd name="connsiteY16" fmla="*/ 64387 h 164028"/>
                <a:gd name="connsiteX17" fmla="*/ 46435 w 163090"/>
                <a:gd name="connsiteY17" fmla="*/ 65389 h 164028"/>
                <a:gd name="connsiteX18" fmla="*/ 32354 w 163090"/>
                <a:gd name="connsiteY18" fmla="*/ 66742 h 164028"/>
                <a:gd name="connsiteX19" fmla="*/ 28094 w 163090"/>
                <a:gd name="connsiteY19" fmla="*/ 66943 h 164028"/>
                <a:gd name="connsiteX20" fmla="*/ 20878 w 163090"/>
                <a:gd name="connsiteY20" fmla="*/ 67544 h 164028"/>
                <a:gd name="connsiteX21" fmla="*/ 7048 w 163090"/>
                <a:gd name="connsiteY21" fmla="*/ 82777 h 164028"/>
                <a:gd name="connsiteX22" fmla="*/ 6146 w 163090"/>
                <a:gd name="connsiteY22" fmla="*/ 88340 h 164028"/>
                <a:gd name="connsiteX23" fmla="*/ 2638 w 163090"/>
                <a:gd name="connsiteY23" fmla="*/ 104024 h 164028"/>
                <a:gd name="connsiteX24" fmla="*/ 19475 w 163090"/>
                <a:gd name="connsiteY24" fmla="*/ 150426 h 164028"/>
                <a:gd name="connsiteX25" fmla="*/ 29948 w 163090"/>
                <a:gd name="connsiteY25" fmla="*/ 157191 h 164028"/>
                <a:gd name="connsiteX26" fmla="*/ 34609 w 163090"/>
                <a:gd name="connsiteY26" fmla="*/ 159897 h 164028"/>
                <a:gd name="connsiteX27" fmla="*/ 49942 w 163090"/>
                <a:gd name="connsiteY27" fmla="*/ 156289 h 164028"/>
                <a:gd name="connsiteX28" fmla="*/ 68834 w 163090"/>
                <a:gd name="connsiteY28" fmla="*/ 162001 h 164028"/>
                <a:gd name="connsiteX29" fmla="*/ 88577 w 163090"/>
                <a:gd name="connsiteY29" fmla="*/ 163405 h 164028"/>
                <a:gd name="connsiteX30" fmla="*/ 92586 w 163090"/>
                <a:gd name="connsiteY30" fmla="*/ 163054 h 164028"/>
                <a:gd name="connsiteX31" fmla="*/ 98699 w 163090"/>
                <a:gd name="connsiteY31" fmla="*/ 157040 h 164028"/>
                <a:gd name="connsiteX32" fmla="*/ 99301 w 163090"/>
                <a:gd name="connsiteY32" fmla="*/ 141707 h 164028"/>
                <a:gd name="connsiteX33" fmla="*/ 99802 w 163090"/>
                <a:gd name="connsiteY33" fmla="*/ 119358 h 164028"/>
                <a:gd name="connsiteX34" fmla="*/ 100403 w 163090"/>
                <a:gd name="connsiteY34" fmla="*/ 118456 h 164028"/>
                <a:gd name="connsiteX35" fmla="*/ 101455 w 163090"/>
                <a:gd name="connsiteY35" fmla="*/ 118205 h 164028"/>
                <a:gd name="connsiteX36" fmla="*/ 110776 w 163090"/>
                <a:gd name="connsiteY36" fmla="*/ 116201 h 164028"/>
                <a:gd name="connsiteX37" fmla="*/ 133626 w 163090"/>
                <a:gd name="connsiteY37" fmla="*/ 110087 h 164028"/>
                <a:gd name="connsiteX38" fmla="*/ 155224 w 163090"/>
                <a:gd name="connsiteY38" fmla="*/ 98362 h 164028"/>
                <a:gd name="connsiteX39" fmla="*/ 163091 w 163090"/>
                <a:gd name="connsiteY39" fmla="*/ 93551 h 164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63090" h="164028">
                  <a:moveTo>
                    <a:pt x="163041" y="93451"/>
                  </a:moveTo>
                  <a:cubicBezTo>
                    <a:pt x="162640" y="74008"/>
                    <a:pt x="156176" y="56620"/>
                    <a:pt x="149912" y="39783"/>
                  </a:cubicBezTo>
                  <a:cubicBezTo>
                    <a:pt x="147557" y="33469"/>
                    <a:pt x="145151" y="26955"/>
                    <a:pt x="143097" y="20440"/>
                  </a:cubicBezTo>
                  <a:cubicBezTo>
                    <a:pt x="141995" y="20040"/>
                    <a:pt x="140942" y="19639"/>
                    <a:pt x="139990" y="19238"/>
                  </a:cubicBezTo>
                  <a:cubicBezTo>
                    <a:pt x="137685" y="18336"/>
                    <a:pt x="135931" y="17634"/>
                    <a:pt x="134127" y="17183"/>
                  </a:cubicBezTo>
                  <a:cubicBezTo>
                    <a:pt x="130319" y="16181"/>
                    <a:pt x="126460" y="15329"/>
                    <a:pt x="122602" y="14477"/>
                  </a:cubicBezTo>
                  <a:cubicBezTo>
                    <a:pt x="111227" y="11972"/>
                    <a:pt x="99501" y="9416"/>
                    <a:pt x="88677" y="2651"/>
                  </a:cubicBezTo>
                  <a:cubicBezTo>
                    <a:pt x="81963" y="-1558"/>
                    <a:pt x="72592" y="-706"/>
                    <a:pt x="64775" y="4856"/>
                  </a:cubicBezTo>
                  <a:cubicBezTo>
                    <a:pt x="63773" y="5558"/>
                    <a:pt x="62821" y="6259"/>
                    <a:pt x="61868" y="6961"/>
                  </a:cubicBezTo>
                  <a:cubicBezTo>
                    <a:pt x="59012" y="9065"/>
                    <a:pt x="56006" y="11270"/>
                    <a:pt x="52698" y="12974"/>
                  </a:cubicBezTo>
                  <a:cubicBezTo>
                    <a:pt x="46384" y="16231"/>
                    <a:pt x="43779" y="20992"/>
                    <a:pt x="44631" y="27556"/>
                  </a:cubicBezTo>
                  <a:cubicBezTo>
                    <a:pt x="45282" y="32417"/>
                    <a:pt x="46485" y="37327"/>
                    <a:pt x="47637" y="42138"/>
                  </a:cubicBezTo>
                  <a:cubicBezTo>
                    <a:pt x="48088" y="44042"/>
                    <a:pt x="48589" y="45946"/>
                    <a:pt x="48990" y="47851"/>
                  </a:cubicBezTo>
                  <a:cubicBezTo>
                    <a:pt x="49642" y="50607"/>
                    <a:pt x="50293" y="53363"/>
                    <a:pt x="50995" y="56069"/>
                  </a:cubicBezTo>
                  <a:lnTo>
                    <a:pt x="52598" y="62583"/>
                  </a:lnTo>
                  <a:lnTo>
                    <a:pt x="50694" y="63535"/>
                  </a:lnTo>
                  <a:cubicBezTo>
                    <a:pt x="49992" y="63886"/>
                    <a:pt x="49491" y="64187"/>
                    <a:pt x="49090" y="64387"/>
                  </a:cubicBezTo>
                  <a:cubicBezTo>
                    <a:pt x="48188" y="64888"/>
                    <a:pt x="47437" y="65289"/>
                    <a:pt x="46435" y="65389"/>
                  </a:cubicBezTo>
                  <a:cubicBezTo>
                    <a:pt x="41724" y="65890"/>
                    <a:pt x="37064" y="66341"/>
                    <a:pt x="32354" y="66742"/>
                  </a:cubicBezTo>
                  <a:cubicBezTo>
                    <a:pt x="30951" y="66842"/>
                    <a:pt x="29497" y="66892"/>
                    <a:pt x="28094" y="66943"/>
                  </a:cubicBezTo>
                  <a:cubicBezTo>
                    <a:pt x="25589" y="67043"/>
                    <a:pt x="23183" y="67093"/>
                    <a:pt x="20878" y="67544"/>
                  </a:cubicBezTo>
                  <a:cubicBezTo>
                    <a:pt x="12009" y="69298"/>
                    <a:pt x="8902" y="72705"/>
                    <a:pt x="7048" y="82777"/>
                  </a:cubicBezTo>
                  <a:cubicBezTo>
                    <a:pt x="6697" y="84631"/>
                    <a:pt x="6447" y="86486"/>
                    <a:pt x="6146" y="88340"/>
                  </a:cubicBezTo>
                  <a:cubicBezTo>
                    <a:pt x="5344" y="93551"/>
                    <a:pt x="4492" y="98963"/>
                    <a:pt x="2638" y="104024"/>
                  </a:cubicBezTo>
                  <a:cubicBezTo>
                    <a:pt x="-5329" y="125271"/>
                    <a:pt x="6046" y="138850"/>
                    <a:pt x="19475" y="150426"/>
                  </a:cubicBezTo>
                  <a:cubicBezTo>
                    <a:pt x="22432" y="152982"/>
                    <a:pt x="26090" y="155036"/>
                    <a:pt x="29948" y="157191"/>
                  </a:cubicBezTo>
                  <a:cubicBezTo>
                    <a:pt x="31452" y="158043"/>
                    <a:pt x="33055" y="158945"/>
                    <a:pt x="34609" y="159897"/>
                  </a:cubicBezTo>
                  <a:cubicBezTo>
                    <a:pt x="39870" y="157492"/>
                    <a:pt x="44931" y="156289"/>
                    <a:pt x="49942" y="156289"/>
                  </a:cubicBezTo>
                  <a:cubicBezTo>
                    <a:pt x="56206" y="156289"/>
                    <a:pt x="62470" y="158193"/>
                    <a:pt x="68834" y="162001"/>
                  </a:cubicBezTo>
                  <a:cubicBezTo>
                    <a:pt x="73594" y="164858"/>
                    <a:pt x="81562" y="164056"/>
                    <a:pt x="88577" y="163405"/>
                  </a:cubicBezTo>
                  <a:cubicBezTo>
                    <a:pt x="89930" y="163254"/>
                    <a:pt x="91283" y="163154"/>
                    <a:pt x="92586" y="163054"/>
                  </a:cubicBezTo>
                  <a:cubicBezTo>
                    <a:pt x="93939" y="162953"/>
                    <a:pt x="96845" y="160348"/>
                    <a:pt x="98699" y="157040"/>
                  </a:cubicBezTo>
                  <a:cubicBezTo>
                    <a:pt x="101806" y="151328"/>
                    <a:pt x="102007" y="146317"/>
                    <a:pt x="99301" y="141707"/>
                  </a:cubicBezTo>
                  <a:cubicBezTo>
                    <a:pt x="96194" y="136395"/>
                    <a:pt x="93488" y="129079"/>
                    <a:pt x="99802" y="119358"/>
                  </a:cubicBezTo>
                  <a:lnTo>
                    <a:pt x="100403" y="118456"/>
                  </a:lnTo>
                  <a:lnTo>
                    <a:pt x="101455" y="118205"/>
                  </a:lnTo>
                  <a:cubicBezTo>
                    <a:pt x="104412" y="117504"/>
                    <a:pt x="107569" y="116852"/>
                    <a:pt x="110776" y="116201"/>
                  </a:cubicBezTo>
                  <a:cubicBezTo>
                    <a:pt x="118393" y="114648"/>
                    <a:pt x="126310" y="113044"/>
                    <a:pt x="133626" y="110087"/>
                  </a:cubicBezTo>
                  <a:cubicBezTo>
                    <a:pt x="141143" y="107081"/>
                    <a:pt x="148308" y="102621"/>
                    <a:pt x="155224" y="98362"/>
                  </a:cubicBezTo>
                  <a:cubicBezTo>
                    <a:pt x="157879" y="96708"/>
                    <a:pt x="160485" y="95104"/>
                    <a:pt x="163091" y="9355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60" name="Полилиния: фигура 159">
              <a:extLst>
                <a:ext uri="{FF2B5EF4-FFF2-40B4-BE49-F238E27FC236}">
                  <a16:creationId xmlns:a16="http://schemas.microsoft.com/office/drawing/2014/main" id="{212929A8-C7FE-4520-8205-A0D63644AFC7}"/>
                </a:ext>
              </a:extLst>
            </p:cNvPr>
            <p:cNvSpPr/>
            <p:nvPr/>
          </p:nvSpPr>
          <p:spPr>
            <a:xfrm>
              <a:off x="974929" y="4862145"/>
              <a:ext cx="226365" cy="189730"/>
            </a:xfrm>
            <a:custGeom>
              <a:avLst/>
              <a:gdLst>
                <a:gd name="connsiteX0" fmla="*/ 33824 w 181510"/>
                <a:gd name="connsiteY0" fmla="*/ 152135 h 152134"/>
                <a:gd name="connsiteX1" fmla="*/ 77270 w 181510"/>
                <a:gd name="connsiteY1" fmla="*/ 147825 h 152134"/>
                <a:gd name="connsiteX2" fmla="*/ 113098 w 181510"/>
                <a:gd name="connsiteY2" fmla="*/ 145470 h 152134"/>
                <a:gd name="connsiteX3" fmla="*/ 115153 w 181510"/>
                <a:gd name="connsiteY3" fmla="*/ 142263 h 152134"/>
                <a:gd name="connsiteX4" fmla="*/ 119713 w 181510"/>
                <a:gd name="connsiteY4" fmla="*/ 134345 h 152134"/>
                <a:gd name="connsiteX5" fmla="*/ 167869 w 181510"/>
                <a:gd name="connsiteY5" fmla="*/ 89747 h 152134"/>
                <a:gd name="connsiteX6" fmla="*/ 180096 w 181510"/>
                <a:gd name="connsiteY6" fmla="*/ 80126 h 152134"/>
                <a:gd name="connsiteX7" fmla="*/ 176889 w 181510"/>
                <a:gd name="connsiteY7" fmla="*/ 60934 h 152134"/>
                <a:gd name="connsiteX8" fmla="*/ 149729 w 181510"/>
                <a:gd name="connsiteY8" fmla="*/ 57176 h 152134"/>
                <a:gd name="connsiteX9" fmla="*/ 147474 w 181510"/>
                <a:gd name="connsiteY9" fmla="*/ 56875 h 152134"/>
                <a:gd name="connsiteX10" fmla="*/ 147474 w 181510"/>
                <a:gd name="connsiteY10" fmla="*/ 54570 h 152134"/>
                <a:gd name="connsiteX11" fmla="*/ 135848 w 181510"/>
                <a:gd name="connsiteY11" fmla="*/ 35979 h 152134"/>
                <a:gd name="connsiteX12" fmla="*/ 123221 w 181510"/>
                <a:gd name="connsiteY12" fmla="*/ 20044 h 152134"/>
                <a:gd name="connsiteX13" fmla="*/ 120765 w 181510"/>
                <a:gd name="connsiteY13" fmla="*/ 14783 h 152134"/>
                <a:gd name="connsiteX14" fmla="*/ 91301 w 181510"/>
                <a:gd name="connsiteY14" fmla="*/ 0 h 152134"/>
                <a:gd name="connsiteX15" fmla="*/ 73061 w 181510"/>
                <a:gd name="connsiteY15" fmla="*/ 9822 h 152134"/>
                <a:gd name="connsiteX16" fmla="*/ 73712 w 181510"/>
                <a:gd name="connsiteY16" fmla="*/ 10623 h 152134"/>
                <a:gd name="connsiteX17" fmla="*/ 75716 w 181510"/>
                <a:gd name="connsiteY17" fmla="*/ 12828 h 152134"/>
                <a:gd name="connsiteX18" fmla="*/ 84536 w 181510"/>
                <a:gd name="connsiteY18" fmla="*/ 43095 h 152134"/>
                <a:gd name="connsiteX19" fmla="*/ 67849 w 181510"/>
                <a:gd name="connsiteY19" fmla="*/ 74614 h 152134"/>
                <a:gd name="connsiteX20" fmla="*/ 55672 w 181510"/>
                <a:gd name="connsiteY20" fmla="*/ 87492 h 152134"/>
                <a:gd name="connsiteX21" fmla="*/ 10373 w 181510"/>
                <a:gd name="connsiteY21" fmla="*/ 92604 h 152134"/>
                <a:gd name="connsiteX22" fmla="*/ 8469 w 181510"/>
                <a:gd name="connsiteY22" fmla="*/ 91702 h 152134"/>
                <a:gd name="connsiteX23" fmla="*/ 0 w 181510"/>
                <a:gd name="connsiteY23" fmla="*/ 90399 h 152134"/>
                <a:gd name="connsiteX24" fmla="*/ 3357 w 181510"/>
                <a:gd name="connsiteY24" fmla="*/ 96262 h 152134"/>
                <a:gd name="connsiteX25" fmla="*/ 11575 w 181510"/>
                <a:gd name="connsiteY25" fmla="*/ 114452 h 152134"/>
                <a:gd name="connsiteX26" fmla="*/ 33724 w 181510"/>
                <a:gd name="connsiteY26" fmla="*/ 152135 h 152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1510" h="152134">
                  <a:moveTo>
                    <a:pt x="33824" y="152135"/>
                  </a:moveTo>
                  <a:cubicBezTo>
                    <a:pt x="48256" y="147224"/>
                    <a:pt x="62988" y="147574"/>
                    <a:pt x="77270" y="147825"/>
                  </a:cubicBezTo>
                  <a:cubicBezTo>
                    <a:pt x="89146" y="148076"/>
                    <a:pt x="101373" y="148326"/>
                    <a:pt x="113098" y="145470"/>
                  </a:cubicBezTo>
                  <a:cubicBezTo>
                    <a:pt x="113800" y="144367"/>
                    <a:pt x="114451" y="143315"/>
                    <a:pt x="115153" y="142263"/>
                  </a:cubicBezTo>
                  <a:cubicBezTo>
                    <a:pt x="116907" y="139557"/>
                    <a:pt x="118560" y="137001"/>
                    <a:pt x="119713" y="134345"/>
                  </a:cubicBezTo>
                  <a:cubicBezTo>
                    <a:pt x="130386" y="109441"/>
                    <a:pt x="145670" y="95259"/>
                    <a:pt x="167869" y="89747"/>
                  </a:cubicBezTo>
                  <a:cubicBezTo>
                    <a:pt x="174483" y="88094"/>
                    <a:pt x="178492" y="84937"/>
                    <a:pt x="180096" y="80126"/>
                  </a:cubicBezTo>
                  <a:cubicBezTo>
                    <a:pt x="182701" y="72309"/>
                    <a:pt x="181749" y="66496"/>
                    <a:pt x="176889" y="60934"/>
                  </a:cubicBezTo>
                  <a:cubicBezTo>
                    <a:pt x="168621" y="59782"/>
                    <a:pt x="159751" y="58529"/>
                    <a:pt x="149729" y="57176"/>
                  </a:cubicBezTo>
                  <a:lnTo>
                    <a:pt x="147474" y="56875"/>
                  </a:lnTo>
                  <a:lnTo>
                    <a:pt x="147474" y="54570"/>
                  </a:lnTo>
                  <a:cubicBezTo>
                    <a:pt x="147223" y="45651"/>
                    <a:pt x="143465" y="39537"/>
                    <a:pt x="135848" y="35979"/>
                  </a:cubicBezTo>
                  <a:cubicBezTo>
                    <a:pt x="128733" y="32622"/>
                    <a:pt x="125927" y="26208"/>
                    <a:pt x="123221" y="20044"/>
                  </a:cubicBezTo>
                  <a:cubicBezTo>
                    <a:pt x="122469" y="18290"/>
                    <a:pt x="121667" y="16486"/>
                    <a:pt x="120765" y="14783"/>
                  </a:cubicBezTo>
                  <a:cubicBezTo>
                    <a:pt x="108188" y="15083"/>
                    <a:pt x="99669" y="7517"/>
                    <a:pt x="91301" y="0"/>
                  </a:cubicBezTo>
                  <a:lnTo>
                    <a:pt x="73061" y="9822"/>
                  </a:lnTo>
                  <a:cubicBezTo>
                    <a:pt x="73311" y="10122"/>
                    <a:pt x="73511" y="10373"/>
                    <a:pt x="73712" y="10623"/>
                  </a:cubicBezTo>
                  <a:cubicBezTo>
                    <a:pt x="74664" y="11776"/>
                    <a:pt x="75215" y="12428"/>
                    <a:pt x="75716" y="12828"/>
                  </a:cubicBezTo>
                  <a:cubicBezTo>
                    <a:pt x="90348" y="24053"/>
                    <a:pt x="91601" y="28262"/>
                    <a:pt x="84536" y="43095"/>
                  </a:cubicBezTo>
                  <a:cubicBezTo>
                    <a:pt x="79274" y="54169"/>
                    <a:pt x="73662" y="64793"/>
                    <a:pt x="67849" y="74614"/>
                  </a:cubicBezTo>
                  <a:cubicBezTo>
                    <a:pt x="65243" y="78974"/>
                    <a:pt x="61134" y="85087"/>
                    <a:pt x="55672" y="87492"/>
                  </a:cubicBezTo>
                  <a:cubicBezTo>
                    <a:pt x="41591" y="93606"/>
                    <a:pt x="27059" y="99920"/>
                    <a:pt x="10373" y="92604"/>
                  </a:cubicBezTo>
                  <a:cubicBezTo>
                    <a:pt x="9771" y="92353"/>
                    <a:pt x="9120" y="92002"/>
                    <a:pt x="8469" y="91702"/>
                  </a:cubicBezTo>
                  <a:cubicBezTo>
                    <a:pt x="4911" y="89998"/>
                    <a:pt x="2405" y="88896"/>
                    <a:pt x="0" y="90399"/>
                  </a:cubicBezTo>
                  <a:cubicBezTo>
                    <a:pt x="1052" y="92353"/>
                    <a:pt x="2205" y="94307"/>
                    <a:pt x="3357" y="96262"/>
                  </a:cubicBezTo>
                  <a:cubicBezTo>
                    <a:pt x="6765" y="102024"/>
                    <a:pt x="10273" y="107988"/>
                    <a:pt x="11575" y="114452"/>
                  </a:cubicBezTo>
                  <a:cubicBezTo>
                    <a:pt x="14582" y="129735"/>
                    <a:pt x="23802" y="140709"/>
                    <a:pt x="33724" y="15213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61" name="Полилиния: фигура 160">
              <a:extLst>
                <a:ext uri="{FF2B5EF4-FFF2-40B4-BE49-F238E27FC236}">
                  <a16:creationId xmlns:a16="http://schemas.microsoft.com/office/drawing/2014/main" id="{61EB96F0-9736-48F3-97A1-E0314BAF3324}"/>
                </a:ext>
              </a:extLst>
            </p:cNvPr>
            <p:cNvSpPr/>
            <p:nvPr/>
          </p:nvSpPr>
          <p:spPr>
            <a:xfrm>
              <a:off x="600406" y="1954580"/>
              <a:ext cx="167365" cy="229660"/>
            </a:xfrm>
            <a:custGeom>
              <a:avLst/>
              <a:gdLst>
                <a:gd name="connsiteX0" fmla="*/ 65795 w 134201"/>
                <a:gd name="connsiteY0" fmla="*/ 142561 h 184152"/>
                <a:gd name="connsiteX1" fmla="*/ 78573 w 134201"/>
                <a:gd name="connsiteY1" fmla="*/ 160851 h 184152"/>
                <a:gd name="connsiteX2" fmla="*/ 82581 w 134201"/>
                <a:gd name="connsiteY2" fmla="*/ 167115 h 184152"/>
                <a:gd name="connsiteX3" fmla="*/ 97564 w 134201"/>
                <a:gd name="connsiteY3" fmla="*/ 184152 h 184152"/>
                <a:gd name="connsiteX4" fmla="*/ 134095 w 134201"/>
                <a:gd name="connsiteY4" fmla="*/ 168618 h 184152"/>
                <a:gd name="connsiteX5" fmla="*/ 134145 w 134201"/>
                <a:gd name="connsiteY5" fmla="*/ 165762 h 184152"/>
                <a:gd name="connsiteX6" fmla="*/ 133994 w 134201"/>
                <a:gd name="connsiteY6" fmla="*/ 157995 h 184152"/>
                <a:gd name="connsiteX7" fmla="*/ 131339 w 134201"/>
                <a:gd name="connsiteY7" fmla="*/ 134844 h 184152"/>
                <a:gd name="connsiteX8" fmla="*/ 128382 w 134201"/>
                <a:gd name="connsiteY8" fmla="*/ 108737 h 184152"/>
                <a:gd name="connsiteX9" fmla="*/ 125927 w 134201"/>
                <a:gd name="connsiteY9" fmla="*/ 80825 h 184152"/>
                <a:gd name="connsiteX10" fmla="*/ 124524 w 134201"/>
                <a:gd name="connsiteY10" fmla="*/ 63938 h 184152"/>
                <a:gd name="connsiteX11" fmla="*/ 124373 w 134201"/>
                <a:gd name="connsiteY11" fmla="*/ 62234 h 184152"/>
                <a:gd name="connsiteX12" fmla="*/ 120715 w 134201"/>
                <a:gd name="connsiteY12" fmla="*/ 54267 h 184152"/>
                <a:gd name="connsiteX13" fmla="*/ 112547 w 134201"/>
                <a:gd name="connsiteY13" fmla="*/ 57424 h 184152"/>
                <a:gd name="connsiteX14" fmla="*/ 110844 w 134201"/>
                <a:gd name="connsiteY14" fmla="*/ 58777 h 184152"/>
                <a:gd name="connsiteX15" fmla="*/ 101273 w 134201"/>
                <a:gd name="connsiteY15" fmla="*/ 65993 h 184152"/>
                <a:gd name="connsiteX16" fmla="*/ 94207 w 134201"/>
                <a:gd name="connsiteY16" fmla="*/ 71254 h 184152"/>
                <a:gd name="connsiteX17" fmla="*/ 92553 w 134201"/>
                <a:gd name="connsiteY17" fmla="*/ 69951 h 184152"/>
                <a:gd name="connsiteX18" fmla="*/ 66045 w 134201"/>
                <a:gd name="connsiteY18" fmla="*/ 34223 h 184152"/>
                <a:gd name="connsiteX19" fmla="*/ 45099 w 134201"/>
                <a:gd name="connsiteY19" fmla="*/ 2303 h 184152"/>
                <a:gd name="connsiteX20" fmla="*/ 35578 w 134201"/>
                <a:gd name="connsiteY20" fmla="*/ 1601 h 184152"/>
                <a:gd name="connsiteX21" fmla="*/ 31369 w 134201"/>
                <a:gd name="connsiteY21" fmla="*/ 10872 h 184152"/>
                <a:gd name="connsiteX22" fmla="*/ 33123 w 134201"/>
                <a:gd name="connsiteY22" fmla="*/ 16283 h 184152"/>
                <a:gd name="connsiteX23" fmla="*/ 34977 w 134201"/>
                <a:gd name="connsiteY23" fmla="*/ 22096 h 184152"/>
                <a:gd name="connsiteX24" fmla="*/ 36029 w 134201"/>
                <a:gd name="connsiteY24" fmla="*/ 25053 h 184152"/>
                <a:gd name="connsiteX25" fmla="*/ 34376 w 134201"/>
                <a:gd name="connsiteY25" fmla="*/ 40787 h 184152"/>
                <a:gd name="connsiteX26" fmla="*/ 33223 w 134201"/>
                <a:gd name="connsiteY26" fmla="*/ 42090 h 184152"/>
                <a:gd name="connsiteX27" fmla="*/ 0 w 134201"/>
                <a:gd name="connsiteY27" fmla="*/ 31166 h 184152"/>
                <a:gd name="connsiteX28" fmla="*/ 65795 w 134201"/>
                <a:gd name="connsiteY28" fmla="*/ 142411 h 184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4201" h="184152">
                  <a:moveTo>
                    <a:pt x="65795" y="142561"/>
                  </a:moveTo>
                  <a:cubicBezTo>
                    <a:pt x="70054" y="148674"/>
                    <a:pt x="74313" y="154738"/>
                    <a:pt x="78573" y="160851"/>
                  </a:cubicBezTo>
                  <a:cubicBezTo>
                    <a:pt x="79976" y="162856"/>
                    <a:pt x="81279" y="164960"/>
                    <a:pt x="82581" y="167115"/>
                  </a:cubicBezTo>
                  <a:cubicBezTo>
                    <a:pt x="86791" y="173880"/>
                    <a:pt x="90749" y="180294"/>
                    <a:pt x="97564" y="184152"/>
                  </a:cubicBezTo>
                  <a:cubicBezTo>
                    <a:pt x="109841" y="178941"/>
                    <a:pt x="121717" y="173880"/>
                    <a:pt x="134095" y="168618"/>
                  </a:cubicBezTo>
                  <a:cubicBezTo>
                    <a:pt x="134095" y="167616"/>
                    <a:pt x="134095" y="166664"/>
                    <a:pt x="134145" y="165762"/>
                  </a:cubicBezTo>
                  <a:cubicBezTo>
                    <a:pt x="134195" y="162906"/>
                    <a:pt x="134295" y="160400"/>
                    <a:pt x="133994" y="157995"/>
                  </a:cubicBezTo>
                  <a:cubicBezTo>
                    <a:pt x="133143" y="150278"/>
                    <a:pt x="132241" y="142561"/>
                    <a:pt x="131339" y="134844"/>
                  </a:cubicBezTo>
                  <a:cubicBezTo>
                    <a:pt x="130286" y="126125"/>
                    <a:pt x="129284" y="117456"/>
                    <a:pt x="128382" y="108737"/>
                  </a:cubicBezTo>
                  <a:cubicBezTo>
                    <a:pt x="127430" y="99416"/>
                    <a:pt x="126678" y="90146"/>
                    <a:pt x="125927" y="80825"/>
                  </a:cubicBezTo>
                  <a:cubicBezTo>
                    <a:pt x="125476" y="75213"/>
                    <a:pt x="125025" y="69551"/>
                    <a:pt x="124524" y="63938"/>
                  </a:cubicBezTo>
                  <a:lnTo>
                    <a:pt x="124373" y="62234"/>
                  </a:lnTo>
                  <a:cubicBezTo>
                    <a:pt x="124023" y="57474"/>
                    <a:pt x="123572" y="55319"/>
                    <a:pt x="120715" y="54267"/>
                  </a:cubicBezTo>
                  <a:cubicBezTo>
                    <a:pt x="117859" y="53215"/>
                    <a:pt x="115754" y="54818"/>
                    <a:pt x="112547" y="57424"/>
                  </a:cubicBezTo>
                  <a:cubicBezTo>
                    <a:pt x="111996" y="57875"/>
                    <a:pt x="111395" y="58376"/>
                    <a:pt x="110844" y="58777"/>
                  </a:cubicBezTo>
                  <a:cubicBezTo>
                    <a:pt x="107737" y="61182"/>
                    <a:pt x="104530" y="63537"/>
                    <a:pt x="101273" y="65993"/>
                  </a:cubicBezTo>
                  <a:lnTo>
                    <a:pt x="94207" y="71254"/>
                  </a:lnTo>
                  <a:lnTo>
                    <a:pt x="92553" y="69951"/>
                  </a:lnTo>
                  <a:cubicBezTo>
                    <a:pt x="78372" y="58627"/>
                    <a:pt x="70204" y="47602"/>
                    <a:pt x="66045" y="34223"/>
                  </a:cubicBezTo>
                  <a:cubicBezTo>
                    <a:pt x="62137" y="21545"/>
                    <a:pt x="55071" y="10821"/>
                    <a:pt x="45099" y="2303"/>
                  </a:cubicBezTo>
                  <a:cubicBezTo>
                    <a:pt x="41792" y="-503"/>
                    <a:pt x="38685" y="-754"/>
                    <a:pt x="35578" y="1601"/>
                  </a:cubicBezTo>
                  <a:cubicBezTo>
                    <a:pt x="31670" y="4608"/>
                    <a:pt x="30417" y="7364"/>
                    <a:pt x="31369" y="10872"/>
                  </a:cubicBezTo>
                  <a:cubicBezTo>
                    <a:pt x="31870" y="12726"/>
                    <a:pt x="32471" y="14480"/>
                    <a:pt x="33123" y="16283"/>
                  </a:cubicBezTo>
                  <a:cubicBezTo>
                    <a:pt x="33774" y="18188"/>
                    <a:pt x="34476" y="20142"/>
                    <a:pt x="34977" y="22096"/>
                  </a:cubicBezTo>
                  <a:cubicBezTo>
                    <a:pt x="35227" y="23099"/>
                    <a:pt x="35628" y="24051"/>
                    <a:pt x="36029" y="25053"/>
                  </a:cubicBezTo>
                  <a:cubicBezTo>
                    <a:pt x="37633" y="29112"/>
                    <a:pt x="39838" y="34624"/>
                    <a:pt x="34376" y="40787"/>
                  </a:cubicBezTo>
                  <a:lnTo>
                    <a:pt x="33223" y="42090"/>
                  </a:lnTo>
                  <a:lnTo>
                    <a:pt x="0" y="31166"/>
                  </a:lnTo>
                  <a:cubicBezTo>
                    <a:pt x="17539" y="73509"/>
                    <a:pt x="42092" y="108486"/>
                    <a:pt x="65795" y="14241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62" name="Полилиния: фигура 161">
              <a:extLst>
                <a:ext uri="{FF2B5EF4-FFF2-40B4-BE49-F238E27FC236}">
                  <a16:creationId xmlns:a16="http://schemas.microsoft.com/office/drawing/2014/main" id="{FFF42D8A-41C4-482F-AAF6-AC1E7037EB47}"/>
                </a:ext>
              </a:extLst>
            </p:cNvPr>
            <p:cNvSpPr/>
            <p:nvPr/>
          </p:nvSpPr>
          <p:spPr>
            <a:xfrm>
              <a:off x="710768" y="4565364"/>
              <a:ext cx="207540" cy="159483"/>
            </a:xfrm>
            <a:custGeom>
              <a:avLst/>
              <a:gdLst>
                <a:gd name="connsiteX0" fmla="*/ 132842 w 166415"/>
                <a:gd name="connsiteY0" fmla="*/ 101723 h 127881"/>
                <a:gd name="connsiteX1" fmla="*/ 136650 w 166415"/>
                <a:gd name="connsiteY1" fmla="*/ 87492 h 127881"/>
                <a:gd name="connsiteX2" fmla="*/ 134696 w 166415"/>
                <a:gd name="connsiteY2" fmla="*/ 78372 h 127881"/>
                <a:gd name="connsiteX3" fmla="*/ 133844 w 166415"/>
                <a:gd name="connsiteY3" fmla="*/ 74814 h 127881"/>
                <a:gd name="connsiteX4" fmla="*/ 133594 w 166415"/>
                <a:gd name="connsiteY4" fmla="*/ 73612 h 127881"/>
                <a:gd name="connsiteX5" fmla="*/ 134345 w 166415"/>
                <a:gd name="connsiteY5" fmla="*/ 72609 h 127881"/>
                <a:gd name="connsiteX6" fmla="*/ 163158 w 166415"/>
                <a:gd name="connsiteY6" fmla="*/ 57677 h 127881"/>
                <a:gd name="connsiteX7" fmla="*/ 166416 w 166415"/>
                <a:gd name="connsiteY7" fmla="*/ 56925 h 127881"/>
                <a:gd name="connsiteX8" fmla="*/ 164762 w 166415"/>
                <a:gd name="connsiteY8" fmla="*/ 55322 h 127881"/>
                <a:gd name="connsiteX9" fmla="*/ 144016 w 166415"/>
                <a:gd name="connsiteY9" fmla="*/ 38485 h 127881"/>
                <a:gd name="connsiteX10" fmla="*/ 137302 w 166415"/>
                <a:gd name="connsiteY10" fmla="*/ 24053 h 127881"/>
                <a:gd name="connsiteX11" fmla="*/ 136600 w 166415"/>
                <a:gd name="connsiteY11" fmla="*/ 22900 h 127881"/>
                <a:gd name="connsiteX12" fmla="*/ 124724 w 166415"/>
                <a:gd name="connsiteY12" fmla="*/ 9671 h 127881"/>
                <a:gd name="connsiteX13" fmla="*/ 79124 w 166415"/>
                <a:gd name="connsiteY13" fmla="*/ 34576 h 127881"/>
                <a:gd name="connsiteX14" fmla="*/ 77470 w 166415"/>
                <a:gd name="connsiteY14" fmla="*/ 34977 h 127881"/>
                <a:gd name="connsiteX15" fmla="*/ 48857 w 166415"/>
                <a:gd name="connsiteY15" fmla="*/ 0 h 127881"/>
                <a:gd name="connsiteX16" fmla="*/ 0 w 166415"/>
                <a:gd name="connsiteY16" fmla="*/ 22650 h 127881"/>
                <a:gd name="connsiteX17" fmla="*/ 73361 w 166415"/>
                <a:gd name="connsiteY17" fmla="*/ 127881 h 127881"/>
                <a:gd name="connsiteX18" fmla="*/ 74464 w 166415"/>
                <a:gd name="connsiteY18" fmla="*/ 127580 h 127881"/>
                <a:gd name="connsiteX19" fmla="*/ 77971 w 166415"/>
                <a:gd name="connsiteY19" fmla="*/ 126278 h 127881"/>
                <a:gd name="connsiteX20" fmla="*/ 84836 w 166415"/>
                <a:gd name="connsiteY20" fmla="*/ 121216 h 127881"/>
                <a:gd name="connsiteX21" fmla="*/ 127731 w 166415"/>
                <a:gd name="connsiteY21" fmla="*/ 104079 h 127881"/>
                <a:gd name="connsiteX22" fmla="*/ 132792 w 166415"/>
                <a:gd name="connsiteY22" fmla="*/ 101723 h 127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6415" h="127881">
                  <a:moveTo>
                    <a:pt x="132842" y="101723"/>
                  </a:moveTo>
                  <a:cubicBezTo>
                    <a:pt x="135899" y="98416"/>
                    <a:pt x="137452" y="92554"/>
                    <a:pt x="136650" y="87492"/>
                  </a:cubicBezTo>
                  <a:cubicBezTo>
                    <a:pt x="136149" y="84386"/>
                    <a:pt x="135398" y="81329"/>
                    <a:pt x="134696" y="78372"/>
                  </a:cubicBezTo>
                  <a:cubicBezTo>
                    <a:pt x="134395" y="77170"/>
                    <a:pt x="134095" y="75967"/>
                    <a:pt x="133844" y="74814"/>
                  </a:cubicBezTo>
                  <a:lnTo>
                    <a:pt x="133594" y="73612"/>
                  </a:lnTo>
                  <a:lnTo>
                    <a:pt x="134345" y="72609"/>
                  </a:lnTo>
                  <a:cubicBezTo>
                    <a:pt x="141912" y="62437"/>
                    <a:pt x="152736" y="60032"/>
                    <a:pt x="163158" y="57677"/>
                  </a:cubicBezTo>
                  <a:cubicBezTo>
                    <a:pt x="164211" y="57426"/>
                    <a:pt x="165313" y="57176"/>
                    <a:pt x="166416" y="56925"/>
                  </a:cubicBezTo>
                  <a:cubicBezTo>
                    <a:pt x="165764" y="56224"/>
                    <a:pt x="165063" y="55472"/>
                    <a:pt x="164762" y="55322"/>
                  </a:cubicBezTo>
                  <a:cubicBezTo>
                    <a:pt x="154790" y="54820"/>
                    <a:pt x="147875" y="49258"/>
                    <a:pt x="144016" y="38485"/>
                  </a:cubicBezTo>
                  <a:cubicBezTo>
                    <a:pt x="142112" y="33123"/>
                    <a:pt x="139807" y="28262"/>
                    <a:pt x="137302" y="24053"/>
                  </a:cubicBezTo>
                  <a:lnTo>
                    <a:pt x="136600" y="22900"/>
                  </a:lnTo>
                  <a:cubicBezTo>
                    <a:pt x="133243" y="17338"/>
                    <a:pt x="130086" y="12077"/>
                    <a:pt x="124724" y="9671"/>
                  </a:cubicBezTo>
                  <a:cubicBezTo>
                    <a:pt x="110894" y="20495"/>
                    <a:pt x="96963" y="30417"/>
                    <a:pt x="79124" y="34576"/>
                  </a:cubicBezTo>
                  <a:lnTo>
                    <a:pt x="77470" y="34977"/>
                  </a:lnTo>
                  <a:lnTo>
                    <a:pt x="48857" y="0"/>
                  </a:lnTo>
                  <a:cubicBezTo>
                    <a:pt x="30417" y="1854"/>
                    <a:pt x="14833" y="9070"/>
                    <a:pt x="0" y="22650"/>
                  </a:cubicBezTo>
                  <a:cubicBezTo>
                    <a:pt x="15233" y="64993"/>
                    <a:pt x="39286" y="99419"/>
                    <a:pt x="73361" y="127881"/>
                  </a:cubicBezTo>
                  <a:cubicBezTo>
                    <a:pt x="73762" y="127781"/>
                    <a:pt x="74113" y="127681"/>
                    <a:pt x="74464" y="127580"/>
                  </a:cubicBezTo>
                  <a:cubicBezTo>
                    <a:pt x="75917" y="127179"/>
                    <a:pt x="77170" y="126829"/>
                    <a:pt x="77971" y="126278"/>
                  </a:cubicBezTo>
                  <a:cubicBezTo>
                    <a:pt x="80276" y="124624"/>
                    <a:pt x="82581" y="122920"/>
                    <a:pt x="84836" y="121216"/>
                  </a:cubicBezTo>
                  <a:cubicBezTo>
                    <a:pt x="96963" y="112146"/>
                    <a:pt x="109491" y="102726"/>
                    <a:pt x="127731" y="104079"/>
                  </a:cubicBezTo>
                  <a:cubicBezTo>
                    <a:pt x="129585" y="104229"/>
                    <a:pt x="131238" y="103427"/>
                    <a:pt x="132792" y="10172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63" name="Полилиния: фигура 162">
              <a:extLst>
                <a:ext uri="{FF2B5EF4-FFF2-40B4-BE49-F238E27FC236}">
                  <a16:creationId xmlns:a16="http://schemas.microsoft.com/office/drawing/2014/main" id="{37DB47D9-ADA5-4C64-8718-5E257DE5A0B9}"/>
                </a:ext>
              </a:extLst>
            </p:cNvPr>
            <p:cNvSpPr/>
            <p:nvPr/>
          </p:nvSpPr>
          <p:spPr>
            <a:xfrm>
              <a:off x="816320" y="4714582"/>
              <a:ext cx="200103" cy="131378"/>
            </a:xfrm>
            <a:custGeom>
              <a:avLst/>
              <a:gdLst>
                <a:gd name="connsiteX0" fmla="*/ 62738 w 160452"/>
                <a:gd name="connsiteY0" fmla="*/ 97628 h 105345"/>
                <a:gd name="connsiteX1" fmla="*/ 88344 w 160452"/>
                <a:gd name="connsiteY1" fmla="*/ 90111 h 105345"/>
                <a:gd name="connsiteX2" fmla="*/ 90048 w 160452"/>
                <a:gd name="connsiteY2" fmla="*/ 90111 h 105345"/>
                <a:gd name="connsiteX3" fmla="*/ 90800 w 160452"/>
                <a:gd name="connsiteY3" fmla="*/ 91615 h 105345"/>
                <a:gd name="connsiteX4" fmla="*/ 111094 w 160452"/>
                <a:gd name="connsiteY4" fmla="*/ 98379 h 105345"/>
                <a:gd name="connsiteX5" fmla="*/ 112998 w 160452"/>
                <a:gd name="connsiteY5" fmla="*/ 98179 h 105345"/>
                <a:gd name="connsiteX6" fmla="*/ 124223 w 160452"/>
                <a:gd name="connsiteY6" fmla="*/ 102238 h 105345"/>
                <a:gd name="connsiteX7" fmla="*/ 127681 w 160452"/>
                <a:gd name="connsiteY7" fmla="*/ 104042 h 105345"/>
                <a:gd name="connsiteX8" fmla="*/ 141711 w 160452"/>
                <a:gd name="connsiteY8" fmla="*/ 100935 h 105345"/>
                <a:gd name="connsiteX9" fmla="*/ 147574 w 160452"/>
                <a:gd name="connsiteY9" fmla="*/ 91715 h 105345"/>
                <a:gd name="connsiteX10" fmla="*/ 148677 w 160452"/>
                <a:gd name="connsiteY10" fmla="*/ 89610 h 105345"/>
                <a:gd name="connsiteX11" fmla="*/ 157496 w 160452"/>
                <a:gd name="connsiteY11" fmla="*/ 72523 h 105345"/>
                <a:gd name="connsiteX12" fmla="*/ 160453 w 160452"/>
                <a:gd name="connsiteY12" fmla="*/ 66760 h 105345"/>
                <a:gd name="connsiteX13" fmla="*/ 132792 w 160452"/>
                <a:gd name="connsiteY13" fmla="*/ 48119 h 105345"/>
                <a:gd name="connsiteX14" fmla="*/ 126728 w 160452"/>
                <a:gd name="connsiteY14" fmla="*/ 46064 h 105345"/>
                <a:gd name="connsiteX15" fmla="*/ 91802 w 160452"/>
                <a:gd name="connsiteY15" fmla="*/ 14094 h 105345"/>
                <a:gd name="connsiteX16" fmla="*/ 84335 w 160452"/>
                <a:gd name="connsiteY16" fmla="*/ 5776 h 105345"/>
                <a:gd name="connsiteX17" fmla="*/ 57426 w 160452"/>
                <a:gd name="connsiteY17" fmla="*/ 614 h 105345"/>
                <a:gd name="connsiteX18" fmla="*/ 46302 w 160452"/>
                <a:gd name="connsiteY18" fmla="*/ 214 h 105345"/>
                <a:gd name="connsiteX19" fmla="*/ 0 w 160452"/>
                <a:gd name="connsiteY19" fmla="*/ 23565 h 105345"/>
                <a:gd name="connsiteX20" fmla="*/ 1303 w 160452"/>
                <a:gd name="connsiteY20" fmla="*/ 26070 h 105345"/>
                <a:gd name="connsiteX21" fmla="*/ 5111 w 160452"/>
                <a:gd name="connsiteY21" fmla="*/ 32685 h 105345"/>
                <a:gd name="connsiteX22" fmla="*/ 27110 w 160452"/>
                <a:gd name="connsiteY22" fmla="*/ 80640 h 105345"/>
                <a:gd name="connsiteX23" fmla="*/ 46552 w 160452"/>
                <a:gd name="connsiteY23" fmla="*/ 103390 h 105345"/>
                <a:gd name="connsiteX24" fmla="*/ 62738 w 160452"/>
                <a:gd name="connsiteY24" fmla="*/ 97528 h 105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60452" h="105345">
                  <a:moveTo>
                    <a:pt x="62738" y="97628"/>
                  </a:moveTo>
                  <a:cubicBezTo>
                    <a:pt x="70405" y="94070"/>
                    <a:pt x="78322" y="90362"/>
                    <a:pt x="88344" y="90111"/>
                  </a:cubicBezTo>
                  <a:lnTo>
                    <a:pt x="90048" y="90111"/>
                  </a:lnTo>
                  <a:cubicBezTo>
                    <a:pt x="90048" y="90111"/>
                    <a:pt x="90800" y="91615"/>
                    <a:pt x="90800" y="91615"/>
                  </a:cubicBezTo>
                  <a:cubicBezTo>
                    <a:pt x="94307" y="98680"/>
                    <a:pt x="100170" y="100634"/>
                    <a:pt x="111094" y="98379"/>
                  </a:cubicBezTo>
                  <a:cubicBezTo>
                    <a:pt x="111695" y="98229"/>
                    <a:pt x="112347" y="98179"/>
                    <a:pt x="112998" y="98179"/>
                  </a:cubicBezTo>
                  <a:cubicBezTo>
                    <a:pt x="116706" y="98179"/>
                    <a:pt x="120515" y="100233"/>
                    <a:pt x="124223" y="102238"/>
                  </a:cubicBezTo>
                  <a:cubicBezTo>
                    <a:pt x="125426" y="102889"/>
                    <a:pt x="126578" y="103491"/>
                    <a:pt x="127681" y="104042"/>
                  </a:cubicBezTo>
                  <a:cubicBezTo>
                    <a:pt x="132792" y="106497"/>
                    <a:pt x="137402" y="105495"/>
                    <a:pt x="141711" y="100935"/>
                  </a:cubicBezTo>
                  <a:cubicBezTo>
                    <a:pt x="144067" y="98429"/>
                    <a:pt x="145871" y="95022"/>
                    <a:pt x="147574" y="91715"/>
                  </a:cubicBezTo>
                  <a:lnTo>
                    <a:pt x="148677" y="89610"/>
                  </a:lnTo>
                  <a:cubicBezTo>
                    <a:pt x="151583" y="84198"/>
                    <a:pt x="154389" y="78686"/>
                    <a:pt x="157496" y="72523"/>
                  </a:cubicBezTo>
                  <a:lnTo>
                    <a:pt x="160453" y="66760"/>
                  </a:lnTo>
                  <a:cubicBezTo>
                    <a:pt x="149378" y="53631"/>
                    <a:pt x="147725" y="53080"/>
                    <a:pt x="132792" y="48119"/>
                  </a:cubicBezTo>
                  <a:lnTo>
                    <a:pt x="126728" y="46064"/>
                  </a:lnTo>
                  <a:cubicBezTo>
                    <a:pt x="111896" y="41003"/>
                    <a:pt x="95710" y="33938"/>
                    <a:pt x="91802" y="14094"/>
                  </a:cubicBezTo>
                  <a:cubicBezTo>
                    <a:pt x="91250" y="11288"/>
                    <a:pt x="87643" y="7830"/>
                    <a:pt x="84335" y="5776"/>
                  </a:cubicBezTo>
                  <a:cubicBezTo>
                    <a:pt x="76167" y="815"/>
                    <a:pt x="67047" y="715"/>
                    <a:pt x="57426" y="614"/>
                  </a:cubicBezTo>
                  <a:cubicBezTo>
                    <a:pt x="53768" y="614"/>
                    <a:pt x="50010" y="514"/>
                    <a:pt x="46302" y="214"/>
                  </a:cubicBezTo>
                  <a:cubicBezTo>
                    <a:pt x="26358" y="-1590"/>
                    <a:pt x="13229" y="8181"/>
                    <a:pt x="0" y="23565"/>
                  </a:cubicBezTo>
                  <a:cubicBezTo>
                    <a:pt x="451" y="24417"/>
                    <a:pt x="852" y="25269"/>
                    <a:pt x="1303" y="26070"/>
                  </a:cubicBezTo>
                  <a:cubicBezTo>
                    <a:pt x="2606" y="28626"/>
                    <a:pt x="3708" y="30831"/>
                    <a:pt x="5111" y="32685"/>
                  </a:cubicBezTo>
                  <a:cubicBezTo>
                    <a:pt x="16987" y="48370"/>
                    <a:pt x="24153" y="64054"/>
                    <a:pt x="27110" y="80640"/>
                  </a:cubicBezTo>
                  <a:cubicBezTo>
                    <a:pt x="29264" y="92567"/>
                    <a:pt x="35578" y="100033"/>
                    <a:pt x="46552" y="103390"/>
                  </a:cubicBezTo>
                  <a:cubicBezTo>
                    <a:pt x="52115" y="102488"/>
                    <a:pt x="57276" y="100083"/>
                    <a:pt x="62738" y="9752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64" name="Полилиния: фигура 163">
              <a:extLst>
                <a:ext uri="{FF2B5EF4-FFF2-40B4-BE49-F238E27FC236}">
                  <a16:creationId xmlns:a16="http://schemas.microsoft.com/office/drawing/2014/main" id="{1F193F25-BBC9-49AB-A888-663D37A8F35C}"/>
                </a:ext>
              </a:extLst>
            </p:cNvPr>
            <p:cNvSpPr/>
            <p:nvPr/>
          </p:nvSpPr>
          <p:spPr>
            <a:xfrm>
              <a:off x="4379131" y="2102436"/>
              <a:ext cx="59301" cy="125549"/>
            </a:xfrm>
            <a:custGeom>
              <a:avLst/>
              <a:gdLst>
                <a:gd name="connsiteX0" fmla="*/ 44247 w 47550"/>
                <a:gd name="connsiteY0" fmla="*/ 66596 h 100671"/>
                <a:gd name="connsiteX1" fmla="*/ 31168 w 47550"/>
                <a:gd name="connsiteY1" fmla="*/ 13981 h 100671"/>
                <a:gd name="connsiteX2" fmla="*/ 26258 w 47550"/>
                <a:gd name="connsiteY2" fmla="*/ 3458 h 100671"/>
                <a:gd name="connsiteX3" fmla="*/ 24554 w 47550"/>
                <a:gd name="connsiteY3" fmla="*/ 852 h 100671"/>
                <a:gd name="connsiteX4" fmla="*/ 24554 w 47550"/>
                <a:gd name="connsiteY4" fmla="*/ 852 h 100671"/>
                <a:gd name="connsiteX5" fmla="*/ 22149 w 47550"/>
                <a:gd name="connsiteY5" fmla="*/ 0 h 100671"/>
                <a:gd name="connsiteX6" fmla="*/ 19493 w 47550"/>
                <a:gd name="connsiteY6" fmla="*/ 651 h 100671"/>
                <a:gd name="connsiteX7" fmla="*/ 0 w 47550"/>
                <a:gd name="connsiteY7" fmla="*/ 19693 h 100671"/>
                <a:gd name="connsiteX8" fmla="*/ 0 w 47550"/>
                <a:gd name="connsiteY8" fmla="*/ 51864 h 100671"/>
                <a:gd name="connsiteX9" fmla="*/ 15935 w 47550"/>
                <a:gd name="connsiteY9" fmla="*/ 64291 h 100671"/>
                <a:gd name="connsiteX10" fmla="*/ 16035 w 47550"/>
                <a:gd name="connsiteY10" fmla="*/ 65444 h 100671"/>
                <a:gd name="connsiteX11" fmla="*/ 37232 w 47550"/>
                <a:gd name="connsiteY11" fmla="*/ 100671 h 100671"/>
                <a:gd name="connsiteX12" fmla="*/ 44548 w 47550"/>
                <a:gd name="connsiteY12" fmla="*/ 67298 h 100671"/>
                <a:gd name="connsiteX13" fmla="*/ 44297 w 47550"/>
                <a:gd name="connsiteY13" fmla="*/ 66646 h 100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550" h="100671">
                  <a:moveTo>
                    <a:pt x="44247" y="66596"/>
                  </a:moveTo>
                  <a:cubicBezTo>
                    <a:pt x="37983" y="49960"/>
                    <a:pt x="31469" y="32772"/>
                    <a:pt x="31168" y="13981"/>
                  </a:cubicBezTo>
                  <a:cubicBezTo>
                    <a:pt x="31118" y="10774"/>
                    <a:pt x="28663" y="7066"/>
                    <a:pt x="26258" y="3458"/>
                  </a:cubicBezTo>
                  <a:cubicBezTo>
                    <a:pt x="25656" y="2556"/>
                    <a:pt x="25105" y="1704"/>
                    <a:pt x="24554" y="852"/>
                  </a:cubicBezTo>
                  <a:lnTo>
                    <a:pt x="24554" y="852"/>
                  </a:lnTo>
                  <a:cubicBezTo>
                    <a:pt x="24303" y="451"/>
                    <a:pt x="23401" y="50"/>
                    <a:pt x="22149" y="0"/>
                  </a:cubicBezTo>
                  <a:cubicBezTo>
                    <a:pt x="20595" y="0"/>
                    <a:pt x="19643" y="401"/>
                    <a:pt x="19493" y="651"/>
                  </a:cubicBezTo>
                  <a:cubicBezTo>
                    <a:pt x="17839" y="12628"/>
                    <a:pt x="8869" y="16937"/>
                    <a:pt x="0" y="19693"/>
                  </a:cubicBezTo>
                  <a:lnTo>
                    <a:pt x="0" y="51864"/>
                  </a:lnTo>
                  <a:lnTo>
                    <a:pt x="15935" y="64291"/>
                  </a:lnTo>
                  <a:lnTo>
                    <a:pt x="16035" y="65444"/>
                  </a:lnTo>
                  <a:cubicBezTo>
                    <a:pt x="18992" y="94057"/>
                    <a:pt x="19042" y="94708"/>
                    <a:pt x="37232" y="100671"/>
                  </a:cubicBezTo>
                  <a:cubicBezTo>
                    <a:pt x="48005" y="92353"/>
                    <a:pt x="50160" y="82281"/>
                    <a:pt x="44548" y="67298"/>
                  </a:cubicBezTo>
                  <a:lnTo>
                    <a:pt x="44297" y="66646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65" name="Полилиния: фигура 164">
              <a:extLst>
                <a:ext uri="{FF2B5EF4-FFF2-40B4-BE49-F238E27FC236}">
                  <a16:creationId xmlns:a16="http://schemas.microsoft.com/office/drawing/2014/main" id="{7F5EB3D5-4167-4327-8FF6-2D33CD1713D8}"/>
                </a:ext>
              </a:extLst>
            </p:cNvPr>
            <p:cNvSpPr/>
            <p:nvPr/>
          </p:nvSpPr>
          <p:spPr>
            <a:xfrm>
              <a:off x="995551" y="4876405"/>
              <a:ext cx="66555" cy="86555"/>
            </a:xfrm>
            <a:custGeom>
              <a:avLst/>
              <a:gdLst>
                <a:gd name="connsiteX0" fmla="*/ 5462 w 53367"/>
                <a:gd name="connsiteY0" fmla="*/ 44439 h 69404"/>
                <a:gd name="connsiteX1" fmla="*/ 1353 w 53367"/>
                <a:gd name="connsiteY1" fmla="*/ 60173 h 69404"/>
                <a:gd name="connsiteX2" fmla="*/ 0 w 53367"/>
                <a:gd name="connsiteY2" fmla="*/ 65034 h 69404"/>
                <a:gd name="connsiteX3" fmla="*/ 11726 w 53367"/>
                <a:gd name="connsiteY3" fmla="*/ 68993 h 69404"/>
                <a:gd name="connsiteX4" fmla="*/ 16436 w 53367"/>
                <a:gd name="connsiteY4" fmla="*/ 67590 h 69404"/>
                <a:gd name="connsiteX5" fmla="*/ 33674 w 53367"/>
                <a:gd name="connsiteY5" fmla="*/ 59772 h 69404"/>
                <a:gd name="connsiteX6" fmla="*/ 53367 w 53367"/>
                <a:gd name="connsiteY6" fmla="*/ 23493 h 69404"/>
                <a:gd name="connsiteX7" fmla="*/ 50260 w 53367"/>
                <a:gd name="connsiteY7" fmla="*/ 19885 h 69404"/>
                <a:gd name="connsiteX8" fmla="*/ 15334 w 53367"/>
                <a:gd name="connsiteY8" fmla="*/ 191 h 69404"/>
                <a:gd name="connsiteX9" fmla="*/ 12628 w 53367"/>
                <a:gd name="connsiteY9" fmla="*/ 3348 h 69404"/>
                <a:gd name="connsiteX10" fmla="*/ 6364 w 53367"/>
                <a:gd name="connsiteY10" fmla="*/ 28955 h 69404"/>
                <a:gd name="connsiteX11" fmla="*/ 6063 w 53367"/>
                <a:gd name="connsiteY11" fmla="*/ 42134 h 69404"/>
                <a:gd name="connsiteX12" fmla="*/ 5512 w 53367"/>
                <a:gd name="connsiteY12" fmla="*/ 44489 h 6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367" h="69404">
                  <a:moveTo>
                    <a:pt x="5462" y="44439"/>
                  </a:moveTo>
                  <a:cubicBezTo>
                    <a:pt x="4259" y="49750"/>
                    <a:pt x="2806" y="55062"/>
                    <a:pt x="1353" y="60173"/>
                  </a:cubicBezTo>
                  <a:cubicBezTo>
                    <a:pt x="902" y="61827"/>
                    <a:pt x="451" y="63430"/>
                    <a:pt x="0" y="65034"/>
                  </a:cubicBezTo>
                  <a:cubicBezTo>
                    <a:pt x="4059" y="68892"/>
                    <a:pt x="7867" y="70145"/>
                    <a:pt x="11726" y="68993"/>
                  </a:cubicBezTo>
                  <a:cubicBezTo>
                    <a:pt x="13279" y="68491"/>
                    <a:pt x="14833" y="68041"/>
                    <a:pt x="16436" y="67590"/>
                  </a:cubicBezTo>
                  <a:cubicBezTo>
                    <a:pt x="23001" y="65736"/>
                    <a:pt x="29816" y="63781"/>
                    <a:pt x="33674" y="59772"/>
                  </a:cubicBezTo>
                  <a:cubicBezTo>
                    <a:pt x="43997" y="48999"/>
                    <a:pt x="50661" y="36822"/>
                    <a:pt x="53367" y="23493"/>
                  </a:cubicBezTo>
                  <a:cubicBezTo>
                    <a:pt x="52315" y="22290"/>
                    <a:pt x="51263" y="21088"/>
                    <a:pt x="50260" y="19885"/>
                  </a:cubicBezTo>
                  <a:cubicBezTo>
                    <a:pt x="40389" y="8410"/>
                    <a:pt x="31820" y="-1512"/>
                    <a:pt x="15334" y="191"/>
                  </a:cubicBezTo>
                  <a:cubicBezTo>
                    <a:pt x="14432" y="1244"/>
                    <a:pt x="13530" y="2296"/>
                    <a:pt x="12628" y="3348"/>
                  </a:cubicBezTo>
                  <a:cubicBezTo>
                    <a:pt x="5662" y="11366"/>
                    <a:pt x="150" y="17680"/>
                    <a:pt x="6364" y="28955"/>
                  </a:cubicBezTo>
                  <a:cubicBezTo>
                    <a:pt x="8418" y="32613"/>
                    <a:pt x="7166" y="37674"/>
                    <a:pt x="6063" y="42134"/>
                  </a:cubicBezTo>
                  <a:cubicBezTo>
                    <a:pt x="5863" y="42935"/>
                    <a:pt x="5662" y="43737"/>
                    <a:pt x="5512" y="4448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66" name="Полилиния: фигура 165">
              <a:extLst>
                <a:ext uri="{FF2B5EF4-FFF2-40B4-BE49-F238E27FC236}">
                  <a16:creationId xmlns:a16="http://schemas.microsoft.com/office/drawing/2014/main" id="{5BB3BB63-BF4D-46F3-AF7E-BAF6D6330A3A}"/>
                </a:ext>
              </a:extLst>
            </p:cNvPr>
            <p:cNvSpPr/>
            <p:nvPr/>
          </p:nvSpPr>
          <p:spPr>
            <a:xfrm>
              <a:off x="4179477" y="1765658"/>
              <a:ext cx="15825" cy="36120"/>
            </a:xfrm>
            <a:custGeom>
              <a:avLst/>
              <a:gdLst>
                <a:gd name="connsiteX0" fmla="*/ 7707 w 12689"/>
                <a:gd name="connsiteY0" fmla="*/ 28914 h 28963"/>
                <a:gd name="connsiteX1" fmla="*/ 11515 w 12689"/>
                <a:gd name="connsiteY1" fmla="*/ 19543 h 28963"/>
                <a:gd name="connsiteX2" fmla="*/ 4650 w 12689"/>
                <a:gd name="connsiteY2" fmla="*/ 5011 h 28963"/>
                <a:gd name="connsiteX3" fmla="*/ 2245 w 12689"/>
                <a:gd name="connsiteY3" fmla="*/ 0 h 28963"/>
                <a:gd name="connsiteX4" fmla="*/ 241 w 12689"/>
                <a:gd name="connsiteY4" fmla="*/ 1453 h 28963"/>
                <a:gd name="connsiteX5" fmla="*/ 541 w 12689"/>
                <a:gd name="connsiteY5" fmla="*/ 5111 h 28963"/>
                <a:gd name="connsiteX6" fmla="*/ 3347 w 12689"/>
                <a:gd name="connsiteY6" fmla="*/ 10022 h 28963"/>
                <a:gd name="connsiteX7" fmla="*/ 7156 w 12689"/>
                <a:gd name="connsiteY7" fmla="*/ 17689 h 28963"/>
                <a:gd name="connsiteX8" fmla="*/ 7707 w 12689"/>
                <a:gd name="connsiteY8" fmla="*/ 28964 h 28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689" h="28963">
                  <a:moveTo>
                    <a:pt x="7707" y="28914"/>
                  </a:moveTo>
                  <a:cubicBezTo>
                    <a:pt x="13720" y="24404"/>
                    <a:pt x="13319" y="23502"/>
                    <a:pt x="11515" y="19543"/>
                  </a:cubicBezTo>
                  <a:cubicBezTo>
                    <a:pt x="9361" y="14732"/>
                    <a:pt x="7055" y="10022"/>
                    <a:pt x="4650" y="5011"/>
                  </a:cubicBezTo>
                  <a:lnTo>
                    <a:pt x="2245" y="0"/>
                  </a:lnTo>
                  <a:cubicBezTo>
                    <a:pt x="1243" y="401"/>
                    <a:pt x="541" y="852"/>
                    <a:pt x="241" y="1453"/>
                  </a:cubicBezTo>
                  <a:cubicBezTo>
                    <a:pt x="-160" y="2205"/>
                    <a:pt x="-60" y="3458"/>
                    <a:pt x="541" y="5111"/>
                  </a:cubicBezTo>
                  <a:cubicBezTo>
                    <a:pt x="1143" y="6765"/>
                    <a:pt x="2195" y="8318"/>
                    <a:pt x="3347" y="10022"/>
                  </a:cubicBezTo>
                  <a:cubicBezTo>
                    <a:pt x="4901" y="12377"/>
                    <a:pt x="6504" y="14783"/>
                    <a:pt x="7156" y="17689"/>
                  </a:cubicBezTo>
                  <a:cubicBezTo>
                    <a:pt x="8058" y="21347"/>
                    <a:pt x="7857" y="25055"/>
                    <a:pt x="7707" y="2896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67" name="Полилиния: фигура 166">
              <a:extLst>
                <a:ext uri="{FF2B5EF4-FFF2-40B4-BE49-F238E27FC236}">
                  <a16:creationId xmlns:a16="http://schemas.microsoft.com/office/drawing/2014/main" id="{AAAFDD6F-54A5-43BD-A0D0-ABC31E3B8C0C}"/>
                </a:ext>
              </a:extLst>
            </p:cNvPr>
            <p:cNvSpPr/>
            <p:nvPr/>
          </p:nvSpPr>
          <p:spPr>
            <a:xfrm>
              <a:off x="867128" y="4846397"/>
              <a:ext cx="132040" cy="93795"/>
            </a:xfrm>
            <a:custGeom>
              <a:avLst/>
              <a:gdLst>
                <a:gd name="connsiteX0" fmla="*/ 87943 w 105876"/>
                <a:gd name="connsiteY0" fmla="*/ 45500 h 75209"/>
                <a:gd name="connsiteX1" fmla="*/ 87242 w 105876"/>
                <a:gd name="connsiteY1" fmla="*/ 44147 h 75209"/>
                <a:gd name="connsiteX2" fmla="*/ 92203 w 105876"/>
                <a:gd name="connsiteY2" fmla="*/ 35879 h 75209"/>
                <a:gd name="connsiteX3" fmla="*/ 102625 w 105876"/>
                <a:gd name="connsiteY3" fmla="*/ 18290 h 75209"/>
                <a:gd name="connsiteX4" fmla="*/ 104229 w 105876"/>
                <a:gd name="connsiteY4" fmla="*/ 16035 h 75209"/>
                <a:gd name="connsiteX5" fmla="*/ 105782 w 105876"/>
                <a:gd name="connsiteY5" fmla="*/ 12477 h 75209"/>
                <a:gd name="connsiteX6" fmla="*/ 71206 w 105876"/>
                <a:gd name="connsiteY6" fmla="*/ 8919 h 75209"/>
                <a:gd name="connsiteX7" fmla="*/ 54670 w 105876"/>
                <a:gd name="connsiteY7" fmla="*/ 17037 h 75209"/>
                <a:gd name="connsiteX8" fmla="*/ 53367 w 105876"/>
                <a:gd name="connsiteY8" fmla="*/ 15133 h 75209"/>
                <a:gd name="connsiteX9" fmla="*/ 43045 w 105876"/>
                <a:gd name="connsiteY9" fmla="*/ 401 h 75209"/>
                <a:gd name="connsiteX10" fmla="*/ 42744 w 105876"/>
                <a:gd name="connsiteY10" fmla="*/ 0 h 75209"/>
                <a:gd name="connsiteX11" fmla="*/ 0 w 105876"/>
                <a:gd name="connsiteY11" fmla="*/ 17438 h 75209"/>
                <a:gd name="connsiteX12" fmla="*/ 9170 w 105876"/>
                <a:gd name="connsiteY12" fmla="*/ 58077 h 75209"/>
                <a:gd name="connsiteX13" fmla="*/ 89096 w 105876"/>
                <a:gd name="connsiteY13" fmla="*/ 73812 h 75209"/>
                <a:gd name="connsiteX14" fmla="*/ 87993 w 105876"/>
                <a:gd name="connsiteY14" fmla="*/ 45450 h 75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5876" h="75209">
                  <a:moveTo>
                    <a:pt x="87943" y="45500"/>
                  </a:moveTo>
                  <a:lnTo>
                    <a:pt x="87242" y="44147"/>
                  </a:lnTo>
                  <a:lnTo>
                    <a:pt x="92203" y="35879"/>
                  </a:lnTo>
                  <a:cubicBezTo>
                    <a:pt x="95810" y="29865"/>
                    <a:pt x="99318" y="24103"/>
                    <a:pt x="102625" y="18290"/>
                  </a:cubicBezTo>
                  <a:cubicBezTo>
                    <a:pt x="103076" y="17539"/>
                    <a:pt x="103628" y="16787"/>
                    <a:pt x="104229" y="16035"/>
                  </a:cubicBezTo>
                  <a:cubicBezTo>
                    <a:pt x="105482" y="14482"/>
                    <a:pt x="106133" y="13630"/>
                    <a:pt x="105782" y="12477"/>
                  </a:cubicBezTo>
                  <a:cubicBezTo>
                    <a:pt x="93656" y="19794"/>
                    <a:pt x="82030" y="15334"/>
                    <a:pt x="71206" y="8919"/>
                  </a:cubicBezTo>
                  <a:lnTo>
                    <a:pt x="54670" y="17037"/>
                  </a:lnTo>
                  <a:lnTo>
                    <a:pt x="53367" y="15133"/>
                  </a:lnTo>
                  <a:cubicBezTo>
                    <a:pt x="49960" y="10222"/>
                    <a:pt x="46452" y="5312"/>
                    <a:pt x="43045" y="401"/>
                  </a:cubicBezTo>
                  <a:lnTo>
                    <a:pt x="42744" y="0"/>
                  </a:lnTo>
                  <a:lnTo>
                    <a:pt x="0" y="17438"/>
                  </a:lnTo>
                  <a:lnTo>
                    <a:pt x="9170" y="58077"/>
                  </a:lnTo>
                  <a:cubicBezTo>
                    <a:pt x="44999" y="74363"/>
                    <a:pt x="61084" y="77520"/>
                    <a:pt x="89096" y="73812"/>
                  </a:cubicBezTo>
                  <a:cubicBezTo>
                    <a:pt x="97414" y="65544"/>
                    <a:pt x="94057" y="57175"/>
                    <a:pt x="87993" y="4545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68" name="Полилиния: фигура 167">
              <a:extLst>
                <a:ext uri="{FF2B5EF4-FFF2-40B4-BE49-F238E27FC236}">
                  <a16:creationId xmlns:a16="http://schemas.microsoft.com/office/drawing/2014/main" id="{95B562AD-E11B-48CD-9007-29804F2DFFEF}"/>
                </a:ext>
              </a:extLst>
            </p:cNvPr>
            <p:cNvSpPr/>
            <p:nvPr/>
          </p:nvSpPr>
          <p:spPr>
            <a:xfrm>
              <a:off x="1016362" y="4829898"/>
              <a:ext cx="21065" cy="19333"/>
            </a:xfrm>
            <a:custGeom>
              <a:avLst/>
              <a:gdLst>
                <a:gd name="connsiteX0" fmla="*/ 4710 w 16891"/>
                <a:gd name="connsiteY0" fmla="*/ 0 h 15502"/>
                <a:gd name="connsiteX1" fmla="*/ 0 w 16891"/>
                <a:gd name="connsiteY1" fmla="*/ 11425 h 15502"/>
                <a:gd name="connsiteX2" fmla="*/ 16837 w 16891"/>
                <a:gd name="connsiteY2" fmla="*/ 15183 h 15502"/>
                <a:gd name="connsiteX3" fmla="*/ 4710 w 16891"/>
                <a:gd name="connsiteY3" fmla="*/ 0 h 15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91" h="15502">
                  <a:moveTo>
                    <a:pt x="4710" y="0"/>
                  </a:moveTo>
                  <a:lnTo>
                    <a:pt x="0" y="11425"/>
                  </a:lnTo>
                  <a:cubicBezTo>
                    <a:pt x="6414" y="14983"/>
                    <a:pt x="11475" y="16135"/>
                    <a:pt x="16837" y="15183"/>
                  </a:cubicBezTo>
                  <a:cubicBezTo>
                    <a:pt x="17438" y="6163"/>
                    <a:pt x="13029" y="2556"/>
                    <a:pt x="4710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69" name="Полилиния: фигура 168">
              <a:extLst>
                <a:ext uri="{FF2B5EF4-FFF2-40B4-BE49-F238E27FC236}">
                  <a16:creationId xmlns:a16="http://schemas.microsoft.com/office/drawing/2014/main" id="{7887E230-735E-45F5-8684-2E2F654A627D}"/>
                </a:ext>
              </a:extLst>
            </p:cNvPr>
            <p:cNvSpPr/>
            <p:nvPr/>
          </p:nvSpPr>
          <p:spPr>
            <a:xfrm>
              <a:off x="569659" y="4072244"/>
              <a:ext cx="404755" cy="514367"/>
            </a:xfrm>
            <a:custGeom>
              <a:avLst/>
              <a:gdLst>
                <a:gd name="connsiteX0" fmla="*/ 69402 w 324551"/>
                <a:gd name="connsiteY0" fmla="*/ 337428 h 412443"/>
                <a:gd name="connsiteX1" fmla="*/ 69603 w 324551"/>
                <a:gd name="connsiteY1" fmla="*/ 337529 h 412443"/>
                <a:gd name="connsiteX2" fmla="*/ 85137 w 324551"/>
                <a:gd name="connsiteY2" fmla="*/ 306510 h 412443"/>
                <a:gd name="connsiteX3" fmla="*/ 98416 w 324551"/>
                <a:gd name="connsiteY3" fmla="*/ 309066 h 412443"/>
                <a:gd name="connsiteX4" fmla="*/ 104580 w 324551"/>
                <a:gd name="connsiteY4" fmla="*/ 317936 h 412443"/>
                <a:gd name="connsiteX5" fmla="*/ 105432 w 324551"/>
                <a:gd name="connsiteY5" fmla="*/ 319539 h 412443"/>
                <a:gd name="connsiteX6" fmla="*/ 108188 w 324551"/>
                <a:gd name="connsiteY6" fmla="*/ 315430 h 412443"/>
                <a:gd name="connsiteX7" fmla="*/ 108188 w 324551"/>
                <a:gd name="connsiteY7" fmla="*/ 315029 h 412443"/>
                <a:gd name="connsiteX8" fmla="*/ 108188 w 324551"/>
                <a:gd name="connsiteY8" fmla="*/ 314378 h 412443"/>
                <a:gd name="connsiteX9" fmla="*/ 107236 w 324551"/>
                <a:gd name="connsiteY9" fmla="*/ 307914 h 412443"/>
                <a:gd name="connsiteX10" fmla="*/ 110192 w 324551"/>
                <a:gd name="connsiteY10" fmla="*/ 287268 h 412443"/>
                <a:gd name="connsiteX11" fmla="*/ 145269 w 324551"/>
                <a:gd name="connsiteY11" fmla="*/ 265871 h 412443"/>
                <a:gd name="connsiteX12" fmla="*/ 146823 w 324551"/>
                <a:gd name="connsiteY12" fmla="*/ 265019 h 412443"/>
                <a:gd name="connsiteX13" fmla="*/ 148025 w 324551"/>
                <a:gd name="connsiteY13" fmla="*/ 264268 h 412443"/>
                <a:gd name="connsiteX14" fmla="*/ 146772 w 324551"/>
                <a:gd name="connsiteY14" fmla="*/ 230694 h 412443"/>
                <a:gd name="connsiteX15" fmla="*/ 109440 w 324551"/>
                <a:gd name="connsiteY15" fmla="*/ 224430 h 412443"/>
                <a:gd name="connsiteX16" fmla="*/ 103978 w 324551"/>
                <a:gd name="connsiteY16" fmla="*/ 218317 h 412443"/>
                <a:gd name="connsiteX17" fmla="*/ 95309 w 324551"/>
                <a:gd name="connsiteY17" fmla="*/ 208245 h 412443"/>
                <a:gd name="connsiteX18" fmla="*/ 85287 w 324551"/>
                <a:gd name="connsiteY18" fmla="*/ 191658 h 412443"/>
                <a:gd name="connsiteX19" fmla="*/ 93806 w 324551"/>
                <a:gd name="connsiteY19" fmla="*/ 167405 h 412443"/>
                <a:gd name="connsiteX20" fmla="*/ 94758 w 324551"/>
                <a:gd name="connsiteY20" fmla="*/ 166553 h 412443"/>
                <a:gd name="connsiteX21" fmla="*/ 96011 w 324551"/>
                <a:gd name="connsiteY21" fmla="*/ 166753 h 412443"/>
                <a:gd name="connsiteX22" fmla="*/ 112297 w 324551"/>
                <a:gd name="connsiteY22" fmla="*/ 178880 h 412443"/>
                <a:gd name="connsiteX23" fmla="*/ 113650 w 324551"/>
                <a:gd name="connsiteY23" fmla="*/ 180634 h 412443"/>
                <a:gd name="connsiteX24" fmla="*/ 167117 w 324551"/>
                <a:gd name="connsiteY24" fmla="*/ 195817 h 412443"/>
                <a:gd name="connsiteX25" fmla="*/ 173331 w 324551"/>
                <a:gd name="connsiteY25" fmla="*/ 194865 h 412443"/>
                <a:gd name="connsiteX26" fmla="*/ 174834 w 324551"/>
                <a:gd name="connsiteY26" fmla="*/ 194765 h 412443"/>
                <a:gd name="connsiteX27" fmla="*/ 177841 w 324551"/>
                <a:gd name="connsiteY27" fmla="*/ 195567 h 412443"/>
                <a:gd name="connsiteX28" fmla="*/ 179544 w 324551"/>
                <a:gd name="connsiteY28" fmla="*/ 196318 h 412443"/>
                <a:gd name="connsiteX29" fmla="*/ 180446 w 324551"/>
                <a:gd name="connsiteY29" fmla="*/ 196669 h 412443"/>
                <a:gd name="connsiteX30" fmla="*/ 180897 w 324551"/>
                <a:gd name="connsiteY30" fmla="*/ 197571 h 412443"/>
                <a:gd name="connsiteX31" fmla="*/ 181749 w 324551"/>
                <a:gd name="connsiteY31" fmla="*/ 198924 h 412443"/>
                <a:gd name="connsiteX32" fmla="*/ 184656 w 324551"/>
                <a:gd name="connsiteY32" fmla="*/ 205789 h 412443"/>
                <a:gd name="connsiteX33" fmla="*/ 203247 w 324551"/>
                <a:gd name="connsiteY33" fmla="*/ 240365 h 412443"/>
                <a:gd name="connsiteX34" fmla="*/ 217027 w 324551"/>
                <a:gd name="connsiteY34" fmla="*/ 266422 h 412443"/>
                <a:gd name="connsiteX35" fmla="*/ 221487 w 324551"/>
                <a:gd name="connsiteY35" fmla="*/ 289824 h 412443"/>
                <a:gd name="connsiteX36" fmla="*/ 223341 w 324551"/>
                <a:gd name="connsiteY36" fmla="*/ 298894 h 412443"/>
                <a:gd name="connsiteX37" fmla="*/ 223541 w 324551"/>
                <a:gd name="connsiteY37" fmla="*/ 299946 h 412443"/>
                <a:gd name="connsiteX38" fmla="*/ 222940 w 324551"/>
                <a:gd name="connsiteY38" fmla="*/ 300848 h 412443"/>
                <a:gd name="connsiteX39" fmla="*/ 215423 w 324551"/>
                <a:gd name="connsiteY39" fmla="*/ 311973 h 412443"/>
                <a:gd name="connsiteX40" fmla="*/ 201392 w 324551"/>
                <a:gd name="connsiteY40" fmla="*/ 333971 h 412443"/>
                <a:gd name="connsiteX41" fmla="*/ 173231 w 324551"/>
                <a:gd name="connsiteY41" fmla="*/ 343091 h 412443"/>
                <a:gd name="connsiteX42" fmla="*/ 171477 w 324551"/>
                <a:gd name="connsiteY42" fmla="*/ 342439 h 412443"/>
                <a:gd name="connsiteX43" fmla="*/ 171477 w 324551"/>
                <a:gd name="connsiteY43" fmla="*/ 316532 h 412443"/>
                <a:gd name="connsiteX44" fmla="*/ 156895 w 324551"/>
                <a:gd name="connsiteY44" fmla="*/ 331265 h 412443"/>
                <a:gd name="connsiteX45" fmla="*/ 138103 w 324551"/>
                <a:gd name="connsiteY45" fmla="*/ 347701 h 412443"/>
                <a:gd name="connsiteX46" fmla="*/ 129785 w 324551"/>
                <a:gd name="connsiteY46" fmla="*/ 357723 h 412443"/>
                <a:gd name="connsiteX47" fmla="*/ 114552 w 324551"/>
                <a:gd name="connsiteY47" fmla="*/ 374760 h 412443"/>
                <a:gd name="connsiteX48" fmla="*/ 122970 w 324551"/>
                <a:gd name="connsiteY48" fmla="*/ 390695 h 412443"/>
                <a:gd name="connsiteX49" fmla="*/ 123772 w 324551"/>
                <a:gd name="connsiteY49" fmla="*/ 393351 h 412443"/>
                <a:gd name="connsiteX50" fmla="*/ 123822 w 324551"/>
                <a:gd name="connsiteY50" fmla="*/ 393502 h 412443"/>
                <a:gd name="connsiteX51" fmla="*/ 166115 w 324551"/>
                <a:gd name="connsiteY51" fmla="*/ 381325 h 412443"/>
                <a:gd name="connsiteX52" fmla="*/ 167318 w 324551"/>
                <a:gd name="connsiteY52" fmla="*/ 381325 h 412443"/>
                <a:gd name="connsiteX53" fmla="*/ 194778 w 324551"/>
                <a:gd name="connsiteY53" fmla="*/ 412443 h 412443"/>
                <a:gd name="connsiteX54" fmla="*/ 221837 w 324551"/>
                <a:gd name="connsiteY54" fmla="*/ 395406 h 412443"/>
                <a:gd name="connsiteX55" fmla="*/ 233012 w 324551"/>
                <a:gd name="connsiteY55" fmla="*/ 384482 h 412443"/>
                <a:gd name="connsiteX56" fmla="*/ 234014 w 324551"/>
                <a:gd name="connsiteY56" fmla="*/ 372957 h 412443"/>
                <a:gd name="connsiteX57" fmla="*/ 238023 w 324551"/>
                <a:gd name="connsiteY57" fmla="*/ 354266 h 412443"/>
                <a:gd name="connsiteX58" fmla="*/ 238825 w 324551"/>
                <a:gd name="connsiteY58" fmla="*/ 353113 h 412443"/>
                <a:gd name="connsiteX59" fmla="*/ 240228 w 324551"/>
                <a:gd name="connsiteY59" fmla="*/ 353113 h 412443"/>
                <a:gd name="connsiteX60" fmla="*/ 242433 w 324551"/>
                <a:gd name="connsiteY60" fmla="*/ 353013 h 412443"/>
                <a:gd name="connsiteX61" fmla="*/ 248145 w 324551"/>
                <a:gd name="connsiteY61" fmla="*/ 353413 h 412443"/>
                <a:gd name="connsiteX62" fmla="*/ 258217 w 324551"/>
                <a:gd name="connsiteY62" fmla="*/ 352562 h 412443"/>
                <a:gd name="connsiteX63" fmla="*/ 260122 w 324551"/>
                <a:gd name="connsiteY63" fmla="*/ 350457 h 412443"/>
                <a:gd name="connsiteX64" fmla="*/ 266185 w 324551"/>
                <a:gd name="connsiteY64" fmla="*/ 341237 h 412443"/>
                <a:gd name="connsiteX65" fmla="*/ 266536 w 324551"/>
                <a:gd name="connsiteY65" fmla="*/ 322646 h 412443"/>
                <a:gd name="connsiteX66" fmla="*/ 265383 w 324551"/>
                <a:gd name="connsiteY66" fmla="*/ 297290 h 412443"/>
                <a:gd name="connsiteX67" fmla="*/ 284124 w 324551"/>
                <a:gd name="connsiteY67" fmla="*/ 231696 h 412443"/>
                <a:gd name="connsiteX68" fmla="*/ 285477 w 324551"/>
                <a:gd name="connsiteY68" fmla="*/ 230143 h 412443"/>
                <a:gd name="connsiteX69" fmla="*/ 287331 w 324551"/>
                <a:gd name="connsiteY69" fmla="*/ 230995 h 412443"/>
                <a:gd name="connsiteX70" fmla="*/ 314190 w 324551"/>
                <a:gd name="connsiteY70" fmla="*/ 243622 h 412443"/>
                <a:gd name="connsiteX71" fmla="*/ 324262 w 324551"/>
                <a:gd name="connsiteY71" fmla="*/ 204537 h 412443"/>
                <a:gd name="connsiteX72" fmla="*/ 318800 w 324551"/>
                <a:gd name="connsiteY72" fmla="*/ 190456 h 412443"/>
                <a:gd name="connsiteX73" fmla="*/ 308277 w 324551"/>
                <a:gd name="connsiteY73" fmla="*/ 172015 h 412443"/>
                <a:gd name="connsiteX74" fmla="*/ 303517 w 324551"/>
                <a:gd name="connsiteY74" fmla="*/ 163947 h 412443"/>
                <a:gd name="connsiteX75" fmla="*/ 300811 w 324551"/>
                <a:gd name="connsiteY75" fmla="*/ 145707 h 412443"/>
                <a:gd name="connsiteX76" fmla="*/ 302515 w 324551"/>
                <a:gd name="connsiteY76" fmla="*/ 123007 h 412443"/>
                <a:gd name="connsiteX77" fmla="*/ 301462 w 324551"/>
                <a:gd name="connsiteY77" fmla="*/ 114288 h 412443"/>
                <a:gd name="connsiteX78" fmla="*/ 301362 w 324551"/>
                <a:gd name="connsiteY78" fmla="*/ 112735 h 412443"/>
                <a:gd name="connsiteX79" fmla="*/ 304770 w 324551"/>
                <a:gd name="connsiteY79" fmla="*/ 110530 h 412443"/>
                <a:gd name="connsiteX80" fmla="*/ 313539 w 324551"/>
                <a:gd name="connsiteY80" fmla="*/ 98453 h 412443"/>
                <a:gd name="connsiteX81" fmla="*/ 301362 w 324551"/>
                <a:gd name="connsiteY81" fmla="*/ 82368 h 412443"/>
                <a:gd name="connsiteX82" fmla="*/ 291090 w 324551"/>
                <a:gd name="connsiteY82" fmla="*/ 77457 h 412443"/>
                <a:gd name="connsiteX83" fmla="*/ 269041 w 324551"/>
                <a:gd name="connsiteY83" fmla="*/ 68638 h 412443"/>
                <a:gd name="connsiteX84" fmla="*/ 247293 w 324551"/>
                <a:gd name="connsiteY84" fmla="*/ 59919 h 412443"/>
                <a:gd name="connsiteX85" fmla="*/ 237271 w 324551"/>
                <a:gd name="connsiteY85" fmla="*/ 55409 h 412443"/>
                <a:gd name="connsiteX86" fmla="*/ 233413 w 324551"/>
                <a:gd name="connsiteY86" fmla="*/ 53605 h 412443"/>
                <a:gd name="connsiteX87" fmla="*/ 232110 w 324551"/>
                <a:gd name="connsiteY87" fmla="*/ 53004 h 412443"/>
                <a:gd name="connsiteX88" fmla="*/ 231859 w 324551"/>
                <a:gd name="connsiteY88" fmla="*/ 51600 h 412443"/>
                <a:gd name="connsiteX89" fmla="*/ 237823 w 324551"/>
                <a:gd name="connsiteY89" fmla="*/ 34312 h 412443"/>
                <a:gd name="connsiteX90" fmla="*/ 240929 w 324551"/>
                <a:gd name="connsiteY90" fmla="*/ 30103 h 412443"/>
                <a:gd name="connsiteX91" fmla="*/ 236520 w 324551"/>
                <a:gd name="connsiteY91" fmla="*/ 12214 h 412443"/>
                <a:gd name="connsiteX92" fmla="*/ 222890 w 324551"/>
                <a:gd name="connsiteY92" fmla="*/ 29903 h 412443"/>
                <a:gd name="connsiteX93" fmla="*/ 215022 w 324551"/>
                <a:gd name="connsiteY93" fmla="*/ 20282 h 412443"/>
                <a:gd name="connsiteX94" fmla="*/ 206253 w 324551"/>
                <a:gd name="connsiteY94" fmla="*/ 9508 h 412443"/>
                <a:gd name="connsiteX95" fmla="*/ 180948 w 324551"/>
                <a:gd name="connsiteY95" fmla="*/ 1139 h 412443"/>
                <a:gd name="connsiteX96" fmla="*/ 180797 w 324551"/>
                <a:gd name="connsiteY96" fmla="*/ 7854 h 412443"/>
                <a:gd name="connsiteX97" fmla="*/ 180547 w 324551"/>
                <a:gd name="connsiteY97" fmla="*/ 27548 h 412443"/>
                <a:gd name="connsiteX98" fmla="*/ 181098 w 324551"/>
                <a:gd name="connsiteY98" fmla="*/ 45136 h 412443"/>
                <a:gd name="connsiteX99" fmla="*/ 181649 w 324551"/>
                <a:gd name="connsiteY99" fmla="*/ 65381 h 412443"/>
                <a:gd name="connsiteX100" fmla="*/ 179945 w 324551"/>
                <a:gd name="connsiteY100" fmla="*/ 73348 h 412443"/>
                <a:gd name="connsiteX101" fmla="*/ 178993 w 324551"/>
                <a:gd name="connsiteY101" fmla="*/ 76305 h 412443"/>
                <a:gd name="connsiteX102" fmla="*/ 178392 w 324551"/>
                <a:gd name="connsiteY102" fmla="*/ 78610 h 412443"/>
                <a:gd name="connsiteX103" fmla="*/ 176037 w 324551"/>
                <a:gd name="connsiteY103" fmla="*/ 78259 h 412443"/>
                <a:gd name="connsiteX104" fmla="*/ 158598 w 324551"/>
                <a:gd name="connsiteY104" fmla="*/ 59067 h 412443"/>
                <a:gd name="connsiteX105" fmla="*/ 156945 w 324551"/>
                <a:gd name="connsiteY105" fmla="*/ 56962 h 412443"/>
                <a:gd name="connsiteX106" fmla="*/ 156694 w 324551"/>
                <a:gd name="connsiteY106" fmla="*/ 56662 h 412443"/>
                <a:gd name="connsiteX107" fmla="*/ 138855 w 324551"/>
                <a:gd name="connsiteY107" fmla="*/ 65230 h 412443"/>
                <a:gd name="connsiteX108" fmla="*/ 137652 w 324551"/>
                <a:gd name="connsiteY108" fmla="*/ 62975 h 412443"/>
                <a:gd name="connsiteX109" fmla="*/ 131639 w 324551"/>
                <a:gd name="connsiteY109" fmla="*/ 51801 h 412443"/>
                <a:gd name="connsiteX110" fmla="*/ 123722 w 324551"/>
                <a:gd name="connsiteY110" fmla="*/ 55409 h 412443"/>
                <a:gd name="connsiteX111" fmla="*/ 83534 w 324551"/>
                <a:gd name="connsiteY111" fmla="*/ 67335 h 412443"/>
                <a:gd name="connsiteX112" fmla="*/ 79575 w 324551"/>
                <a:gd name="connsiteY112" fmla="*/ 69339 h 412443"/>
                <a:gd name="connsiteX113" fmla="*/ 76418 w 324551"/>
                <a:gd name="connsiteY113" fmla="*/ 71294 h 412443"/>
                <a:gd name="connsiteX114" fmla="*/ 44849 w 324551"/>
                <a:gd name="connsiteY114" fmla="*/ 68287 h 412443"/>
                <a:gd name="connsiteX115" fmla="*/ 24554 w 324551"/>
                <a:gd name="connsiteY115" fmla="*/ 52101 h 412443"/>
                <a:gd name="connsiteX116" fmla="*/ 20896 w 324551"/>
                <a:gd name="connsiteY116" fmla="*/ 49145 h 412443"/>
                <a:gd name="connsiteX117" fmla="*/ 14181 w 324551"/>
                <a:gd name="connsiteY117" fmla="*/ 55359 h 412443"/>
                <a:gd name="connsiteX118" fmla="*/ 100 w 324551"/>
                <a:gd name="connsiteY118" fmla="*/ 51049 h 412443"/>
                <a:gd name="connsiteX119" fmla="*/ 0 w 324551"/>
                <a:gd name="connsiteY119" fmla="*/ 51450 h 412443"/>
                <a:gd name="connsiteX120" fmla="*/ 802 w 324551"/>
                <a:gd name="connsiteY120" fmla="*/ 54306 h 412443"/>
                <a:gd name="connsiteX121" fmla="*/ 2706 w 324551"/>
                <a:gd name="connsiteY121" fmla="*/ 60971 h 412443"/>
                <a:gd name="connsiteX122" fmla="*/ 6665 w 324551"/>
                <a:gd name="connsiteY122" fmla="*/ 116744 h 412443"/>
                <a:gd name="connsiteX123" fmla="*/ 19593 w 324551"/>
                <a:gd name="connsiteY123" fmla="*/ 139043 h 412443"/>
                <a:gd name="connsiteX124" fmla="*/ 23051 w 324551"/>
                <a:gd name="connsiteY124" fmla="*/ 142701 h 412443"/>
                <a:gd name="connsiteX125" fmla="*/ 24053 w 324551"/>
                <a:gd name="connsiteY125" fmla="*/ 144404 h 412443"/>
                <a:gd name="connsiteX126" fmla="*/ 24454 w 324551"/>
                <a:gd name="connsiteY126" fmla="*/ 145006 h 412443"/>
                <a:gd name="connsiteX127" fmla="*/ 24454 w 324551"/>
                <a:gd name="connsiteY127" fmla="*/ 145707 h 412443"/>
                <a:gd name="connsiteX128" fmla="*/ 24905 w 324551"/>
                <a:gd name="connsiteY128" fmla="*/ 149515 h 412443"/>
                <a:gd name="connsiteX129" fmla="*/ 25356 w 324551"/>
                <a:gd name="connsiteY129" fmla="*/ 159488 h 412443"/>
                <a:gd name="connsiteX130" fmla="*/ 37482 w 324551"/>
                <a:gd name="connsiteY130" fmla="*/ 224781 h 412443"/>
                <a:gd name="connsiteX131" fmla="*/ 45650 w 324551"/>
                <a:gd name="connsiteY131" fmla="*/ 262363 h 412443"/>
                <a:gd name="connsiteX132" fmla="*/ 50210 w 324551"/>
                <a:gd name="connsiteY132" fmla="*/ 346047 h 412443"/>
                <a:gd name="connsiteX133" fmla="*/ 50611 w 324551"/>
                <a:gd name="connsiteY133" fmla="*/ 345897 h 412443"/>
                <a:gd name="connsiteX134" fmla="*/ 69052 w 324551"/>
                <a:gd name="connsiteY134" fmla="*/ 339233 h 412443"/>
                <a:gd name="connsiteX135" fmla="*/ 69853 w 324551"/>
                <a:gd name="connsiteY135" fmla="*/ 338982 h 412443"/>
                <a:gd name="connsiteX136" fmla="*/ 69252 w 324551"/>
                <a:gd name="connsiteY136" fmla="*/ 337278 h 412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324551" h="412443">
                  <a:moveTo>
                    <a:pt x="69402" y="337428"/>
                  </a:moveTo>
                  <a:lnTo>
                    <a:pt x="69603" y="337529"/>
                  </a:lnTo>
                  <a:cubicBezTo>
                    <a:pt x="66045" y="324149"/>
                    <a:pt x="72159" y="311772"/>
                    <a:pt x="85137" y="306510"/>
                  </a:cubicBezTo>
                  <a:cubicBezTo>
                    <a:pt x="89096" y="304857"/>
                    <a:pt x="95460" y="306510"/>
                    <a:pt x="98416" y="309066"/>
                  </a:cubicBezTo>
                  <a:cubicBezTo>
                    <a:pt x="101022" y="311321"/>
                    <a:pt x="102676" y="314378"/>
                    <a:pt x="104580" y="317936"/>
                  </a:cubicBezTo>
                  <a:cubicBezTo>
                    <a:pt x="104880" y="318437"/>
                    <a:pt x="105131" y="318988"/>
                    <a:pt x="105432" y="319539"/>
                  </a:cubicBezTo>
                  <a:cubicBezTo>
                    <a:pt x="106534" y="317986"/>
                    <a:pt x="107386" y="316733"/>
                    <a:pt x="108188" y="315430"/>
                  </a:cubicBezTo>
                  <a:cubicBezTo>
                    <a:pt x="108188" y="315280"/>
                    <a:pt x="108188" y="315179"/>
                    <a:pt x="108188" y="315029"/>
                  </a:cubicBezTo>
                  <a:lnTo>
                    <a:pt x="108188" y="314378"/>
                  </a:lnTo>
                  <a:cubicBezTo>
                    <a:pt x="107987" y="312323"/>
                    <a:pt x="107636" y="310168"/>
                    <a:pt x="107236" y="307914"/>
                  </a:cubicBezTo>
                  <a:cubicBezTo>
                    <a:pt x="106083" y="301199"/>
                    <a:pt x="104830" y="293632"/>
                    <a:pt x="110192" y="287268"/>
                  </a:cubicBezTo>
                  <a:cubicBezTo>
                    <a:pt x="119162" y="276695"/>
                    <a:pt x="129284" y="266372"/>
                    <a:pt x="145269" y="265871"/>
                  </a:cubicBezTo>
                  <a:cubicBezTo>
                    <a:pt x="145520" y="265871"/>
                    <a:pt x="146271" y="265370"/>
                    <a:pt x="146823" y="265019"/>
                  </a:cubicBezTo>
                  <a:cubicBezTo>
                    <a:pt x="147223" y="264769"/>
                    <a:pt x="147574" y="264518"/>
                    <a:pt x="148025" y="264268"/>
                  </a:cubicBezTo>
                  <a:cubicBezTo>
                    <a:pt x="152635" y="253143"/>
                    <a:pt x="152234" y="242119"/>
                    <a:pt x="146772" y="230694"/>
                  </a:cubicBezTo>
                  <a:cubicBezTo>
                    <a:pt x="128482" y="245476"/>
                    <a:pt x="126378" y="244424"/>
                    <a:pt x="109440" y="224430"/>
                  </a:cubicBezTo>
                  <a:cubicBezTo>
                    <a:pt x="107636" y="222326"/>
                    <a:pt x="105833" y="220321"/>
                    <a:pt x="103978" y="218317"/>
                  </a:cubicBezTo>
                  <a:cubicBezTo>
                    <a:pt x="101072" y="215110"/>
                    <a:pt x="98015" y="211802"/>
                    <a:pt x="95309" y="208245"/>
                  </a:cubicBezTo>
                  <a:cubicBezTo>
                    <a:pt x="90950" y="202432"/>
                    <a:pt x="87643" y="196970"/>
                    <a:pt x="85287" y="191658"/>
                  </a:cubicBezTo>
                  <a:cubicBezTo>
                    <a:pt x="80427" y="180834"/>
                    <a:pt x="82381" y="177627"/>
                    <a:pt x="93806" y="167405"/>
                  </a:cubicBezTo>
                  <a:lnTo>
                    <a:pt x="94758" y="166553"/>
                  </a:lnTo>
                  <a:lnTo>
                    <a:pt x="96011" y="166753"/>
                  </a:lnTo>
                  <a:cubicBezTo>
                    <a:pt x="103928" y="168056"/>
                    <a:pt x="108388" y="173819"/>
                    <a:pt x="112297" y="178880"/>
                  </a:cubicBezTo>
                  <a:lnTo>
                    <a:pt x="113650" y="180634"/>
                  </a:lnTo>
                  <a:cubicBezTo>
                    <a:pt x="128081" y="198774"/>
                    <a:pt x="145570" y="203785"/>
                    <a:pt x="167117" y="195817"/>
                  </a:cubicBezTo>
                  <a:cubicBezTo>
                    <a:pt x="169172" y="195066"/>
                    <a:pt x="171377" y="194965"/>
                    <a:pt x="173331" y="194865"/>
                  </a:cubicBezTo>
                  <a:lnTo>
                    <a:pt x="174834" y="194765"/>
                  </a:lnTo>
                  <a:cubicBezTo>
                    <a:pt x="175987" y="194665"/>
                    <a:pt x="176839" y="195116"/>
                    <a:pt x="177841" y="195567"/>
                  </a:cubicBezTo>
                  <a:cubicBezTo>
                    <a:pt x="178292" y="195767"/>
                    <a:pt x="178793" y="196018"/>
                    <a:pt x="179544" y="196318"/>
                  </a:cubicBezTo>
                  <a:lnTo>
                    <a:pt x="180446" y="196669"/>
                  </a:lnTo>
                  <a:lnTo>
                    <a:pt x="180897" y="197571"/>
                  </a:lnTo>
                  <a:cubicBezTo>
                    <a:pt x="181098" y="197972"/>
                    <a:pt x="181449" y="198423"/>
                    <a:pt x="181749" y="198924"/>
                  </a:cubicBezTo>
                  <a:cubicBezTo>
                    <a:pt x="182952" y="200678"/>
                    <a:pt x="184555" y="203033"/>
                    <a:pt x="184656" y="205789"/>
                  </a:cubicBezTo>
                  <a:cubicBezTo>
                    <a:pt x="185257" y="221223"/>
                    <a:pt x="194377" y="231896"/>
                    <a:pt x="203247" y="240365"/>
                  </a:cubicBezTo>
                  <a:cubicBezTo>
                    <a:pt x="210863" y="247631"/>
                    <a:pt x="215373" y="256150"/>
                    <a:pt x="217027" y="266422"/>
                  </a:cubicBezTo>
                  <a:cubicBezTo>
                    <a:pt x="218330" y="274490"/>
                    <a:pt x="220033" y="282608"/>
                    <a:pt x="221487" y="289824"/>
                  </a:cubicBezTo>
                  <a:cubicBezTo>
                    <a:pt x="222138" y="292981"/>
                    <a:pt x="222789" y="296038"/>
                    <a:pt x="223341" y="298894"/>
                  </a:cubicBezTo>
                  <a:lnTo>
                    <a:pt x="223541" y="299946"/>
                  </a:lnTo>
                  <a:lnTo>
                    <a:pt x="222940" y="300848"/>
                  </a:lnTo>
                  <a:cubicBezTo>
                    <a:pt x="220384" y="304757"/>
                    <a:pt x="217879" y="308415"/>
                    <a:pt x="215423" y="311973"/>
                  </a:cubicBezTo>
                  <a:cubicBezTo>
                    <a:pt x="210262" y="319489"/>
                    <a:pt x="205401" y="326605"/>
                    <a:pt x="201392" y="333971"/>
                  </a:cubicBezTo>
                  <a:cubicBezTo>
                    <a:pt x="195229" y="345296"/>
                    <a:pt x="186510" y="348152"/>
                    <a:pt x="173231" y="343091"/>
                  </a:cubicBezTo>
                  <a:lnTo>
                    <a:pt x="171477" y="342439"/>
                  </a:lnTo>
                  <a:lnTo>
                    <a:pt x="171477" y="316532"/>
                  </a:lnTo>
                  <a:cubicBezTo>
                    <a:pt x="164962" y="319639"/>
                    <a:pt x="161054" y="325302"/>
                    <a:pt x="156895" y="331265"/>
                  </a:cubicBezTo>
                  <a:cubicBezTo>
                    <a:pt x="152134" y="338130"/>
                    <a:pt x="147223" y="345245"/>
                    <a:pt x="138103" y="347701"/>
                  </a:cubicBezTo>
                  <a:cubicBezTo>
                    <a:pt x="135247" y="350858"/>
                    <a:pt x="132591" y="354215"/>
                    <a:pt x="129785" y="357723"/>
                  </a:cubicBezTo>
                  <a:cubicBezTo>
                    <a:pt x="125175" y="363536"/>
                    <a:pt x="120415" y="369499"/>
                    <a:pt x="114552" y="374760"/>
                  </a:cubicBezTo>
                  <a:lnTo>
                    <a:pt x="122970" y="390695"/>
                  </a:lnTo>
                  <a:cubicBezTo>
                    <a:pt x="123421" y="391547"/>
                    <a:pt x="123672" y="392449"/>
                    <a:pt x="123772" y="393351"/>
                  </a:cubicBezTo>
                  <a:cubicBezTo>
                    <a:pt x="123772" y="393402"/>
                    <a:pt x="123772" y="393451"/>
                    <a:pt x="123822" y="393502"/>
                  </a:cubicBezTo>
                  <a:cubicBezTo>
                    <a:pt x="136500" y="386937"/>
                    <a:pt x="150030" y="381375"/>
                    <a:pt x="166115" y="381325"/>
                  </a:cubicBezTo>
                  <a:lnTo>
                    <a:pt x="167318" y="381325"/>
                  </a:lnTo>
                  <a:cubicBezTo>
                    <a:pt x="167318" y="381325"/>
                    <a:pt x="194778" y="412443"/>
                    <a:pt x="194778" y="412443"/>
                  </a:cubicBezTo>
                  <a:cubicBezTo>
                    <a:pt x="207656" y="411291"/>
                    <a:pt x="214571" y="403574"/>
                    <a:pt x="221837" y="395406"/>
                  </a:cubicBezTo>
                  <a:cubicBezTo>
                    <a:pt x="225295" y="391547"/>
                    <a:pt x="228853" y="387589"/>
                    <a:pt x="233012" y="384482"/>
                  </a:cubicBezTo>
                  <a:cubicBezTo>
                    <a:pt x="234215" y="380874"/>
                    <a:pt x="234114" y="377015"/>
                    <a:pt x="234014" y="372957"/>
                  </a:cubicBezTo>
                  <a:cubicBezTo>
                    <a:pt x="233864" y="366743"/>
                    <a:pt x="233713" y="360379"/>
                    <a:pt x="238023" y="354266"/>
                  </a:cubicBezTo>
                  <a:lnTo>
                    <a:pt x="238825" y="353113"/>
                  </a:lnTo>
                  <a:lnTo>
                    <a:pt x="240228" y="353113"/>
                  </a:lnTo>
                  <a:cubicBezTo>
                    <a:pt x="240979" y="353113"/>
                    <a:pt x="241681" y="353063"/>
                    <a:pt x="242433" y="353013"/>
                  </a:cubicBezTo>
                  <a:cubicBezTo>
                    <a:pt x="244287" y="352862"/>
                    <a:pt x="246241" y="352712"/>
                    <a:pt x="248145" y="353413"/>
                  </a:cubicBezTo>
                  <a:cubicBezTo>
                    <a:pt x="253206" y="355268"/>
                    <a:pt x="256113" y="355017"/>
                    <a:pt x="258217" y="352562"/>
                  </a:cubicBezTo>
                  <a:cubicBezTo>
                    <a:pt x="258819" y="351860"/>
                    <a:pt x="259470" y="351159"/>
                    <a:pt x="260122" y="350457"/>
                  </a:cubicBezTo>
                  <a:cubicBezTo>
                    <a:pt x="262777" y="347551"/>
                    <a:pt x="266385" y="343542"/>
                    <a:pt x="266185" y="341237"/>
                  </a:cubicBezTo>
                  <a:cubicBezTo>
                    <a:pt x="265533" y="334973"/>
                    <a:pt x="266035" y="328709"/>
                    <a:pt x="266536" y="322646"/>
                  </a:cubicBezTo>
                  <a:cubicBezTo>
                    <a:pt x="267237" y="313877"/>
                    <a:pt x="267889" y="305659"/>
                    <a:pt x="265383" y="297290"/>
                  </a:cubicBezTo>
                  <a:cubicBezTo>
                    <a:pt x="256814" y="269028"/>
                    <a:pt x="270895" y="247381"/>
                    <a:pt x="284124" y="231696"/>
                  </a:cubicBezTo>
                  <a:lnTo>
                    <a:pt x="285477" y="230143"/>
                  </a:lnTo>
                  <a:lnTo>
                    <a:pt x="287331" y="230995"/>
                  </a:lnTo>
                  <a:cubicBezTo>
                    <a:pt x="296702" y="235354"/>
                    <a:pt x="305120" y="239313"/>
                    <a:pt x="314190" y="243622"/>
                  </a:cubicBezTo>
                  <a:cubicBezTo>
                    <a:pt x="320554" y="231796"/>
                    <a:pt x="325866" y="218868"/>
                    <a:pt x="324262" y="204537"/>
                  </a:cubicBezTo>
                  <a:cubicBezTo>
                    <a:pt x="323761" y="200026"/>
                    <a:pt x="321406" y="195316"/>
                    <a:pt x="318800" y="190456"/>
                  </a:cubicBezTo>
                  <a:cubicBezTo>
                    <a:pt x="315493" y="184242"/>
                    <a:pt x="311785" y="178028"/>
                    <a:pt x="308277" y="172015"/>
                  </a:cubicBezTo>
                  <a:cubicBezTo>
                    <a:pt x="306674" y="169309"/>
                    <a:pt x="305120" y="166653"/>
                    <a:pt x="303517" y="163947"/>
                  </a:cubicBezTo>
                  <a:cubicBezTo>
                    <a:pt x="301262" y="159989"/>
                    <a:pt x="297003" y="152672"/>
                    <a:pt x="300811" y="145707"/>
                  </a:cubicBezTo>
                  <a:cubicBezTo>
                    <a:pt x="304720" y="138541"/>
                    <a:pt x="303667" y="131025"/>
                    <a:pt x="302515" y="123007"/>
                  </a:cubicBezTo>
                  <a:cubicBezTo>
                    <a:pt x="302114" y="120151"/>
                    <a:pt x="301663" y="117245"/>
                    <a:pt x="301462" y="114288"/>
                  </a:cubicBezTo>
                  <a:lnTo>
                    <a:pt x="301362" y="112735"/>
                  </a:lnTo>
                  <a:lnTo>
                    <a:pt x="304770" y="110530"/>
                  </a:lnTo>
                  <a:cubicBezTo>
                    <a:pt x="310532" y="106872"/>
                    <a:pt x="314040" y="104316"/>
                    <a:pt x="313539" y="98453"/>
                  </a:cubicBezTo>
                  <a:cubicBezTo>
                    <a:pt x="312837" y="90285"/>
                    <a:pt x="307275" y="85926"/>
                    <a:pt x="301362" y="82368"/>
                  </a:cubicBezTo>
                  <a:cubicBezTo>
                    <a:pt x="297905" y="80313"/>
                    <a:pt x="294247" y="78760"/>
                    <a:pt x="291090" y="77457"/>
                  </a:cubicBezTo>
                  <a:cubicBezTo>
                    <a:pt x="283774" y="74501"/>
                    <a:pt x="276407" y="71544"/>
                    <a:pt x="269041" y="68638"/>
                  </a:cubicBezTo>
                  <a:cubicBezTo>
                    <a:pt x="261775" y="65731"/>
                    <a:pt x="254509" y="62825"/>
                    <a:pt x="247293" y="59919"/>
                  </a:cubicBezTo>
                  <a:cubicBezTo>
                    <a:pt x="243836" y="58516"/>
                    <a:pt x="240428" y="56912"/>
                    <a:pt x="237271" y="55409"/>
                  </a:cubicBezTo>
                  <a:cubicBezTo>
                    <a:pt x="235918" y="54757"/>
                    <a:pt x="234666" y="54156"/>
                    <a:pt x="233413" y="53605"/>
                  </a:cubicBezTo>
                  <a:lnTo>
                    <a:pt x="232110" y="53004"/>
                  </a:lnTo>
                  <a:lnTo>
                    <a:pt x="231859" y="51600"/>
                  </a:lnTo>
                  <a:cubicBezTo>
                    <a:pt x="230456" y="43282"/>
                    <a:pt x="234565" y="38321"/>
                    <a:pt x="237823" y="34312"/>
                  </a:cubicBezTo>
                  <a:cubicBezTo>
                    <a:pt x="239025" y="32859"/>
                    <a:pt x="240128" y="31506"/>
                    <a:pt x="240929" y="30103"/>
                  </a:cubicBezTo>
                  <a:cubicBezTo>
                    <a:pt x="244888" y="23388"/>
                    <a:pt x="243435" y="17475"/>
                    <a:pt x="236520" y="12214"/>
                  </a:cubicBezTo>
                  <a:lnTo>
                    <a:pt x="222890" y="29903"/>
                  </a:lnTo>
                  <a:lnTo>
                    <a:pt x="215022" y="20282"/>
                  </a:lnTo>
                  <a:cubicBezTo>
                    <a:pt x="211866" y="16423"/>
                    <a:pt x="209059" y="12965"/>
                    <a:pt x="206253" y="9508"/>
                  </a:cubicBezTo>
                  <a:cubicBezTo>
                    <a:pt x="199288" y="839"/>
                    <a:pt x="191421" y="-1767"/>
                    <a:pt x="180948" y="1139"/>
                  </a:cubicBezTo>
                  <a:cubicBezTo>
                    <a:pt x="180948" y="3394"/>
                    <a:pt x="180847" y="5650"/>
                    <a:pt x="180797" y="7854"/>
                  </a:cubicBezTo>
                  <a:cubicBezTo>
                    <a:pt x="180597" y="14619"/>
                    <a:pt x="180446" y="21033"/>
                    <a:pt x="180547" y="27548"/>
                  </a:cubicBezTo>
                  <a:cubicBezTo>
                    <a:pt x="180647" y="33410"/>
                    <a:pt x="180847" y="39273"/>
                    <a:pt x="181098" y="45136"/>
                  </a:cubicBezTo>
                  <a:cubicBezTo>
                    <a:pt x="181348" y="51851"/>
                    <a:pt x="181599" y="58616"/>
                    <a:pt x="181649" y="65381"/>
                  </a:cubicBezTo>
                  <a:cubicBezTo>
                    <a:pt x="181649" y="68237"/>
                    <a:pt x="180797" y="70843"/>
                    <a:pt x="179945" y="73348"/>
                  </a:cubicBezTo>
                  <a:cubicBezTo>
                    <a:pt x="179595" y="74350"/>
                    <a:pt x="179294" y="75302"/>
                    <a:pt x="178993" y="76305"/>
                  </a:cubicBezTo>
                  <a:lnTo>
                    <a:pt x="178392" y="78610"/>
                  </a:lnTo>
                  <a:lnTo>
                    <a:pt x="176037" y="78259"/>
                  </a:lnTo>
                  <a:cubicBezTo>
                    <a:pt x="162006" y="76254"/>
                    <a:pt x="160052" y="66283"/>
                    <a:pt x="158598" y="59067"/>
                  </a:cubicBezTo>
                  <a:cubicBezTo>
                    <a:pt x="158498" y="58616"/>
                    <a:pt x="157596" y="57664"/>
                    <a:pt x="156945" y="56962"/>
                  </a:cubicBezTo>
                  <a:lnTo>
                    <a:pt x="156694" y="56662"/>
                  </a:lnTo>
                  <a:lnTo>
                    <a:pt x="138855" y="65230"/>
                  </a:lnTo>
                  <a:lnTo>
                    <a:pt x="137652" y="62975"/>
                  </a:lnTo>
                  <a:cubicBezTo>
                    <a:pt x="135498" y="59017"/>
                    <a:pt x="133694" y="55609"/>
                    <a:pt x="131639" y="51801"/>
                  </a:cubicBezTo>
                  <a:cubicBezTo>
                    <a:pt x="128983" y="53004"/>
                    <a:pt x="126328" y="54206"/>
                    <a:pt x="123722" y="55409"/>
                  </a:cubicBezTo>
                  <a:cubicBezTo>
                    <a:pt x="111194" y="61221"/>
                    <a:pt x="98266" y="67235"/>
                    <a:pt x="83534" y="67335"/>
                  </a:cubicBezTo>
                  <a:cubicBezTo>
                    <a:pt x="82531" y="67335"/>
                    <a:pt x="81028" y="68387"/>
                    <a:pt x="79575" y="69339"/>
                  </a:cubicBezTo>
                  <a:cubicBezTo>
                    <a:pt x="78523" y="70041"/>
                    <a:pt x="77470" y="70742"/>
                    <a:pt x="76418" y="71294"/>
                  </a:cubicBezTo>
                  <a:cubicBezTo>
                    <a:pt x="65243" y="76906"/>
                    <a:pt x="54620" y="75904"/>
                    <a:pt x="44849" y="68287"/>
                  </a:cubicBezTo>
                  <a:cubicBezTo>
                    <a:pt x="38034" y="62975"/>
                    <a:pt x="31319" y="57564"/>
                    <a:pt x="24554" y="52101"/>
                  </a:cubicBezTo>
                  <a:lnTo>
                    <a:pt x="20896" y="49145"/>
                  </a:lnTo>
                  <a:lnTo>
                    <a:pt x="14181" y="55359"/>
                  </a:lnTo>
                  <a:lnTo>
                    <a:pt x="100" y="51049"/>
                  </a:lnTo>
                  <a:cubicBezTo>
                    <a:pt x="100" y="51049"/>
                    <a:pt x="0" y="51350"/>
                    <a:pt x="0" y="51450"/>
                  </a:cubicBezTo>
                  <a:cubicBezTo>
                    <a:pt x="150" y="52202"/>
                    <a:pt x="501" y="53254"/>
                    <a:pt x="802" y="54306"/>
                  </a:cubicBezTo>
                  <a:lnTo>
                    <a:pt x="2706" y="60971"/>
                  </a:lnTo>
                  <a:cubicBezTo>
                    <a:pt x="7817" y="78560"/>
                    <a:pt x="13129" y="96750"/>
                    <a:pt x="6665" y="116744"/>
                  </a:cubicBezTo>
                  <a:cubicBezTo>
                    <a:pt x="3407" y="126816"/>
                    <a:pt x="8368" y="135334"/>
                    <a:pt x="19593" y="139043"/>
                  </a:cubicBezTo>
                  <a:cubicBezTo>
                    <a:pt x="21347" y="139594"/>
                    <a:pt x="22199" y="141197"/>
                    <a:pt x="23051" y="142701"/>
                  </a:cubicBezTo>
                  <a:cubicBezTo>
                    <a:pt x="23351" y="143252"/>
                    <a:pt x="23652" y="143853"/>
                    <a:pt x="24053" y="144404"/>
                  </a:cubicBezTo>
                  <a:lnTo>
                    <a:pt x="24454" y="145006"/>
                  </a:lnTo>
                  <a:lnTo>
                    <a:pt x="24454" y="145707"/>
                  </a:lnTo>
                  <a:cubicBezTo>
                    <a:pt x="24604" y="146910"/>
                    <a:pt x="24754" y="148213"/>
                    <a:pt x="24905" y="149515"/>
                  </a:cubicBezTo>
                  <a:cubicBezTo>
                    <a:pt x="25255" y="152572"/>
                    <a:pt x="25656" y="156080"/>
                    <a:pt x="25356" y="159488"/>
                  </a:cubicBezTo>
                  <a:cubicBezTo>
                    <a:pt x="23552" y="179932"/>
                    <a:pt x="27410" y="200678"/>
                    <a:pt x="37482" y="224781"/>
                  </a:cubicBezTo>
                  <a:cubicBezTo>
                    <a:pt x="42343" y="236507"/>
                    <a:pt x="45049" y="248834"/>
                    <a:pt x="45650" y="262363"/>
                  </a:cubicBezTo>
                  <a:cubicBezTo>
                    <a:pt x="46853" y="289373"/>
                    <a:pt x="48406" y="315530"/>
                    <a:pt x="50210" y="346047"/>
                  </a:cubicBezTo>
                  <a:cubicBezTo>
                    <a:pt x="50361" y="345997"/>
                    <a:pt x="50461" y="345947"/>
                    <a:pt x="50611" y="345897"/>
                  </a:cubicBezTo>
                  <a:lnTo>
                    <a:pt x="69052" y="339233"/>
                  </a:lnTo>
                  <a:cubicBezTo>
                    <a:pt x="69302" y="339132"/>
                    <a:pt x="69553" y="339082"/>
                    <a:pt x="69853" y="338982"/>
                  </a:cubicBezTo>
                  <a:lnTo>
                    <a:pt x="69252" y="337278"/>
                  </a:lnTo>
                  <a:close/>
                </a:path>
              </a:pathLst>
            </a:custGeom>
            <a:solidFill>
              <a:srgbClr val="00B05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70" name="Полилиния: фигура 169">
              <a:extLst>
                <a:ext uri="{FF2B5EF4-FFF2-40B4-BE49-F238E27FC236}">
                  <a16:creationId xmlns:a16="http://schemas.microsoft.com/office/drawing/2014/main" id="{EE1E6FC0-D8BC-4107-AAB0-2FFB77CC8ACC}"/>
                </a:ext>
              </a:extLst>
            </p:cNvPr>
            <p:cNvSpPr/>
            <p:nvPr/>
          </p:nvSpPr>
          <p:spPr>
            <a:xfrm>
              <a:off x="11584711" y="6036771"/>
              <a:ext cx="43374" cy="152481"/>
            </a:xfrm>
            <a:custGeom>
              <a:avLst/>
              <a:gdLst>
                <a:gd name="connsiteX0" fmla="*/ 30597 w 34779"/>
                <a:gd name="connsiteY0" fmla="*/ 501 h 122266"/>
                <a:gd name="connsiteX1" fmla="*/ 30597 w 34779"/>
                <a:gd name="connsiteY1" fmla="*/ 501 h 122266"/>
                <a:gd name="connsiteX2" fmla="*/ 25736 w 34779"/>
                <a:gd name="connsiteY2" fmla="*/ 0 h 122266"/>
                <a:gd name="connsiteX3" fmla="*/ 6143 w 34779"/>
                <a:gd name="connsiteY3" fmla="*/ 6414 h 122266"/>
                <a:gd name="connsiteX4" fmla="*/ 3688 w 34779"/>
                <a:gd name="connsiteY4" fmla="*/ 24855 h 122266"/>
                <a:gd name="connsiteX5" fmla="*/ 3838 w 34779"/>
                <a:gd name="connsiteY5" fmla="*/ 25406 h 122266"/>
                <a:gd name="connsiteX6" fmla="*/ 7847 w 34779"/>
                <a:gd name="connsiteY6" fmla="*/ 56925 h 122266"/>
                <a:gd name="connsiteX7" fmla="*/ 5242 w 34779"/>
                <a:gd name="connsiteY7" fmla="*/ 68901 h 122266"/>
                <a:gd name="connsiteX8" fmla="*/ 2786 w 34779"/>
                <a:gd name="connsiteY8" fmla="*/ 83233 h 122266"/>
                <a:gd name="connsiteX9" fmla="*/ 2786 w 34779"/>
                <a:gd name="connsiteY9" fmla="*/ 85438 h 122266"/>
                <a:gd name="connsiteX10" fmla="*/ 1383 w 34779"/>
                <a:gd name="connsiteY10" fmla="*/ 99419 h 122266"/>
                <a:gd name="connsiteX11" fmla="*/ 30 w 34779"/>
                <a:gd name="connsiteY11" fmla="*/ 111645 h 122266"/>
                <a:gd name="connsiteX12" fmla="*/ 1232 w 34779"/>
                <a:gd name="connsiteY12" fmla="*/ 122018 h 122266"/>
                <a:gd name="connsiteX13" fmla="*/ 2285 w 34779"/>
                <a:gd name="connsiteY13" fmla="*/ 122219 h 122266"/>
                <a:gd name="connsiteX14" fmla="*/ 12959 w 34779"/>
                <a:gd name="connsiteY14" fmla="*/ 106033 h 122266"/>
                <a:gd name="connsiteX15" fmla="*/ 15213 w 34779"/>
                <a:gd name="connsiteY15" fmla="*/ 89998 h 122266"/>
                <a:gd name="connsiteX16" fmla="*/ 15965 w 34779"/>
                <a:gd name="connsiteY16" fmla="*/ 81379 h 122266"/>
                <a:gd name="connsiteX17" fmla="*/ 16817 w 34779"/>
                <a:gd name="connsiteY17" fmla="*/ 69002 h 122266"/>
                <a:gd name="connsiteX18" fmla="*/ 18019 w 34779"/>
                <a:gd name="connsiteY18" fmla="*/ 54069 h 122266"/>
                <a:gd name="connsiteX19" fmla="*/ 30347 w 34779"/>
                <a:gd name="connsiteY19" fmla="*/ 17839 h 122266"/>
                <a:gd name="connsiteX20" fmla="*/ 31399 w 34779"/>
                <a:gd name="connsiteY20" fmla="*/ 15534 h 122266"/>
                <a:gd name="connsiteX21" fmla="*/ 34355 w 34779"/>
                <a:gd name="connsiteY21" fmla="*/ 2856 h 122266"/>
                <a:gd name="connsiteX22" fmla="*/ 30597 w 34779"/>
                <a:gd name="connsiteY22" fmla="*/ 601 h 122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779" h="122266">
                  <a:moveTo>
                    <a:pt x="30597" y="501"/>
                  </a:moveTo>
                  <a:lnTo>
                    <a:pt x="30597" y="501"/>
                  </a:lnTo>
                  <a:cubicBezTo>
                    <a:pt x="29094" y="150"/>
                    <a:pt x="27440" y="0"/>
                    <a:pt x="25736" y="0"/>
                  </a:cubicBezTo>
                  <a:cubicBezTo>
                    <a:pt x="18921" y="0"/>
                    <a:pt x="10954" y="2506"/>
                    <a:pt x="6143" y="6414"/>
                  </a:cubicBezTo>
                  <a:cubicBezTo>
                    <a:pt x="782" y="10824"/>
                    <a:pt x="1733" y="16837"/>
                    <a:pt x="3688" y="24855"/>
                  </a:cubicBezTo>
                  <a:lnTo>
                    <a:pt x="3838" y="25406"/>
                  </a:lnTo>
                  <a:cubicBezTo>
                    <a:pt x="6294" y="35478"/>
                    <a:pt x="8849" y="45901"/>
                    <a:pt x="7847" y="56925"/>
                  </a:cubicBezTo>
                  <a:cubicBezTo>
                    <a:pt x="7446" y="61134"/>
                    <a:pt x="6344" y="65043"/>
                    <a:pt x="5242" y="68901"/>
                  </a:cubicBezTo>
                  <a:cubicBezTo>
                    <a:pt x="3838" y="73762"/>
                    <a:pt x="2535" y="78372"/>
                    <a:pt x="2786" y="83233"/>
                  </a:cubicBezTo>
                  <a:cubicBezTo>
                    <a:pt x="2786" y="83934"/>
                    <a:pt x="2786" y="84686"/>
                    <a:pt x="2786" y="85438"/>
                  </a:cubicBezTo>
                  <a:cubicBezTo>
                    <a:pt x="2786" y="90399"/>
                    <a:pt x="2034" y="94959"/>
                    <a:pt x="1383" y="99419"/>
                  </a:cubicBezTo>
                  <a:cubicBezTo>
                    <a:pt x="782" y="103427"/>
                    <a:pt x="130" y="107536"/>
                    <a:pt x="30" y="111645"/>
                  </a:cubicBezTo>
                  <a:cubicBezTo>
                    <a:pt x="-220" y="120465"/>
                    <a:pt x="1182" y="121968"/>
                    <a:pt x="1232" y="122018"/>
                  </a:cubicBezTo>
                  <a:cubicBezTo>
                    <a:pt x="1584" y="122269"/>
                    <a:pt x="1834" y="122319"/>
                    <a:pt x="2285" y="122219"/>
                  </a:cubicBezTo>
                  <a:cubicBezTo>
                    <a:pt x="6043" y="121016"/>
                    <a:pt x="11706" y="110242"/>
                    <a:pt x="12959" y="106033"/>
                  </a:cubicBezTo>
                  <a:cubicBezTo>
                    <a:pt x="14462" y="100872"/>
                    <a:pt x="14813" y="95610"/>
                    <a:pt x="15213" y="89998"/>
                  </a:cubicBezTo>
                  <a:cubicBezTo>
                    <a:pt x="15414" y="87091"/>
                    <a:pt x="15614" y="84235"/>
                    <a:pt x="15965" y="81379"/>
                  </a:cubicBezTo>
                  <a:cubicBezTo>
                    <a:pt x="16466" y="77320"/>
                    <a:pt x="16667" y="73111"/>
                    <a:pt x="16817" y="69002"/>
                  </a:cubicBezTo>
                  <a:cubicBezTo>
                    <a:pt x="17017" y="64091"/>
                    <a:pt x="17268" y="59080"/>
                    <a:pt x="18019" y="54069"/>
                  </a:cubicBezTo>
                  <a:cubicBezTo>
                    <a:pt x="20024" y="41090"/>
                    <a:pt x="25235" y="29264"/>
                    <a:pt x="30347" y="17839"/>
                  </a:cubicBezTo>
                  <a:lnTo>
                    <a:pt x="31399" y="15534"/>
                  </a:lnTo>
                  <a:cubicBezTo>
                    <a:pt x="33203" y="11425"/>
                    <a:pt x="35809" y="5662"/>
                    <a:pt x="34355" y="2856"/>
                  </a:cubicBezTo>
                  <a:cubicBezTo>
                    <a:pt x="34155" y="2455"/>
                    <a:pt x="33554" y="1253"/>
                    <a:pt x="30597" y="60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71" name="Полилиния: фигура 170">
              <a:extLst>
                <a:ext uri="{FF2B5EF4-FFF2-40B4-BE49-F238E27FC236}">
                  <a16:creationId xmlns:a16="http://schemas.microsoft.com/office/drawing/2014/main" id="{DA158AB3-4A6D-45EA-A67D-0732F63AC537}"/>
                </a:ext>
              </a:extLst>
            </p:cNvPr>
            <p:cNvSpPr/>
            <p:nvPr/>
          </p:nvSpPr>
          <p:spPr>
            <a:xfrm>
              <a:off x="11643860" y="5728063"/>
              <a:ext cx="88057" cy="256734"/>
            </a:xfrm>
            <a:custGeom>
              <a:avLst/>
              <a:gdLst>
                <a:gd name="connsiteX0" fmla="*/ 62543 w 70608"/>
                <a:gd name="connsiteY0" fmla="*/ 142 h 205861"/>
                <a:gd name="connsiteX1" fmla="*/ 53323 w 70608"/>
                <a:gd name="connsiteY1" fmla="*/ 8110 h 205861"/>
                <a:gd name="connsiteX2" fmla="*/ 51970 w 70608"/>
                <a:gd name="connsiteY2" fmla="*/ 16328 h 205861"/>
                <a:gd name="connsiteX3" fmla="*/ 47861 w 70608"/>
                <a:gd name="connsiteY3" fmla="*/ 31762 h 205861"/>
                <a:gd name="connsiteX4" fmla="*/ 24911 w 70608"/>
                <a:gd name="connsiteY4" fmla="*/ 47196 h 205861"/>
                <a:gd name="connsiteX5" fmla="*/ 21653 w 70608"/>
                <a:gd name="connsiteY5" fmla="*/ 48348 h 205861"/>
                <a:gd name="connsiteX6" fmla="*/ 9878 w 70608"/>
                <a:gd name="connsiteY6" fmla="*/ 55965 h 205861"/>
                <a:gd name="connsiteX7" fmla="*/ 12583 w 70608"/>
                <a:gd name="connsiteY7" fmla="*/ 65937 h 205861"/>
                <a:gd name="connsiteX8" fmla="*/ 15339 w 70608"/>
                <a:gd name="connsiteY8" fmla="*/ 73604 h 205861"/>
                <a:gd name="connsiteX9" fmla="*/ 7522 w 70608"/>
                <a:gd name="connsiteY9" fmla="*/ 101164 h 205861"/>
                <a:gd name="connsiteX10" fmla="*/ 5 w 70608"/>
                <a:gd name="connsiteY10" fmla="*/ 120457 h 205861"/>
                <a:gd name="connsiteX11" fmla="*/ 2561 w 70608"/>
                <a:gd name="connsiteY11" fmla="*/ 133536 h 205861"/>
                <a:gd name="connsiteX12" fmla="*/ 5016 w 70608"/>
                <a:gd name="connsiteY12" fmla="*/ 143507 h 205861"/>
                <a:gd name="connsiteX13" fmla="*/ 5718 w 70608"/>
                <a:gd name="connsiteY13" fmla="*/ 168112 h 205861"/>
                <a:gd name="connsiteX14" fmla="*/ 5518 w 70608"/>
                <a:gd name="connsiteY14" fmla="*/ 178985 h 205861"/>
                <a:gd name="connsiteX15" fmla="*/ 14638 w 70608"/>
                <a:gd name="connsiteY15" fmla="*/ 204592 h 205861"/>
                <a:gd name="connsiteX16" fmla="*/ 19098 w 70608"/>
                <a:gd name="connsiteY16" fmla="*/ 205644 h 205861"/>
                <a:gd name="connsiteX17" fmla="*/ 27165 w 70608"/>
                <a:gd name="connsiteY17" fmla="*/ 185199 h 205861"/>
                <a:gd name="connsiteX18" fmla="*/ 27266 w 70608"/>
                <a:gd name="connsiteY18" fmla="*/ 184598 h 205861"/>
                <a:gd name="connsiteX19" fmla="*/ 24559 w 70608"/>
                <a:gd name="connsiteY19" fmla="*/ 153529 h 205861"/>
                <a:gd name="connsiteX20" fmla="*/ 22555 w 70608"/>
                <a:gd name="connsiteY20" fmla="*/ 144610 h 205861"/>
                <a:gd name="connsiteX21" fmla="*/ 22204 w 70608"/>
                <a:gd name="connsiteY21" fmla="*/ 118753 h 205861"/>
                <a:gd name="connsiteX22" fmla="*/ 33930 w 70608"/>
                <a:gd name="connsiteY22" fmla="*/ 100112 h 205861"/>
                <a:gd name="connsiteX23" fmla="*/ 35033 w 70608"/>
                <a:gd name="connsiteY23" fmla="*/ 98809 h 205861"/>
                <a:gd name="connsiteX24" fmla="*/ 45155 w 70608"/>
                <a:gd name="connsiteY24" fmla="*/ 80319 h 205861"/>
                <a:gd name="connsiteX25" fmla="*/ 45405 w 70608"/>
                <a:gd name="connsiteY25" fmla="*/ 69345 h 205861"/>
                <a:gd name="connsiteX26" fmla="*/ 45405 w 70608"/>
                <a:gd name="connsiteY26" fmla="*/ 59172 h 205861"/>
                <a:gd name="connsiteX27" fmla="*/ 58434 w 70608"/>
                <a:gd name="connsiteY27" fmla="*/ 35119 h 205861"/>
                <a:gd name="connsiteX28" fmla="*/ 70460 w 70608"/>
                <a:gd name="connsiteY28" fmla="*/ 13873 h 205861"/>
                <a:gd name="connsiteX29" fmla="*/ 62493 w 70608"/>
                <a:gd name="connsiteY29" fmla="*/ 142 h 205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70608" h="205861">
                  <a:moveTo>
                    <a:pt x="62543" y="142"/>
                  </a:moveTo>
                  <a:cubicBezTo>
                    <a:pt x="58334" y="-709"/>
                    <a:pt x="54876" y="2297"/>
                    <a:pt x="53323" y="8110"/>
                  </a:cubicBezTo>
                  <a:cubicBezTo>
                    <a:pt x="52621" y="10716"/>
                    <a:pt x="52321" y="13472"/>
                    <a:pt x="51970" y="16328"/>
                  </a:cubicBezTo>
                  <a:cubicBezTo>
                    <a:pt x="51368" y="21489"/>
                    <a:pt x="50717" y="26851"/>
                    <a:pt x="47861" y="31762"/>
                  </a:cubicBezTo>
                  <a:cubicBezTo>
                    <a:pt x="42800" y="40381"/>
                    <a:pt x="33279" y="43989"/>
                    <a:pt x="24911" y="47196"/>
                  </a:cubicBezTo>
                  <a:cubicBezTo>
                    <a:pt x="23808" y="47647"/>
                    <a:pt x="22756" y="47947"/>
                    <a:pt x="21653" y="48348"/>
                  </a:cubicBezTo>
                  <a:cubicBezTo>
                    <a:pt x="16993" y="49902"/>
                    <a:pt x="10579" y="52056"/>
                    <a:pt x="9878" y="55965"/>
                  </a:cubicBezTo>
                  <a:cubicBezTo>
                    <a:pt x="9377" y="58771"/>
                    <a:pt x="10980" y="62379"/>
                    <a:pt x="12583" y="65937"/>
                  </a:cubicBezTo>
                  <a:cubicBezTo>
                    <a:pt x="13736" y="68493"/>
                    <a:pt x="14889" y="71098"/>
                    <a:pt x="15339" y="73604"/>
                  </a:cubicBezTo>
                  <a:cubicBezTo>
                    <a:pt x="17444" y="84728"/>
                    <a:pt x="12383" y="93097"/>
                    <a:pt x="7522" y="101164"/>
                  </a:cubicBezTo>
                  <a:cubicBezTo>
                    <a:pt x="3714" y="107478"/>
                    <a:pt x="156" y="113441"/>
                    <a:pt x="5" y="120457"/>
                  </a:cubicBezTo>
                  <a:cubicBezTo>
                    <a:pt x="-94" y="124716"/>
                    <a:pt x="1209" y="129026"/>
                    <a:pt x="2561" y="133536"/>
                  </a:cubicBezTo>
                  <a:cubicBezTo>
                    <a:pt x="3513" y="136743"/>
                    <a:pt x="4515" y="140100"/>
                    <a:pt x="5016" y="143507"/>
                  </a:cubicBezTo>
                  <a:cubicBezTo>
                    <a:pt x="6169" y="151525"/>
                    <a:pt x="5969" y="159994"/>
                    <a:pt x="5718" y="168112"/>
                  </a:cubicBezTo>
                  <a:cubicBezTo>
                    <a:pt x="5618" y="171770"/>
                    <a:pt x="5518" y="175428"/>
                    <a:pt x="5518" y="178985"/>
                  </a:cubicBezTo>
                  <a:cubicBezTo>
                    <a:pt x="5618" y="188106"/>
                    <a:pt x="6721" y="199230"/>
                    <a:pt x="14638" y="204592"/>
                  </a:cubicBezTo>
                  <a:cubicBezTo>
                    <a:pt x="17294" y="206396"/>
                    <a:pt x="18647" y="205794"/>
                    <a:pt x="19098" y="205644"/>
                  </a:cubicBezTo>
                  <a:cubicBezTo>
                    <a:pt x="23958" y="203589"/>
                    <a:pt x="26413" y="189709"/>
                    <a:pt x="27165" y="185199"/>
                  </a:cubicBezTo>
                  <a:lnTo>
                    <a:pt x="27266" y="184598"/>
                  </a:lnTo>
                  <a:cubicBezTo>
                    <a:pt x="29220" y="173473"/>
                    <a:pt x="27065" y="164253"/>
                    <a:pt x="24559" y="153529"/>
                  </a:cubicBezTo>
                  <a:cubicBezTo>
                    <a:pt x="23858" y="150623"/>
                    <a:pt x="23206" y="147667"/>
                    <a:pt x="22555" y="144610"/>
                  </a:cubicBezTo>
                  <a:cubicBezTo>
                    <a:pt x="21052" y="137294"/>
                    <a:pt x="19699" y="127723"/>
                    <a:pt x="22204" y="118753"/>
                  </a:cubicBezTo>
                  <a:cubicBezTo>
                    <a:pt x="24359" y="111186"/>
                    <a:pt x="29220" y="105574"/>
                    <a:pt x="33930" y="100112"/>
                  </a:cubicBezTo>
                  <a:lnTo>
                    <a:pt x="35033" y="98809"/>
                  </a:lnTo>
                  <a:cubicBezTo>
                    <a:pt x="39542" y="93598"/>
                    <a:pt x="43902" y="87735"/>
                    <a:pt x="45155" y="80319"/>
                  </a:cubicBezTo>
                  <a:cubicBezTo>
                    <a:pt x="45756" y="76761"/>
                    <a:pt x="45606" y="73153"/>
                    <a:pt x="45405" y="69345"/>
                  </a:cubicBezTo>
                  <a:cubicBezTo>
                    <a:pt x="45255" y="66037"/>
                    <a:pt x="45055" y="62630"/>
                    <a:pt x="45405" y="59172"/>
                  </a:cubicBezTo>
                  <a:cubicBezTo>
                    <a:pt x="46458" y="49401"/>
                    <a:pt x="52571" y="42135"/>
                    <a:pt x="58434" y="35119"/>
                  </a:cubicBezTo>
                  <a:cubicBezTo>
                    <a:pt x="64046" y="28455"/>
                    <a:pt x="69358" y="22141"/>
                    <a:pt x="70460" y="13873"/>
                  </a:cubicBezTo>
                  <a:cubicBezTo>
                    <a:pt x="71462" y="6456"/>
                    <a:pt x="67203" y="1095"/>
                    <a:pt x="62493" y="14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72" name="Полилиния: фигура 171">
              <a:extLst>
                <a:ext uri="{FF2B5EF4-FFF2-40B4-BE49-F238E27FC236}">
                  <a16:creationId xmlns:a16="http://schemas.microsoft.com/office/drawing/2014/main" id="{29AAC0E0-45FB-424C-AB77-26B16578A733}"/>
                </a:ext>
              </a:extLst>
            </p:cNvPr>
            <p:cNvSpPr/>
            <p:nvPr/>
          </p:nvSpPr>
          <p:spPr>
            <a:xfrm>
              <a:off x="11755195" y="5525679"/>
              <a:ext cx="39277" cy="129936"/>
            </a:xfrm>
            <a:custGeom>
              <a:avLst/>
              <a:gdLst>
                <a:gd name="connsiteX0" fmla="*/ 26136 w 31494"/>
                <a:gd name="connsiteY0" fmla="*/ 17 h 104189"/>
                <a:gd name="connsiteX1" fmla="*/ 24332 w 31494"/>
                <a:gd name="connsiteY1" fmla="*/ 1069 h 104189"/>
                <a:gd name="connsiteX2" fmla="*/ 20273 w 31494"/>
                <a:gd name="connsiteY2" fmla="*/ 14448 h 104189"/>
                <a:gd name="connsiteX3" fmla="*/ 18870 w 31494"/>
                <a:gd name="connsiteY3" fmla="*/ 22065 h 104189"/>
                <a:gd name="connsiteX4" fmla="*/ 17016 w 31494"/>
                <a:gd name="connsiteY4" fmla="*/ 27778 h 104189"/>
                <a:gd name="connsiteX5" fmla="*/ 13959 w 31494"/>
                <a:gd name="connsiteY5" fmla="*/ 40706 h 104189"/>
                <a:gd name="connsiteX6" fmla="*/ 14210 w 31494"/>
                <a:gd name="connsiteY6" fmla="*/ 47972 h 104189"/>
                <a:gd name="connsiteX7" fmla="*/ 12807 w 31494"/>
                <a:gd name="connsiteY7" fmla="*/ 64358 h 104189"/>
                <a:gd name="connsiteX8" fmla="*/ 6894 w 31494"/>
                <a:gd name="connsiteY8" fmla="*/ 75031 h 104189"/>
                <a:gd name="connsiteX9" fmla="*/ 580 w 31494"/>
                <a:gd name="connsiteY9" fmla="*/ 87509 h 104189"/>
                <a:gd name="connsiteX10" fmla="*/ 4489 w 31494"/>
                <a:gd name="connsiteY10" fmla="*/ 103995 h 104189"/>
                <a:gd name="connsiteX11" fmla="*/ 5240 w 31494"/>
                <a:gd name="connsiteY11" fmla="*/ 104145 h 104189"/>
                <a:gd name="connsiteX12" fmla="*/ 15362 w 31494"/>
                <a:gd name="connsiteY12" fmla="*/ 91367 h 104189"/>
                <a:gd name="connsiteX13" fmla="*/ 17016 w 31494"/>
                <a:gd name="connsiteY13" fmla="*/ 82548 h 104189"/>
                <a:gd name="connsiteX14" fmla="*/ 17768 w 31494"/>
                <a:gd name="connsiteY14" fmla="*/ 77888 h 104189"/>
                <a:gd name="connsiteX15" fmla="*/ 19120 w 31494"/>
                <a:gd name="connsiteY15" fmla="*/ 62704 h 104189"/>
                <a:gd name="connsiteX16" fmla="*/ 22979 w 31494"/>
                <a:gd name="connsiteY16" fmla="*/ 47421 h 104189"/>
                <a:gd name="connsiteX17" fmla="*/ 24332 w 31494"/>
                <a:gd name="connsiteY17" fmla="*/ 43813 h 104189"/>
                <a:gd name="connsiteX18" fmla="*/ 24933 w 31494"/>
                <a:gd name="connsiteY18" fmla="*/ 42109 h 104189"/>
                <a:gd name="connsiteX19" fmla="*/ 30696 w 31494"/>
                <a:gd name="connsiteY19" fmla="*/ 7433 h 104189"/>
                <a:gd name="connsiteX20" fmla="*/ 26086 w 31494"/>
                <a:gd name="connsiteY20" fmla="*/ 17 h 104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494" h="104189">
                  <a:moveTo>
                    <a:pt x="26136" y="17"/>
                  </a:moveTo>
                  <a:cubicBezTo>
                    <a:pt x="25635" y="-84"/>
                    <a:pt x="25034" y="267"/>
                    <a:pt x="24332" y="1069"/>
                  </a:cubicBezTo>
                  <a:cubicBezTo>
                    <a:pt x="21776" y="3975"/>
                    <a:pt x="20974" y="9537"/>
                    <a:pt x="20273" y="14448"/>
                  </a:cubicBezTo>
                  <a:cubicBezTo>
                    <a:pt x="19872" y="17204"/>
                    <a:pt x="19522" y="19760"/>
                    <a:pt x="18870" y="22065"/>
                  </a:cubicBezTo>
                  <a:cubicBezTo>
                    <a:pt x="18319" y="24019"/>
                    <a:pt x="17668" y="25873"/>
                    <a:pt x="17016" y="27778"/>
                  </a:cubicBezTo>
                  <a:cubicBezTo>
                    <a:pt x="15513" y="32087"/>
                    <a:pt x="14109" y="36196"/>
                    <a:pt x="13959" y="40706"/>
                  </a:cubicBezTo>
                  <a:cubicBezTo>
                    <a:pt x="13859" y="43061"/>
                    <a:pt x="14010" y="45416"/>
                    <a:pt x="14210" y="47972"/>
                  </a:cubicBezTo>
                  <a:cubicBezTo>
                    <a:pt x="14561" y="53334"/>
                    <a:pt x="14961" y="58896"/>
                    <a:pt x="12807" y="64358"/>
                  </a:cubicBezTo>
                  <a:cubicBezTo>
                    <a:pt x="11303" y="68267"/>
                    <a:pt x="9049" y="71724"/>
                    <a:pt x="6894" y="75031"/>
                  </a:cubicBezTo>
                  <a:cubicBezTo>
                    <a:pt x="4238" y="79090"/>
                    <a:pt x="1782" y="82949"/>
                    <a:pt x="580" y="87509"/>
                  </a:cubicBezTo>
                  <a:cubicBezTo>
                    <a:pt x="-673" y="92370"/>
                    <a:pt x="-122" y="102642"/>
                    <a:pt x="4489" y="103995"/>
                  </a:cubicBezTo>
                  <a:cubicBezTo>
                    <a:pt x="4789" y="104095"/>
                    <a:pt x="4990" y="104145"/>
                    <a:pt x="5240" y="104145"/>
                  </a:cubicBezTo>
                  <a:cubicBezTo>
                    <a:pt x="9700" y="104847"/>
                    <a:pt x="13859" y="96980"/>
                    <a:pt x="15362" y="91367"/>
                  </a:cubicBezTo>
                  <a:cubicBezTo>
                    <a:pt x="16114" y="88561"/>
                    <a:pt x="16565" y="85505"/>
                    <a:pt x="17016" y="82548"/>
                  </a:cubicBezTo>
                  <a:cubicBezTo>
                    <a:pt x="17266" y="80995"/>
                    <a:pt x="17517" y="79441"/>
                    <a:pt x="17768" y="77888"/>
                  </a:cubicBezTo>
                  <a:cubicBezTo>
                    <a:pt x="18820" y="71874"/>
                    <a:pt x="19171" y="67916"/>
                    <a:pt x="19120" y="62704"/>
                  </a:cubicBezTo>
                  <a:cubicBezTo>
                    <a:pt x="19071" y="57443"/>
                    <a:pt x="21125" y="52131"/>
                    <a:pt x="22979" y="47421"/>
                  </a:cubicBezTo>
                  <a:cubicBezTo>
                    <a:pt x="23480" y="46168"/>
                    <a:pt x="23931" y="44965"/>
                    <a:pt x="24332" y="43813"/>
                  </a:cubicBezTo>
                  <a:lnTo>
                    <a:pt x="24933" y="42109"/>
                  </a:lnTo>
                  <a:cubicBezTo>
                    <a:pt x="29043" y="30684"/>
                    <a:pt x="33302" y="18908"/>
                    <a:pt x="30696" y="7433"/>
                  </a:cubicBezTo>
                  <a:cubicBezTo>
                    <a:pt x="29944" y="4125"/>
                    <a:pt x="27639" y="417"/>
                    <a:pt x="26086" y="1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73" name="Полилиния: фигура 172">
              <a:extLst>
                <a:ext uri="{FF2B5EF4-FFF2-40B4-BE49-F238E27FC236}">
                  <a16:creationId xmlns:a16="http://schemas.microsoft.com/office/drawing/2014/main" id="{5A20AD9A-7D72-48D7-9FAE-70EB7C8AEA37}"/>
                </a:ext>
              </a:extLst>
            </p:cNvPr>
            <p:cNvSpPr/>
            <p:nvPr/>
          </p:nvSpPr>
          <p:spPr>
            <a:xfrm>
              <a:off x="11822924" y="5282226"/>
              <a:ext cx="20873" cy="59883"/>
            </a:xfrm>
            <a:custGeom>
              <a:avLst/>
              <a:gdLst>
                <a:gd name="connsiteX0" fmla="*/ 9961 w 16737"/>
                <a:gd name="connsiteY0" fmla="*/ 0 h 48017"/>
                <a:gd name="connsiteX1" fmla="*/ 9260 w 16737"/>
                <a:gd name="connsiteY1" fmla="*/ 0 h 48017"/>
                <a:gd name="connsiteX2" fmla="*/ 7105 w 16737"/>
                <a:gd name="connsiteY2" fmla="*/ 702 h 48017"/>
                <a:gd name="connsiteX3" fmla="*/ 3949 w 16737"/>
                <a:gd name="connsiteY3" fmla="*/ 9621 h 48017"/>
                <a:gd name="connsiteX4" fmla="*/ 3448 w 16737"/>
                <a:gd name="connsiteY4" fmla="*/ 13630 h 48017"/>
                <a:gd name="connsiteX5" fmla="*/ 691 w 16737"/>
                <a:gd name="connsiteY5" fmla="*/ 32120 h 48017"/>
                <a:gd name="connsiteX6" fmla="*/ 2094 w 16737"/>
                <a:gd name="connsiteY6" fmla="*/ 46652 h 48017"/>
                <a:gd name="connsiteX7" fmla="*/ 3798 w 16737"/>
                <a:gd name="connsiteY7" fmla="*/ 48006 h 48017"/>
                <a:gd name="connsiteX8" fmla="*/ 10363 w 16737"/>
                <a:gd name="connsiteY8" fmla="*/ 36630 h 48017"/>
                <a:gd name="connsiteX9" fmla="*/ 12417 w 16737"/>
                <a:gd name="connsiteY9" fmla="*/ 30968 h 48017"/>
                <a:gd name="connsiteX10" fmla="*/ 14321 w 16737"/>
                <a:gd name="connsiteY10" fmla="*/ 25707 h 48017"/>
                <a:gd name="connsiteX11" fmla="*/ 14922 w 16737"/>
                <a:gd name="connsiteY11" fmla="*/ 2856 h 48017"/>
                <a:gd name="connsiteX12" fmla="*/ 10012 w 16737"/>
                <a:gd name="connsiteY12" fmla="*/ 50 h 4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737" h="48017">
                  <a:moveTo>
                    <a:pt x="9961" y="0"/>
                  </a:moveTo>
                  <a:cubicBezTo>
                    <a:pt x="9961" y="0"/>
                    <a:pt x="9511" y="0"/>
                    <a:pt x="9260" y="0"/>
                  </a:cubicBezTo>
                  <a:cubicBezTo>
                    <a:pt x="8107" y="0"/>
                    <a:pt x="7506" y="401"/>
                    <a:pt x="7105" y="702"/>
                  </a:cubicBezTo>
                  <a:cubicBezTo>
                    <a:pt x="4750" y="2556"/>
                    <a:pt x="4149" y="7867"/>
                    <a:pt x="3949" y="9621"/>
                  </a:cubicBezTo>
                  <a:lnTo>
                    <a:pt x="3448" y="13630"/>
                  </a:lnTo>
                  <a:cubicBezTo>
                    <a:pt x="2696" y="19944"/>
                    <a:pt x="1994" y="25907"/>
                    <a:pt x="691" y="32120"/>
                  </a:cubicBezTo>
                  <a:cubicBezTo>
                    <a:pt x="90" y="35077"/>
                    <a:pt x="-1012" y="42443"/>
                    <a:pt x="2094" y="46652"/>
                  </a:cubicBezTo>
                  <a:cubicBezTo>
                    <a:pt x="2746" y="47554"/>
                    <a:pt x="3448" y="48106"/>
                    <a:pt x="3798" y="48006"/>
                  </a:cubicBezTo>
                  <a:cubicBezTo>
                    <a:pt x="5602" y="47655"/>
                    <a:pt x="8759" y="42142"/>
                    <a:pt x="10363" y="36630"/>
                  </a:cubicBezTo>
                  <a:cubicBezTo>
                    <a:pt x="10914" y="34676"/>
                    <a:pt x="11666" y="32822"/>
                    <a:pt x="12417" y="30968"/>
                  </a:cubicBezTo>
                  <a:cubicBezTo>
                    <a:pt x="13118" y="29164"/>
                    <a:pt x="13820" y="27460"/>
                    <a:pt x="14321" y="25707"/>
                  </a:cubicBezTo>
                  <a:cubicBezTo>
                    <a:pt x="18129" y="11726"/>
                    <a:pt x="16727" y="5562"/>
                    <a:pt x="14922" y="2856"/>
                  </a:cubicBezTo>
                  <a:cubicBezTo>
                    <a:pt x="13870" y="1253"/>
                    <a:pt x="12217" y="351"/>
                    <a:pt x="10012" y="5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74" name="Полилиния: фигура 173">
              <a:extLst>
                <a:ext uri="{FF2B5EF4-FFF2-40B4-BE49-F238E27FC236}">
                  <a16:creationId xmlns:a16="http://schemas.microsoft.com/office/drawing/2014/main" id="{58BBCBDF-4D45-405E-BE3D-8CD1AF97727A}"/>
                </a:ext>
              </a:extLst>
            </p:cNvPr>
            <p:cNvSpPr/>
            <p:nvPr/>
          </p:nvSpPr>
          <p:spPr>
            <a:xfrm>
              <a:off x="11786102" y="5432085"/>
              <a:ext cx="1874" cy="6623"/>
            </a:xfrm>
            <a:custGeom>
              <a:avLst/>
              <a:gdLst>
                <a:gd name="connsiteX0" fmla="*/ 1504 w 1503"/>
                <a:gd name="connsiteY0" fmla="*/ 2706 h 5311"/>
                <a:gd name="connsiteX1" fmla="*/ 651 w 1503"/>
                <a:gd name="connsiteY1" fmla="*/ 0 h 5311"/>
                <a:gd name="connsiteX2" fmla="*/ 0 w 1503"/>
                <a:gd name="connsiteY2" fmla="*/ 2706 h 5311"/>
                <a:gd name="connsiteX3" fmla="*/ 702 w 1503"/>
                <a:gd name="connsiteY3" fmla="*/ 5312 h 5311"/>
                <a:gd name="connsiteX4" fmla="*/ 1504 w 1503"/>
                <a:gd name="connsiteY4" fmla="*/ 2756 h 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3" h="5311">
                  <a:moveTo>
                    <a:pt x="1504" y="2706"/>
                  </a:moveTo>
                  <a:cubicBezTo>
                    <a:pt x="1504" y="1103"/>
                    <a:pt x="902" y="100"/>
                    <a:pt x="651" y="0"/>
                  </a:cubicBezTo>
                  <a:cubicBezTo>
                    <a:pt x="702" y="150"/>
                    <a:pt x="50" y="1103"/>
                    <a:pt x="0" y="2706"/>
                  </a:cubicBezTo>
                  <a:cubicBezTo>
                    <a:pt x="0" y="4009"/>
                    <a:pt x="401" y="4961"/>
                    <a:pt x="702" y="5312"/>
                  </a:cubicBezTo>
                  <a:cubicBezTo>
                    <a:pt x="1003" y="4961"/>
                    <a:pt x="1453" y="4059"/>
                    <a:pt x="1504" y="275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75" name="Полилиния: фигура 174">
              <a:extLst>
                <a:ext uri="{FF2B5EF4-FFF2-40B4-BE49-F238E27FC236}">
                  <a16:creationId xmlns:a16="http://schemas.microsoft.com/office/drawing/2014/main" id="{322A1A31-3881-46C7-9E08-D2191CFF4D38}"/>
                </a:ext>
              </a:extLst>
            </p:cNvPr>
            <p:cNvSpPr/>
            <p:nvPr/>
          </p:nvSpPr>
          <p:spPr>
            <a:xfrm>
              <a:off x="11821598" y="5227732"/>
              <a:ext cx="9749" cy="13393"/>
            </a:xfrm>
            <a:custGeom>
              <a:avLst/>
              <a:gdLst>
                <a:gd name="connsiteX0" fmla="*/ 3808 w 7817"/>
                <a:gd name="connsiteY0" fmla="*/ 10724 h 10739"/>
                <a:gd name="connsiteX1" fmla="*/ 3808 w 7817"/>
                <a:gd name="connsiteY1" fmla="*/ 10724 h 10739"/>
                <a:gd name="connsiteX2" fmla="*/ 6414 w 7817"/>
                <a:gd name="connsiteY2" fmla="*/ 9421 h 10739"/>
                <a:gd name="connsiteX3" fmla="*/ 7817 w 7817"/>
                <a:gd name="connsiteY3" fmla="*/ 5462 h 10739"/>
                <a:gd name="connsiteX4" fmla="*/ 4009 w 7817"/>
                <a:gd name="connsiteY4" fmla="*/ 0 h 10739"/>
                <a:gd name="connsiteX5" fmla="*/ 3959 w 7817"/>
                <a:gd name="connsiteY5" fmla="*/ 0 h 10739"/>
                <a:gd name="connsiteX6" fmla="*/ 1403 w 7817"/>
                <a:gd name="connsiteY6" fmla="*/ 1353 h 10739"/>
                <a:gd name="connsiteX7" fmla="*/ 0 w 7817"/>
                <a:gd name="connsiteY7" fmla="*/ 5312 h 10739"/>
                <a:gd name="connsiteX8" fmla="*/ 1253 w 7817"/>
                <a:gd name="connsiteY8" fmla="*/ 9321 h 10739"/>
                <a:gd name="connsiteX9" fmla="*/ 3808 w 7817"/>
                <a:gd name="connsiteY9" fmla="*/ 10724 h 10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17" h="10739">
                  <a:moveTo>
                    <a:pt x="3808" y="10724"/>
                  </a:moveTo>
                  <a:lnTo>
                    <a:pt x="3808" y="10724"/>
                  </a:lnTo>
                  <a:cubicBezTo>
                    <a:pt x="5161" y="10874"/>
                    <a:pt x="6013" y="9922"/>
                    <a:pt x="6414" y="9421"/>
                  </a:cubicBezTo>
                  <a:cubicBezTo>
                    <a:pt x="7266" y="8419"/>
                    <a:pt x="7767" y="6965"/>
                    <a:pt x="7817" y="5462"/>
                  </a:cubicBezTo>
                  <a:cubicBezTo>
                    <a:pt x="7867" y="2556"/>
                    <a:pt x="6113" y="50"/>
                    <a:pt x="4009" y="0"/>
                  </a:cubicBezTo>
                  <a:lnTo>
                    <a:pt x="3959" y="0"/>
                  </a:lnTo>
                  <a:cubicBezTo>
                    <a:pt x="2706" y="0"/>
                    <a:pt x="1804" y="852"/>
                    <a:pt x="1403" y="1353"/>
                  </a:cubicBezTo>
                  <a:cubicBezTo>
                    <a:pt x="551" y="2355"/>
                    <a:pt x="0" y="3808"/>
                    <a:pt x="0" y="5312"/>
                  </a:cubicBezTo>
                  <a:cubicBezTo>
                    <a:pt x="0" y="6815"/>
                    <a:pt x="451" y="8268"/>
                    <a:pt x="1253" y="9321"/>
                  </a:cubicBezTo>
                  <a:cubicBezTo>
                    <a:pt x="1653" y="9822"/>
                    <a:pt x="2556" y="10724"/>
                    <a:pt x="3808" y="1072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76" name="Полилиния: фигура 175">
              <a:extLst>
                <a:ext uri="{FF2B5EF4-FFF2-40B4-BE49-F238E27FC236}">
                  <a16:creationId xmlns:a16="http://schemas.microsoft.com/office/drawing/2014/main" id="{84BCB67F-E83B-40DB-BEE0-D2FFD55D66E6}"/>
                </a:ext>
              </a:extLst>
            </p:cNvPr>
            <p:cNvSpPr/>
            <p:nvPr/>
          </p:nvSpPr>
          <p:spPr>
            <a:xfrm>
              <a:off x="11820658" y="5143487"/>
              <a:ext cx="15939" cy="15876"/>
            </a:xfrm>
            <a:custGeom>
              <a:avLst/>
              <a:gdLst>
                <a:gd name="connsiteX0" fmla="*/ 6266 w 12781"/>
                <a:gd name="connsiteY0" fmla="*/ 12731 h 12730"/>
                <a:gd name="connsiteX1" fmla="*/ 12781 w 12781"/>
                <a:gd name="connsiteY1" fmla="*/ 6467 h 12730"/>
                <a:gd name="connsiteX2" fmla="*/ 6517 w 12781"/>
                <a:gd name="connsiteY2" fmla="*/ 3 h 12730"/>
                <a:gd name="connsiteX3" fmla="*/ 1957 w 12781"/>
                <a:gd name="connsiteY3" fmla="*/ 1756 h 12730"/>
                <a:gd name="connsiteX4" fmla="*/ 3 w 12781"/>
                <a:gd name="connsiteY4" fmla="*/ 6216 h 12730"/>
                <a:gd name="connsiteX5" fmla="*/ 1807 w 12781"/>
                <a:gd name="connsiteY5" fmla="*/ 10776 h 12730"/>
                <a:gd name="connsiteX6" fmla="*/ 6266 w 12781"/>
                <a:gd name="connsiteY6" fmla="*/ 12731 h 12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81" h="12730">
                  <a:moveTo>
                    <a:pt x="6266" y="12731"/>
                  </a:moveTo>
                  <a:cubicBezTo>
                    <a:pt x="9975" y="12731"/>
                    <a:pt x="12681" y="9975"/>
                    <a:pt x="12781" y="6467"/>
                  </a:cubicBezTo>
                  <a:cubicBezTo>
                    <a:pt x="12831" y="2959"/>
                    <a:pt x="10025" y="53"/>
                    <a:pt x="6517" y="3"/>
                  </a:cubicBezTo>
                  <a:cubicBezTo>
                    <a:pt x="4813" y="-47"/>
                    <a:pt x="3210" y="604"/>
                    <a:pt x="1957" y="1756"/>
                  </a:cubicBezTo>
                  <a:cubicBezTo>
                    <a:pt x="754" y="2909"/>
                    <a:pt x="53" y="4513"/>
                    <a:pt x="3" y="6216"/>
                  </a:cubicBezTo>
                  <a:cubicBezTo>
                    <a:pt x="-47" y="7920"/>
                    <a:pt x="604" y="9524"/>
                    <a:pt x="1807" y="10776"/>
                  </a:cubicBezTo>
                  <a:cubicBezTo>
                    <a:pt x="3009" y="12029"/>
                    <a:pt x="4563" y="12681"/>
                    <a:pt x="6266" y="1273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77" name="Полилиния: фигура 176">
              <a:extLst>
                <a:ext uri="{FF2B5EF4-FFF2-40B4-BE49-F238E27FC236}">
                  <a16:creationId xmlns:a16="http://schemas.microsoft.com/office/drawing/2014/main" id="{06E655E2-4E8A-41E2-9304-54B03D1F19B5}"/>
                </a:ext>
              </a:extLst>
            </p:cNvPr>
            <p:cNvSpPr/>
            <p:nvPr/>
          </p:nvSpPr>
          <p:spPr>
            <a:xfrm>
              <a:off x="11796789" y="5086247"/>
              <a:ext cx="13435" cy="11623"/>
            </a:xfrm>
            <a:custGeom>
              <a:avLst/>
              <a:gdLst>
                <a:gd name="connsiteX0" fmla="*/ 5462 w 10773"/>
                <a:gd name="connsiteY0" fmla="*/ 0 h 9320"/>
                <a:gd name="connsiteX1" fmla="*/ 5362 w 10773"/>
                <a:gd name="connsiteY1" fmla="*/ 0 h 9320"/>
                <a:gd name="connsiteX2" fmla="*/ 0 w 10773"/>
                <a:gd name="connsiteY2" fmla="*/ 4560 h 9320"/>
                <a:gd name="connsiteX3" fmla="*/ 5311 w 10773"/>
                <a:gd name="connsiteY3" fmla="*/ 9320 h 9320"/>
                <a:gd name="connsiteX4" fmla="*/ 9220 w 10773"/>
                <a:gd name="connsiteY4" fmla="*/ 7917 h 9320"/>
                <a:gd name="connsiteX5" fmla="*/ 10774 w 10773"/>
                <a:gd name="connsiteY5" fmla="*/ 4760 h 9320"/>
                <a:gd name="connsiteX6" fmla="*/ 5462 w 10773"/>
                <a:gd name="connsiteY6" fmla="*/ 0 h 9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" h="9320">
                  <a:moveTo>
                    <a:pt x="5462" y="0"/>
                  </a:moveTo>
                  <a:cubicBezTo>
                    <a:pt x="5462" y="0"/>
                    <a:pt x="5362" y="0"/>
                    <a:pt x="5362" y="0"/>
                  </a:cubicBezTo>
                  <a:cubicBezTo>
                    <a:pt x="2455" y="0"/>
                    <a:pt x="50" y="2004"/>
                    <a:pt x="0" y="4560"/>
                  </a:cubicBezTo>
                  <a:cubicBezTo>
                    <a:pt x="0" y="7116"/>
                    <a:pt x="2355" y="9270"/>
                    <a:pt x="5311" y="9320"/>
                  </a:cubicBezTo>
                  <a:cubicBezTo>
                    <a:pt x="6865" y="9220"/>
                    <a:pt x="8218" y="8869"/>
                    <a:pt x="9220" y="7917"/>
                  </a:cubicBezTo>
                  <a:cubicBezTo>
                    <a:pt x="10172" y="7065"/>
                    <a:pt x="10774" y="5913"/>
                    <a:pt x="10774" y="4760"/>
                  </a:cubicBezTo>
                  <a:cubicBezTo>
                    <a:pt x="10774" y="2205"/>
                    <a:pt x="8418" y="50"/>
                    <a:pt x="5462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78" name="Полилиния: фигура 177">
              <a:extLst>
                <a:ext uri="{FF2B5EF4-FFF2-40B4-BE49-F238E27FC236}">
                  <a16:creationId xmlns:a16="http://schemas.microsoft.com/office/drawing/2014/main" id="{376D49ED-FDAE-40B0-A2DB-3B68545E94E1}"/>
                </a:ext>
              </a:extLst>
            </p:cNvPr>
            <p:cNvSpPr/>
            <p:nvPr/>
          </p:nvSpPr>
          <p:spPr>
            <a:xfrm>
              <a:off x="11790094" y="4926388"/>
              <a:ext cx="4765" cy="24309"/>
            </a:xfrm>
            <a:custGeom>
              <a:avLst/>
              <a:gdLst>
                <a:gd name="connsiteX0" fmla="*/ 3815 w 3821"/>
                <a:gd name="connsiteY0" fmla="*/ 9822 h 19492"/>
                <a:gd name="connsiteX1" fmla="*/ 2112 w 3821"/>
                <a:gd name="connsiteY1" fmla="*/ 0 h 19492"/>
                <a:gd name="connsiteX2" fmla="*/ 7 w 3821"/>
                <a:gd name="connsiteY2" fmla="*/ 9721 h 19492"/>
                <a:gd name="connsiteX3" fmla="*/ 1711 w 3821"/>
                <a:gd name="connsiteY3" fmla="*/ 19493 h 19492"/>
                <a:gd name="connsiteX4" fmla="*/ 3765 w 3821"/>
                <a:gd name="connsiteY4" fmla="*/ 9772 h 19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21" h="19492">
                  <a:moveTo>
                    <a:pt x="3815" y="9822"/>
                  </a:moveTo>
                  <a:cubicBezTo>
                    <a:pt x="3915" y="4761"/>
                    <a:pt x="2863" y="1303"/>
                    <a:pt x="2112" y="0"/>
                  </a:cubicBezTo>
                  <a:cubicBezTo>
                    <a:pt x="1259" y="1253"/>
                    <a:pt x="107" y="4660"/>
                    <a:pt x="7" y="9721"/>
                  </a:cubicBezTo>
                  <a:cubicBezTo>
                    <a:pt x="-94" y="14783"/>
                    <a:pt x="959" y="18190"/>
                    <a:pt x="1711" y="19493"/>
                  </a:cubicBezTo>
                  <a:cubicBezTo>
                    <a:pt x="2562" y="18240"/>
                    <a:pt x="3715" y="14833"/>
                    <a:pt x="3765" y="977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79" name="Полилиния: фигура 178">
              <a:extLst>
                <a:ext uri="{FF2B5EF4-FFF2-40B4-BE49-F238E27FC236}">
                  <a16:creationId xmlns:a16="http://schemas.microsoft.com/office/drawing/2014/main" id="{578F150E-C5A9-4966-8452-3647B02CA929}"/>
                </a:ext>
              </a:extLst>
            </p:cNvPr>
            <p:cNvSpPr/>
            <p:nvPr/>
          </p:nvSpPr>
          <p:spPr>
            <a:xfrm>
              <a:off x="11761355" y="4930826"/>
              <a:ext cx="1063" cy="3874"/>
            </a:xfrm>
            <a:custGeom>
              <a:avLst/>
              <a:gdLst>
                <a:gd name="connsiteX0" fmla="*/ 0 w 852"/>
                <a:gd name="connsiteY0" fmla="*/ 1553 h 3106"/>
                <a:gd name="connsiteX1" fmla="*/ 501 w 852"/>
                <a:gd name="connsiteY1" fmla="*/ 3107 h 3106"/>
                <a:gd name="connsiteX2" fmla="*/ 852 w 852"/>
                <a:gd name="connsiteY2" fmla="*/ 1553 h 3106"/>
                <a:gd name="connsiteX3" fmla="*/ 351 w 852"/>
                <a:gd name="connsiteY3" fmla="*/ 0 h 3106"/>
                <a:gd name="connsiteX4" fmla="*/ 0 w 852"/>
                <a:gd name="connsiteY4" fmla="*/ 1553 h 3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2" h="3106">
                  <a:moveTo>
                    <a:pt x="0" y="1553"/>
                  </a:moveTo>
                  <a:cubicBezTo>
                    <a:pt x="0" y="2506"/>
                    <a:pt x="401" y="3057"/>
                    <a:pt x="501" y="3107"/>
                  </a:cubicBezTo>
                  <a:cubicBezTo>
                    <a:pt x="401" y="3057"/>
                    <a:pt x="802" y="2506"/>
                    <a:pt x="852" y="1553"/>
                  </a:cubicBezTo>
                  <a:cubicBezTo>
                    <a:pt x="852" y="601"/>
                    <a:pt x="451" y="50"/>
                    <a:pt x="351" y="0"/>
                  </a:cubicBezTo>
                  <a:cubicBezTo>
                    <a:pt x="451" y="100"/>
                    <a:pt x="0" y="601"/>
                    <a:pt x="0" y="155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80" name="Полилиния: фигура 179">
              <a:extLst>
                <a:ext uri="{FF2B5EF4-FFF2-40B4-BE49-F238E27FC236}">
                  <a16:creationId xmlns:a16="http://schemas.microsoft.com/office/drawing/2014/main" id="{E5E386B6-9E55-4DFB-BC6A-378B4550324A}"/>
                </a:ext>
              </a:extLst>
            </p:cNvPr>
            <p:cNvSpPr/>
            <p:nvPr/>
          </p:nvSpPr>
          <p:spPr>
            <a:xfrm>
              <a:off x="11774854" y="4870707"/>
              <a:ext cx="6061" cy="7937"/>
            </a:xfrm>
            <a:custGeom>
              <a:avLst/>
              <a:gdLst>
                <a:gd name="connsiteX0" fmla="*/ 2355 w 4860"/>
                <a:gd name="connsiteY0" fmla="*/ 6364 h 6364"/>
                <a:gd name="connsiteX1" fmla="*/ 4861 w 4860"/>
                <a:gd name="connsiteY1" fmla="*/ 3257 h 6364"/>
                <a:gd name="connsiteX2" fmla="*/ 3958 w 4860"/>
                <a:gd name="connsiteY2" fmla="*/ 702 h 6364"/>
                <a:gd name="connsiteX3" fmla="*/ 2506 w 4860"/>
                <a:gd name="connsiteY3" fmla="*/ 0 h 6364"/>
                <a:gd name="connsiteX4" fmla="*/ 2506 w 4860"/>
                <a:gd name="connsiteY4" fmla="*/ 0 h 6364"/>
                <a:gd name="connsiteX5" fmla="*/ 902 w 4860"/>
                <a:gd name="connsiteY5" fmla="*/ 752 h 6364"/>
                <a:gd name="connsiteX6" fmla="*/ 0 w 4860"/>
                <a:gd name="connsiteY6" fmla="*/ 3107 h 6364"/>
                <a:gd name="connsiteX7" fmla="*/ 802 w 4860"/>
                <a:gd name="connsiteY7" fmla="*/ 5462 h 6364"/>
                <a:gd name="connsiteX8" fmla="*/ 2405 w 4860"/>
                <a:gd name="connsiteY8" fmla="*/ 6314 h 6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60" h="6364">
                  <a:moveTo>
                    <a:pt x="2355" y="6364"/>
                  </a:moveTo>
                  <a:cubicBezTo>
                    <a:pt x="3909" y="6364"/>
                    <a:pt x="4810" y="4961"/>
                    <a:pt x="4861" y="3257"/>
                  </a:cubicBezTo>
                  <a:cubicBezTo>
                    <a:pt x="4861" y="2255"/>
                    <a:pt x="4560" y="1353"/>
                    <a:pt x="3958" y="702"/>
                  </a:cubicBezTo>
                  <a:cubicBezTo>
                    <a:pt x="3658" y="401"/>
                    <a:pt x="3157" y="50"/>
                    <a:pt x="2506" y="0"/>
                  </a:cubicBezTo>
                  <a:lnTo>
                    <a:pt x="2506" y="0"/>
                  </a:lnTo>
                  <a:cubicBezTo>
                    <a:pt x="1754" y="0"/>
                    <a:pt x="1203" y="401"/>
                    <a:pt x="902" y="752"/>
                  </a:cubicBezTo>
                  <a:cubicBezTo>
                    <a:pt x="351" y="1353"/>
                    <a:pt x="50" y="2205"/>
                    <a:pt x="0" y="3107"/>
                  </a:cubicBezTo>
                  <a:cubicBezTo>
                    <a:pt x="0" y="4009"/>
                    <a:pt x="250" y="4861"/>
                    <a:pt x="802" y="5462"/>
                  </a:cubicBezTo>
                  <a:cubicBezTo>
                    <a:pt x="1052" y="5763"/>
                    <a:pt x="1603" y="6314"/>
                    <a:pt x="2405" y="631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81" name="Полилиния: фигура 180">
              <a:extLst>
                <a:ext uri="{FF2B5EF4-FFF2-40B4-BE49-F238E27FC236}">
                  <a16:creationId xmlns:a16="http://schemas.microsoft.com/office/drawing/2014/main" id="{ECFFA63A-9321-4640-9BAE-218ABEAB9A2B}"/>
                </a:ext>
              </a:extLst>
            </p:cNvPr>
            <p:cNvSpPr/>
            <p:nvPr/>
          </p:nvSpPr>
          <p:spPr>
            <a:xfrm>
              <a:off x="11752414" y="4799465"/>
              <a:ext cx="19932" cy="40080"/>
            </a:xfrm>
            <a:custGeom>
              <a:avLst/>
              <a:gdLst>
                <a:gd name="connsiteX0" fmla="*/ 2107 w 15982"/>
                <a:gd name="connsiteY0" fmla="*/ 13129 h 32138"/>
                <a:gd name="connsiteX1" fmla="*/ 2809 w 15982"/>
                <a:gd name="connsiteY1" fmla="*/ 20445 h 32138"/>
                <a:gd name="connsiteX2" fmla="*/ 6968 w 15982"/>
                <a:gd name="connsiteY2" fmla="*/ 31269 h 32138"/>
                <a:gd name="connsiteX3" fmla="*/ 10827 w 15982"/>
                <a:gd name="connsiteY3" fmla="*/ 31870 h 32138"/>
                <a:gd name="connsiteX4" fmla="*/ 15286 w 15982"/>
                <a:gd name="connsiteY4" fmla="*/ 25155 h 32138"/>
                <a:gd name="connsiteX5" fmla="*/ 15286 w 15982"/>
                <a:gd name="connsiteY5" fmla="*/ 10623 h 32138"/>
                <a:gd name="connsiteX6" fmla="*/ 12982 w 15982"/>
                <a:gd name="connsiteY6" fmla="*/ 6514 h 32138"/>
                <a:gd name="connsiteX7" fmla="*/ 10776 w 15982"/>
                <a:gd name="connsiteY7" fmla="*/ 6264 h 32138"/>
                <a:gd name="connsiteX8" fmla="*/ 4814 w 15982"/>
                <a:gd name="connsiteY8" fmla="*/ 4360 h 32138"/>
                <a:gd name="connsiteX9" fmla="*/ 2859 w 15982"/>
                <a:gd name="connsiteY9" fmla="*/ 2105 h 32138"/>
                <a:gd name="connsiteX10" fmla="*/ 1055 w 15982"/>
                <a:gd name="connsiteY10" fmla="*/ 0 h 32138"/>
                <a:gd name="connsiteX11" fmla="*/ 3 w 15982"/>
                <a:gd name="connsiteY11" fmla="*/ 4961 h 32138"/>
                <a:gd name="connsiteX12" fmla="*/ 1105 w 15982"/>
                <a:gd name="connsiteY12" fmla="*/ 9671 h 32138"/>
                <a:gd name="connsiteX13" fmla="*/ 2208 w 15982"/>
                <a:gd name="connsiteY13" fmla="*/ 13129 h 3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982" h="32138">
                  <a:moveTo>
                    <a:pt x="2107" y="13129"/>
                  </a:moveTo>
                  <a:cubicBezTo>
                    <a:pt x="2709" y="15634"/>
                    <a:pt x="2759" y="18040"/>
                    <a:pt x="2809" y="20445"/>
                  </a:cubicBezTo>
                  <a:cubicBezTo>
                    <a:pt x="2909" y="25757"/>
                    <a:pt x="3160" y="28863"/>
                    <a:pt x="6968" y="31269"/>
                  </a:cubicBezTo>
                  <a:cubicBezTo>
                    <a:pt x="8371" y="32171"/>
                    <a:pt x="9674" y="32371"/>
                    <a:pt x="10827" y="31870"/>
                  </a:cubicBezTo>
                  <a:cubicBezTo>
                    <a:pt x="12781" y="31068"/>
                    <a:pt x="14535" y="28362"/>
                    <a:pt x="15286" y="25155"/>
                  </a:cubicBezTo>
                  <a:cubicBezTo>
                    <a:pt x="16239" y="21046"/>
                    <a:pt x="16189" y="15083"/>
                    <a:pt x="15286" y="10623"/>
                  </a:cubicBezTo>
                  <a:cubicBezTo>
                    <a:pt x="14735" y="8017"/>
                    <a:pt x="14134" y="6965"/>
                    <a:pt x="12982" y="6514"/>
                  </a:cubicBezTo>
                  <a:cubicBezTo>
                    <a:pt x="12280" y="6264"/>
                    <a:pt x="11628" y="6264"/>
                    <a:pt x="10776" y="6264"/>
                  </a:cubicBezTo>
                  <a:cubicBezTo>
                    <a:pt x="9223" y="6264"/>
                    <a:pt x="7068" y="6264"/>
                    <a:pt x="4814" y="4360"/>
                  </a:cubicBezTo>
                  <a:cubicBezTo>
                    <a:pt x="4112" y="3758"/>
                    <a:pt x="3511" y="2956"/>
                    <a:pt x="2859" y="2105"/>
                  </a:cubicBezTo>
                  <a:cubicBezTo>
                    <a:pt x="2459" y="1553"/>
                    <a:pt x="1657" y="451"/>
                    <a:pt x="1055" y="0"/>
                  </a:cubicBezTo>
                  <a:cubicBezTo>
                    <a:pt x="554" y="1002"/>
                    <a:pt x="53" y="3357"/>
                    <a:pt x="3" y="4961"/>
                  </a:cubicBezTo>
                  <a:cubicBezTo>
                    <a:pt x="-47" y="6414"/>
                    <a:pt x="504" y="7967"/>
                    <a:pt x="1105" y="9671"/>
                  </a:cubicBezTo>
                  <a:cubicBezTo>
                    <a:pt x="1506" y="10824"/>
                    <a:pt x="1907" y="11976"/>
                    <a:pt x="2208" y="1312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82" name="Полилиния: фигура 181">
              <a:extLst>
                <a:ext uri="{FF2B5EF4-FFF2-40B4-BE49-F238E27FC236}">
                  <a16:creationId xmlns:a16="http://schemas.microsoft.com/office/drawing/2014/main" id="{F536A273-12D7-4850-ADBB-25E574BA939A}"/>
                </a:ext>
              </a:extLst>
            </p:cNvPr>
            <p:cNvSpPr/>
            <p:nvPr/>
          </p:nvSpPr>
          <p:spPr>
            <a:xfrm>
              <a:off x="11701527" y="4568801"/>
              <a:ext cx="52505" cy="135302"/>
            </a:xfrm>
            <a:custGeom>
              <a:avLst/>
              <a:gdLst>
                <a:gd name="connsiteX0" fmla="*/ 42010 w 42101"/>
                <a:gd name="connsiteY0" fmla="*/ 49509 h 108491"/>
                <a:gd name="connsiteX1" fmla="*/ 32889 w 42101"/>
                <a:gd name="connsiteY1" fmla="*/ 31068 h 108491"/>
                <a:gd name="connsiteX2" fmla="*/ 32889 w 42101"/>
                <a:gd name="connsiteY2" fmla="*/ 31068 h 108491"/>
                <a:gd name="connsiteX3" fmla="*/ 15652 w 42101"/>
                <a:gd name="connsiteY3" fmla="*/ 10824 h 108491"/>
                <a:gd name="connsiteX4" fmla="*/ 14950 w 42101"/>
                <a:gd name="connsiteY4" fmla="*/ 9672 h 108491"/>
                <a:gd name="connsiteX5" fmla="*/ 5680 w 42101"/>
                <a:gd name="connsiteY5" fmla="*/ 0 h 108491"/>
                <a:gd name="connsiteX6" fmla="*/ 3976 w 42101"/>
                <a:gd name="connsiteY6" fmla="*/ 451 h 108491"/>
                <a:gd name="connsiteX7" fmla="*/ 1170 w 42101"/>
                <a:gd name="connsiteY7" fmla="*/ 17739 h 108491"/>
                <a:gd name="connsiteX8" fmla="*/ 7434 w 42101"/>
                <a:gd name="connsiteY8" fmla="*/ 30618 h 108491"/>
                <a:gd name="connsiteX9" fmla="*/ 13697 w 42101"/>
                <a:gd name="connsiteY9" fmla="*/ 43195 h 108491"/>
                <a:gd name="connsiteX10" fmla="*/ 14098 w 42101"/>
                <a:gd name="connsiteY10" fmla="*/ 78322 h 108491"/>
                <a:gd name="connsiteX11" fmla="*/ 11693 w 42101"/>
                <a:gd name="connsiteY11" fmla="*/ 84436 h 108491"/>
                <a:gd name="connsiteX12" fmla="*/ 9638 w 42101"/>
                <a:gd name="connsiteY12" fmla="*/ 89697 h 108491"/>
                <a:gd name="connsiteX13" fmla="*/ 12845 w 42101"/>
                <a:gd name="connsiteY13" fmla="*/ 102225 h 108491"/>
                <a:gd name="connsiteX14" fmla="*/ 20863 w 42101"/>
                <a:gd name="connsiteY14" fmla="*/ 108489 h 108491"/>
                <a:gd name="connsiteX15" fmla="*/ 28029 w 42101"/>
                <a:gd name="connsiteY15" fmla="*/ 101674 h 108491"/>
                <a:gd name="connsiteX16" fmla="*/ 30134 w 42101"/>
                <a:gd name="connsiteY16" fmla="*/ 88194 h 108491"/>
                <a:gd name="connsiteX17" fmla="*/ 33140 w 42101"/>
                <a:gd name="connsiteY17" fmla="*/ 71708 h 108491"/>
                <a:gd name="connsiteX18" fmla="*/ 36497 w 42101"/>
                <a:gd name="connsiteY18" fmla="*/ 64842 h 108491"/>
                <a:gd name="connsiteX19" fmla="*/ 42060 w 42101"/>
                <a:gd name="connsiteY19" fmla="*/ 49559 h 10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2101" h="108491">
                  <a:moveTo>
                    <a:pt x="42010" y="49509"/>
                  </a:moveTo>
                  <a:cubicBezTo>
                    <a:pt x="42661" y="42494"/>
                    <a:pt x="39855" y="36831"/>
                    <a:pt x="32889" y="31068"/>
                  </a:cubicBezTo>
                  <a:lnTo>
                    <a:pt x="32889" y="31068"/>
                  </a:lnTo>
                  <a:cubicBezTo>
                    <a:pt x="25974" y="25306"/>
                    <a:pt x="20813" y="19242"/>
                    <a:pt x="15652" y="10824"/>
                  </a:cubicBezTo>
                  <a:lnTo>
                    <a:pt x="14950" y="9672"/>
                  </a:lnTo>
                  <a:cubicBezTo>
                    <a:pt x="11492" y="3909"/>
                    <a:pt x="8536" y="0"/>
                    <a:pt x="5680" y="0"/>
                  </a:cubicBezTo>
                  <a:cubicBezTo>
                    <a:pt x="5128" y="0"/>
                    <a:pt x="4527" y="150"/>
                    <a:pt x="3976" y="451"/>
                  </a:cubicBezTo>
                  <a:cubicBezTo>
                    <a:pt x="-885" y="3207"/>
                    <a:pt x="-584" y="12227"/>
                    <a:pt x="1170" y="17739"/>
                  </a:cubicBezTo>
                  <a:cubicBezTo>
                    <a:pt x="2623" y="22199"/>
                    <a:pt x="4928" y="26258"/>
                    <a:pt x="7434" y="30618"/>
                  </a:cubicBezTo>
                  <a:cubicBezTo>
                    <a:pt x="9688" y="34576"/>
                    <a:pt x="12043" y="38685"/>
                    <a:pt x="13697" y="43195"/>
                  </a:cubicBezTo>
                  <a:cubicBezTo>
                    <a:pt x="17405" y="53317"/>
                    <a:pt x="17506" y="64793"/>
                    <a:pt x="14098" y="78322"/>
                  </a:cubicBezTo>
                  <a:cubicBezTo>
                    <a:pt x="13547" y="80527"/>
                    <a:pt x="12595" y="82532"/>
                    <a:pt x="11693" y="84436"/>
                  </a:cubicBezTo>
                  <a:cubicBezTo>
                    <a:pt x="10841" y="86240"/>
                    <a:pt x="10039" y="87943"/>
                    <a:pt x="9638" y="89697"/>
                  </a:cubicBezTo>
                  <a:cubicBezTo>
                    <a:pt x="8736" y="93606"/>
                    <a:pt x="11643" y="99619"/>
                    <a:pt x="12845" y="102225"/>
                  </a:cubicBezTo>
                  <a:cubicBezTo>
                    <a:pt x="14749" y="106284"/>
                    <a:pt x="17806" y="108589"/>
                    <a:pt x="20863" y="108489"/>
                  </a:cubicBezTo>
                  <a:cubicBezTo>
                    <a:pt x="23870" y="108338"/>
                    <a:pt x="26525" y="105783"/>
                    <a:pt x="28029" y="101674"/>
                  </a:cubicBezTo>
                  <a:cubicBezTo>
                    <a:pt x="29532" y="97514"/>
                    <a:pt x="29833" y="93004"/>
                    <a:pt x="30134" y="88194"/>
                  </a:cubicBezTo>
                  <a:cubicBezTo>
                    <a:pt x="30484" y="82682"/>
                    <a:pt x="30835" y="77020"/>
                    <a:pt x="33140" y="71708"/>
                  </a:cubicBezTo>
                  <a:cubicBezTo>
                    <a:pt x="34142" y="69353"/>
                    <a:pt x="35345" y="67098"/>
                    <a:pt x="36497" y="64842"/>
                  </a:cubicBezTo>
                  <a:cubicBezTo>
                    <a:pt x="39103" y="59831"/>
                    <a:pt x="41558" y="55071"/>
                    <a:pt x="42060" y="4955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83" name="Полилиния: фигура 182">
              <a:extLst>
                <a:ext uri="{FF2B5EF4-FFF2-40B4-BE49-F238E27FC236}">
                  <a16:creationId xmlns:a16="http://schemas.microsoft.com/office/drawing/2014/main" id="{3F38C7ED-D494-449F-B19E-D0879FD2DE1A}"/>
                </a:ext>
              </a:extLst>
            </p:cNvPr>
            <p:cNvSpPr/>
            <p:nvPr/>
          </p:nvSpPr>
          <p:spPr>
            <a:xfrm>
              <a:off x="11648740" y="4593423"/>
              <a:ext cx="18875" cy="8437"/>
            </a:xfrm>
            <a:custGeom>
              <a:avLst/>
              <a:gdLst>
                <a:gd name="connsiteX0" fmla="*/ 3760 w 15135"/>
                <a:gd name="connsiteY0" fmla="*/ 6715 h 6765"/>
                <a:gd name="connsiteX1" fmla="*/ 3760 w 15135"/>
                <a:gd name="connsiteY1" fmla="*/ 6715 h 6765"/>
                <a:gd name="connsiteX2" fmla="*/ 13832 w 15135"/>
                <a:gd name="connsiteY2" fmla="*/ 2305 h 6765"/>
                <a:gd name="connsiteX3" fmla="*/ 15135 w 15135"/>
                <a:gd name="connsiteY3" fmla="*/ 1153 h 6765"/>
                <a:gd name="connsiteX4" fmla="*/ 12179 w 15135"/>
                <a:gd name="connsiteY4" fmla="*/ 0 h 6765"/>
                <a:gd name="connsiteX5" fmla="*/ 203 w 15135"/>
                <a:gd name="connsiteY5" fmla="*/ 2756 h 6765"/>
                <a:gd name="connsiteX6" fmla="*/ 203 w 15135"/>
                <a:gd name="connsiteY6" fmla="*/ 4460 h 6765"/>
                <a:gd name="connsiteX7" fmla="*/ 3710 w 15135"/>
                <a:gd name="connsiteY7" fmla="*/ 6765 h 6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35" h="6765">
                  <a:moveTo>
                    <a:pt x="3760" y="6715"/>
                  </a:moveTo>
                  <a:lnTo>
                    <a:pt x="3760" y="6715"/>
                  </a:lnTo>
                  <a:cubicBezTo>
                    <a:pt x="7268" y="6715"/>
                    <a:pt x="11377" y="3959"/>
                    <a:pt x="13832" y="2305"/>
                  </a:cubicBezTo>
                  <a:cubicBezTo>
                    <a:pt x="14935" y="1553"/>
                    <a:pt x="15085" y="1153"/>
                    <a:pt x="15135" y="1153"/>
                  </a:cubicBezTo>
                  <a:cubicBezTo>
                    <a:pt x="14534" y="702"/>
                    <a:pt x="12981" y="0"/>
                    <a:pt x="12179" y="0"/>
                  </a:cubicBezTo>
                  <a:cubicBezTo>
                    <a:pt x="5214" y="0"/>
                    <a:pt x="1154" y="1403"/>
                    <a:pt x="203" y="2756"/>
                  </a:cubicBezTo>
                  <a:cubicBezTo>
                    <a:pt x="102" y="2957"/>
                    <a:pt x="-198" y="3358"/>
                    <a:pt x="203" y="4460"/>
                  </a:cubicBezTo>
                  <a:cubicBezTo>
                    <a:pt x="954" y="6464"/>
                    <a:pt x="2708" y="6765"/>
                    <a:pt x="3710" y="676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84" name="Полилиния: фигура 183">
              <a:extLst>
                <a:ext uri="{FF2B5EF4-FFF2-40B4-BE49-F238E27FC236}">
                  <a16:creationId xmlns:a16="http://schemas.microsoft.com/office/drawing/2014/main" id="{F34EABDF-4D80-4516-B7B8-1D78E89E438E}"/>
                </a:ext>
              </a:extLst>
            </p:cNvPr>
            <p:cNvSpPr/>
            <p:nvPr/>
          </p:nvSpPr>
          <p:spPr>
            <a:xfrm>
              <a:off x="11730043" y="4539055"/>
              <a:ext cx="19459" cy="19969"/>
            </a:xfrm>
            <a:custGeom>
              <a:avLst/>
              <a:gdLst>
                <a:gd name="connsiteX0" fmla="*/ 2557 w 15603"/>
                <a:gd name="connsiteY0" fmla="*/ 4059 h 16012"/>
                <a:gd name="connsiteX1" fmla="*/ 4461 w 15603"/>
                <a:gd name="connsiteY1" fmla="*/ 6664 h 16012"/>
                <a:gd name="connsiteX2" fmla="*/ 5965 w 15603"/>
                <a:gd name="connsiteY2" fmla="*/ 8769 h 16012"/>
                <a:gd name="connsiteX3" fmla="*/ 7668 w 15603"/>
                <a:gd name="connsiteY3" fmla="*/ 11525 h 16012"/>
                <a:gd name="connsiteX4" fmla="*/ 9172 w 15603"/>
                <a:gd name="connsiteY4" fmla="*/ 13880 h 16012"/>
                <a:gd name="connsiteX5" fmla="*/ 14133 w 15603"/>
                <a:gd name="connsiteY5" fmla="*/ 15835 h 16012"/>
                <a:gd name="connsiteX6" fmla="*/ 15485 w 15603"/>
                <a:gd name="connsiteY6" fmla="*/ 15985 h 16012"/>
                <a:gd name="connsiteX7" fmla="*/ 13982 w 15603"/>
                <a:gd name="connsiteY7" fmla="*/ 13079 h 16012"/>
                <a:gd name="connsiteX8" fmla="*/ 11577 w 15603"/>
                <a:gd name="connsiteY8" fmla="*/ 10723 h 16012"/>
                <a:gd name="connsiteX9" fmla="*/ 5915 w 15603"/>
                <a:gd name="connsiteY9" fmla="*/ 4209 h 16012"/>
                <a:gd name="connsiteX10" fmla="*/ 1304 w 15603"/>
                <a:gd name="connsiteY10" fmla="*/ 0 h 16012"/>
                <a:gd name="connsiteX11" fmla="*/ 1 w 15603"/>
                <a:gd name="connsiteY11" fmla="*/ 401 h 16012"/>
                <a:gd name="connsiteX12" fmla="*/ 1956 w 15603"/>
                <a:gd name="connsiteY12" fmla="*/ 3307 h 16012"/>
                <a:gd name="connsiteX13" fmla="*/ 2607 w 15603"/>
                <a:gd name="connsiteY13" fmla="*/ 4109 h 16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03" h="16012">
                  <a:moveTo>
                    <a:pt x="2557" y="4059"/>
                  </a:moveTo>
                  <a:cubicBezTo>
                    <a:pt x="3208" y="4911"/>
                    <a:pt x="3860" y="5762"/>
                    <a:pt x="4461" y="6664"/>
                  </a:cubicBezTo>
                  <a:cubicBezTo>
                    <a:pt x="4962" y="7366"/>
                    <a:pt x="5463" y="8068"/>
                    <a:pt x="5965" y="8769"/>
                  </a:cubicBezTo>
                  <a:cubicBezTo>
                    <a:pt x="6616" y="9621"/>
                    <a:pt x="7167" y="10573"/>
                    <a:pt x="7668" y="11525"/>
                  </a:cubicBezTo>
                  <a:cubicBezTo>
                    <a:pt x="8169" y="12477"/>
                    <a:pt x="8620" y="13279"/>
                    <a:pt x="9172" y="13880"/>
                  </a:cubicBezTo>
                  <a:cubicBezTo>
                    <a:pt x="10224" y="14983"/>
                    <a:pt x="12279" y="15434"/>
                    <a:pt x="14133" y="15835"/>
                  </a:cubicBezTo>
                  <a:cubicBezTo>
                    <a:pt x="15084" y="16035"/>
                    <a:pt x="15385" y="16035"/>
                    <a:pt x="15485" y="15985"/>
                  </a:cubicBezTo>
                  <a:cubicBezTo>
                    <a:pt x="15736" y="15233"/>
                    <a:pt x="15736" y="14983"/>
                    <a:pt x="13982" y="13079"/>
                  </a:cubicBezTo>
                  <a:cubicBezTo>
                    <a:pt x="13180" y="12227"/>
                    <a:pt x="12378" y="11475"/>
                    <a:pt x="11577" y="10723"/>
                  </a:cubicBezTo>
                  <a:cubicBezTo>
                    <a:pt x="9522" y="8769"/>
                    <a:pt x="7417" y="6765"/>
                    <a:pt x="5915" y="4209"/>
                  </a:cubicBezTo>
                  <a:cubicBezTo>
                    <a:pt x="3860" y="802"/>
                    <a:pt x="2356" y="0"/>
                    <a:pt x="1304" y="0"/>
                  </a:cubicBezTo>
                  <a:cubicBezTo>
                    <a:pt x="753" y="0"/>
                    <a:pt x="302" y="250"/>
                    <a:pt x="1" y="401"/>
                  </a:cubicBezTo>
                  <a:cubicBezTo>
                    <a:pt x="-49" y="902"/>
                    <a:pt x="1404" y="2656"/>
                    <a:pt x="1956" y="3307"/>
                  </a:cubicBezTo>
                  <a:lnTo>
                    <a:pt x="2607" y="4109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85" name="Полилиния: фигура 184">
              <a:extLst>
                <a:ext uri="{FF2B5EF4-FFF2-40B4-BE49-F238E27FC236}">
                  <a16:creationId xmlns:a16="http://schemas.microsoft.com/office/drawing/2014/main" id="{230DB6A6-487A-4BAA-B32D-2E3AC4397D3D}"/>
                </a:ext>
              </a:extLst>
            </p:cNvPr>
            <p:cNvSpPr/>
            <p:nvPr/>
          </p:nvSpPr>
          <p:spPr>
            <a:xfrm>
              <a:off x="11741102" y="3346510"/>
              <a:ext cx="102348" cy="26059"/>
            </a:xfrm>
            <a:custGeom>
              <a:avLst/>
              <a:gdLst>
                <a:gd name="connsiteX0" fmla="*/ 64445 w 82067"/>
                <a:gd name="connsiteY0" fmla="*/ 18927 h 20895"/>
                <a:gd name="connsiteX1" fmla="*/ 76623 w 82067"/>
                <a:gd name="connsiteY1" fmla="*/ 20731 h 20895"/>
                <a:gd name="connsiteX2" fmla="*/ 76623 w 82067"/>
                <a:gd name="connsiteY2" fmla="*/ 20731 h 20895"/>
                <a:gd name="connsiteX3" fmla="*/ 81884 w 82067"/>
                <a:gd name="connsiteY3" fmla="*/ 16672 h 20895"/>
                <a:gd name="connsiteX4" fmla="*/ 81082 w 82067"/>
                <a:gd name="connsiteY4" fmla="*/ 13415 h 20895"/>
                <a:gd name="connsiteX5" fmla="*/ 62341 w 82067"/>
                <a:gd name="connsiteY5" fmla="*/ 6500 h 20895"/>
                <a:gd name="connsiteX6" fmla="*/ 48009 w 82067"/>
                <a:gd name="connsiteY6" fmla="*/ 8454 h 20895"/>
                <a:gd name="connsiteX7" fmla="*/ 20198 w 82067"/>
                <a:gd name="connsiteY7" fmla="*/ 6449 h 20895"/>
                <a:gd name="connsiteX8" fmla="*/ 16640 w 82067"/>
                <a:gd name="connsiteY8" fmla="*/ 4094 h 20895"/>
                <a:gd name="connsiteX9" fmla="*/ 6769 w 82067"/>
                <a:gd name="connsiteY9" fmla="*/ 85 h 20895"/>
                <a:gd name="connsiteX10" fmla="*/ 54 w 82067"/>
                <a:gd name="connsiteY10" fmla="*/ 8404 h 20895"/>
                <a:gd name="connsiteX11" fmla="*/ 25159 w 82067"/>
                <a:gd name="connsiteY11" fmla="*/ 16522 h 20895"/>
                <a:gd name="connsiteX12" fmla="*/ 27514 w 82067"/>
                <a:gd name="connsiteY12" fmla="*/ 16522 h 20895"/>
                <a:gd name="connsiteX13" fmla="*/ 33929 w 82067"/>
                <a:gd name="connsiteY13" fmla="*/ 16522 h 20895"/>
                <a:gd name="connsiteX14" fmla="*/ 53271 w 82067"/>
                <a:gd name="connsiteY14" fmla="*/ 16672 h 20895"/>
                <a:gd name="connsiteX15" fmla="*/ 64395 w 82067"/>
                <a:gd name="connsiteY15" fmla="*/ 18877 h 2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2067" h="20895">
                  <a:moveTo>
                    <a:pt x="64445" y="18927"/>
                  </a:moveTo>
                  <a:cubicBezTo>
                    <a:pt x="68604" y="20180"/>
                    <a:pt x="72563" y="21332"/>
                    <a:pt x="76623" y="20731"/>
                  </a:cubicBezTo>
                  <a:lnTo>
                    <a:pt x="76623" y="20731"/>
                  </a:lnTo>
                  <a:cubicBezTo>
                    <a:pt x="78827" y="20430"/>
                    <a:pt x="81182" y="18626"/>
                    <a:pt x="81884" y="16672"/>
                  </a:cubicBezTo>
                  <a:cubicBezTo>
                    <a:pt x="82285" y="15469"/>
                    <a:pt x="82034" y="14467"/>
                    <a:pt x="81082" y="13415"/>
                  </a:cubicBezTo>
                  <a:cubicBezTo>
                    <a:pt x="76973" y="9156"/>
                    <a:pt x="68354" y="6650"/>
                    <a:pt x="62341" y="6500"/>
                  </a:cubicBezTo>
                  <a:cubicBezTo>
                    <a:pt x="57430" y="6299"/>
                    <a:pt x="52620" y="7402"/>
                    <a:pt x="48009" y="8454"/>
                  </a:cubicBezTo>
                  <a:cubicBezTo>
                    <a:pt x="39290" y="10408"/>
                    <a:pt x="30271" y="12413"/>
                    <a:pt x="20198" y="6449"/>
                  </a:cubicBezTo>
                  <a:cubicBezTo>
                    <a:pt x="19046" y="5748"/>
                    <a:pt x="17843" y="4946"/>
                    <a:pt x="16640" y="4094"/>
                  </a:cubicBezTo>
                  <a:cubicBezTo>
                    <a:pt x="13333" y="1739"/>
                    <a:pt x="10176" y="-466"/>
                    <a:pt x="6769" y="85"/>
                  </a:cubicBezTo>
                  <a:cubicBezTo>
                    <a:pt x="3261" y="687"/>
                    <a:pt x="-497" y="4495"/>
                    <a:pt x="54" y="8404"/>
                  </a:cubicBezTo>
                  <a:cubicBezTo>
                    <a:pt x="1207" y="16722"/>
                    <a:pt x="16791" y="16622"/>
                    <a:pt x="25159" y="16522"/>
                  </a:cubicBezTo>
                  <a:lnTo>
                    <a:pt x="27514" y="16522"/>
                  </a:lnTo>
                  <a:cubicBezTo>
                    <a:pt x="27514" y="16522"/>
                    <a:pt x="33929" y="16522"/>
                    <a:pt x="33929" y="16522"/>
                  </a:cubicBezTo>
                  <a:cubicBezTo>
                    <a:pt x="40393" y="16522"/>
                    <a:pt x="46807" y="16522"/>
                    <a:pt x="53271" y="16672"/>
                  </a:cubicBezTo>
                  <a:cubicBezTo>
                    <a:pt x="57230" y="16772"/>
                    <a:pt x="60888" y="17824"/>
                    <a:pt x="64395" y="1887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86" name="Полилиния: фигура 185">
              <a:extLst>
                <a:ext uri="{FF2B5EF4-FFF2-40B4-BE49-F238E27FC236}">
                  <a16:creationId xmlns:a16="http://schemas.microsoft.com/office/drawing/2014/main" id="{8E71B769-4105-4F12-92D7-C36760F291BD}"/>
                </a:ext>
              </a:extLst>
            </p:cNvPr>
            <p:cNvSpPr/>
            <p:nvPr/>
          </p:nvSpPr>
          <p:spPr>
            <a:xfrm>
              <a:off x="11888341" y="3282561"/>
              <a:ext cx="57807" cy="18028"/>
            </a:xfrm>
            <a:custGeom>
              <a:avLst/>
              <a:gdLst>
                <a:gd name="connsiteX0" fmla="*/ 38535 w 46352"/>
                <a:gd name="connsiteY0" fmla="*/ 301 h 14456"/>
                <a:gd name="connsiteX1" fmla="*/ 36781 w 46352"/>
                <a:gd name="connsiteY1" fmla="*/ 401 h 14456"/>
                <a:gd name="connsiteX2" fmla="*/ 36781 w 46352"/>
                <a:gd name="connsiteY2" fmla="*/ 401 h 14456"/>
                <a:gd name="connsiteX3" fmla="*/ 27311 w 46352"/>
                <a:gd name="connsiteY3" fmla="*/ 651 h 14456"/>
                <a:gd name="connsiteX4" fmla="*/ 12829 w 46352"/>
                <a:gd name="connsiteY4" fmla="*/ 1153 h 14456"/>
                <a:gd name="connsiteX5" fmla="*/ 752 w 46352"/>
                <a:gd name="connsiteY5" fmla="*/ 7466 h 14456"/>
                <a:gd name="connsiteX6" fmla="*/ 251 w 46352"/>
                <a:gd name="connsiteY6" fmla="*/ 10974 h 14456"/>
                <a:gd name="connsiteX7" fmla="*/ 15184 w 46352"/>
                <a:gd name="connsiteY7" fmla="*/ 14332 h 14456"/>
                <a:gd name="connsiteX8" fmla="*/ 38786 w 46352"/>
                <a:gd name="connsiteY8" fmla="*/ 7066 h 14456"/>
                <a:gd name="connsiteX9" fmla="*/ 46353 w 46352"/>
                <a:gd name="connsiteY9" fmla="*/ 150 h 14456"/>
                <a:gd name="connsiteX10" fmla="*/ 44047 w 46352"/>
                <a:gd name="connsiteY10" fmla="*/ 0 h 14456"/>
                <a:gd name="connsiteX11" fmla="*/ 38585 w 46352"/>
                <a:gd name="connsiteY11" fmla="*/ 251 h 14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352" h="14456">
                  <a:moveTo>
                    <a:pt x="38535" y="301"/>
                  </a:moveTo>
                  <a:cubicBezTo>
                    <a:pt x="37834" y="351"/>
                    <a:pt x="37232" y="401"/>
                    <a:pt x="36781" y="401"/>
                  </a:cubicBezTo>
                  <a:lnTo>
                    <a:pt x="36781" y="401"/>
                  </a:lnTo>
                  <a:cubicBezTo>
                    <a:pt x="33624" y="501"/>
                    <a:pt x="30467" y="601"/>
                    <a:pt x="27311" y="651"/>
                  </a:cubicBezTo>
                  <a:cubicBezTo>
                    <a:pt x="22450" y="752"/>
                    <a:pt x="17639" y="852"/>
                    <a:pt x="12829" y="1153"/>
                  </a:cubicBezTo>
                  <a:cubicBezTo>
                    <a:pt x="9521" y="1353"/>
                    <a:pt x="3007" y="4009"/>
                    <a:pt x="752" y="7466"/>
                  </a:cubicBezTo>
                  <a:cubicBezTo>
                    <a:pt x="-49" y="8669"/>
                    <a:pt x="-200" y="9772"/>
                    <a:pt x="251" y="10974"/>
                  </a:cubicBezTo>
                  <a:cubicBezTo>
                    <a:pt x="1203" y="13580"/>
                    <a:pt x="9922" y="14883"/>
                    <a:pt x="15184" y="14332"/>
                  </a:cubicBezTo>
                  <a:cubicBezTo>
                    <a:pt x="23301" y="13480"/>
                    <a:pt x="32322" y="10673"/>
                    <a:pt x="38786" y="7066"/>
                  </a:cubicBezTo>
                  <a:cubicBezTo>
                    <a:pt x="41141" y="5763"/>
                    <a:pt x="45501" y="2004"/>
                    <a:pt x="46353" y="150"/>
                  </a:cubicBezTo>
                  <a:cubicBezTo>
                    <a:pt x="45901" y="50"/>
                    <a:pt x="45149" y="0"/>
                    <a:pt x="44047" y="0"/>
                  </a:cubicBezTo>
                  <a:cubicBezTo>
                    <a:pt x="42694" y="0"/>
                    <a:pt x="40890" y="100"/>
                    <a:pt x="38585" y="25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87" name="Полилиния: фигура 186">
              <a:extLst>
                <a:ext uri="{FF2B5EF4-FFF2-40B4-BE49-F238E27FC236}">
                  <a16:creationId xmlns:a16="http://schemas.microsoft.com/office/drawing/2014/main" id="{85EF86A6-EE4C-449B-AFAE-CAE99BA90A41}"/>
                </a:ext>
              </a:extLst>
            </p:cNvPr>
            <p:cNvSpPr/>
            <p:nvPr/>
          </p:nvSpPr>
          <p:spPr>
            <a:xfrm>
              <a:off x="553660" y="3686706"/>
              <a:ext cx="276407" cy="287031"/>
            </a:xfrm>
            <a:custGeom>
              <a:avLst/>
              <a:gdLst>
                <a:gd name="connsiteX0" fmla="*/ 97013 w 221636"/>
                <a:gd name="connsiteY0" fmla="*/ 192122 h 230155"/>
                <a:gd name="connsiteX1" fmla="*/ 117909 w 221636"/>
                <a:gd name="connsiteY1" fmla="*/ 199689 h 230155"/>
                <a:gd name="connsiteX2" fmla="*/ 141812 w 221636"/>
                <a:gd name="connsiteY2" fmla="*/ 212617 h 230155"/>
                <a:gd name="connsiteX3" fmla="*/ 165313 w 221636"/>
                <a:gd name="connsiteY3" fmla="*/ 230156 h 230155"/>
                <a:gd name="connsiteX4" fmla="*/ 173932 w 221636"/>
                <a:gd name="connsiteY4" fmla="*/ 230156 h 230155"/>
                <a:gd name="connsiteX5" fmla="*/ 176488 w 221636"/>
                <a:gd name="connsiteY5" fmla="*/ 214772 h 230155"/>
                <a:gd name="connsiteX6" fmla="*/ 186009 w 221636"/>
                <a:gd name="connsiteY6" fmla="*/ 183553 h 230155"/>
                <a:gd name="connsiteX7" fmla="*/ 213369 w 221636"/>
                <a:gd name="connsiteY7" fmla="*/ 167167 h 230155"/>
                <a:gd name="connsiteX8" fmla="*/ 220986 w 221636"/>
                <a:gd name="connsiteY8" fmla="*/ 170425 h 230155"/>
                <a:gd name="connsiteX9" fmla="*/ 221637 w 221636"/>
                <a:gd name="connsiteY9" fmla="*/ 164060 h 230155"/>
                <a:gd name="connsiteX10" fmla="*/ 204700 w 221636"/>
                <a:gd name="connsiteY10" fmla="*/ 128081 h 230155"/>
                <a:gd name="connsiteX11" fmla="*/ 209961 w 221636"/>
                <a:gd name="connsiteY11" fmla="*/ 110593 h 230155"/>
                <a:gd name="connsiteX12" fmla="*/ 207205 w 221636"/>
                <a:gd name="connsiteY12" fmla="*/ 109841 h 230155"/>
                <a:gd name="connsiteX13" fmla="*/ 199538 w 221636"/>
                <a:gd name="connsiteY13" fmla="*/ 86791 h 230155"/>
                <a:gd name="connsiteX14" fmla="*/ 189366 w 221636"/>
                <a:gd name="connsiteY14" fmla="*/ 42243 h 230155"/>
                <a:gd name="connsiteX15" fmla="*/ 167217 w 221636"/>
                <a:gd name="connsiteY15" fmla="*/ 10824 h 230155"/>
                <a:gd name="connsiteX16" fmla="*/ 136600 w 221636"/>
                <a:gd name="connsiteY16" fmla="*/ 0 h 230155"/>
                <a:gd name="connsiteX17" fmla="*/ 124574 w 221636"/>
                <a:gd name="connsiteY17" fmla="*/ 1353 h 230155"/>
                <a:gd name="connsiteX18" fmla="*/ 114351 w 221636"/>
                <a:gd name="connsiteY18" fmla="*/ 20044 h 230155"/>
                <a:gd name="connsiteX19" fmla="*/ 106534 w 221636"/>
                <a:gd name="connsiteY19" fmla="*/ 41140 h 230155"/>
                <a:gd name="connsiteX20" fmla="*/ 82782 w 221636"/>
                <a:gd name="connsiteY20" fmla="*/ 41140 h 230155"/>
                <a:gd name="connsiteX21" fmla="*/ 65845 w 221636"/>
                <a:gd name="connsiteY21" fmla="*/ 26659 h 230155"/>
                <a:gd name="connsiteX22" fmla="*/ 56725 w 221636"/>
                <a:gd name="connsiteY22" fmla="*/ 19393 h 230155"/>
                <a:gd name="connsiteX23" fmla="*/ 54820 w 221636"/>
                <a:gd name="connsiteY23" fmla="*/ 48206 h 230155"/>
                <a:gd name="connsiteX24" fmla="*/ 47504 w 221636"/>
                <a:gd name="connsiteY24" fmla="*/ 65293 h 230155"/>
                <a:gd name="connsiteX25" fmla="*/ 37783 w 221636"/>
                <a:gd name="connsiteY25" fmla="*/ 71156 h 230155"/>
                <a:gd name="connsiteX26" fmla="*/ 31670 w 221636"/>
                <a:gd name="connsiteY26" fmla="*/ 92503 h 230155"/>
                <a:gd name="connsiteX27" fmla="*/ 21748 w 221636"/>
                <a:gd name="connsiteY27" fmla="*/ 109841 h 230155"/>
                <a:gd name="connsiteX28" fmla="*/ 10122 w 221636"/>
                <a:gd name="connsiteY28" fmla="*/ 113750 h 230155"/>
                <a:gd name="connsiteX29" fmla="*/ 5813 w 221636"/>
                <a:gd name="connsiteY29" fmla="*/ 125225 h 230155"/>
                <a:gd name="connsiteX30" fmla="*/ 1804 w 221636"/>
                <a:gd name="connsiteY30" fmla="*/ 171527 h 230155"/>
                <a:gd name="connsiteX31" fmla="*/ 0 w 221636"/>
                <a:gd name="connsiteY31" fmla="*/ 181849 h 230155"/>
                <a:gd name="connsiteX32" fmla="*/ 24704 w 221636"/>
                <a:gd name="connsiteY32" fmla="*/ 168320 h 230155"/>
                <a:gd name="connsiteX33" fmla="*/ 66296 w 221636"/>
                <a:gd name="connsiteY33" fmla="*/ 161355 h 230155"/>
                <a:gd name="connsiteX34" fmla="*/ 97013 w 221636"/>
                <a:gd name="connsiteY34" fmla="*/ 192122 h 230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21636" h="230155">
                  <a:moveTo>
                    <a:pt x="97013" y="192122"/>
                  </a:moveTo>
                  <a:lnTo>
                    <a:pt x="117909" y="199689"/>
                  </a:lnTo>
                  <a:lnTo>
                    <a:pt x="141812" y="212617"/>
                  </a:lnTo>
                  <a:lnTo>
                    <a:pt x="165313" y="230156"/>
                  </a:lnTo>
                  <a:lnTo>
                    <a:pt x="173932" y="230156"/>
                  </a:lnTo>
                  <a:lnTo>
                    <a:pt x="176488" y="214772"/>
                  </a:lnTo>
                  <a:lnTo>
                    <a:pt x="186009" y="183553"/>
                  </a:lnTo>
                  <a:lnTo>
                    <a:pt x="213369" y="167167"/>
                  </a:lnTo>
                  <a:lnTo>
                    <a:pt x="220986" y="170425"/>
                  </a:lnTo>
                  <a:lnTo>
                    <a:pt x="221637" y="164060"/>
                  </a:lnTo>
                  <a:lnTo>
                    <a:pt x="204700" y="128081"/>
                  </a:lnTo>
                  <a:lnTo>
                    <a:pt x="209961" y="110593"/>
                  </a:lnTo>
                  <a:lnTo>
                    <a:pt x="207205" y="109841"/>
                  </a:lnTo>
                  <a:lnTo>
                    <a:pt x="199538" y="86791"/>
                  </a:lnTo>
                  <a:lnTo>
                    <a:pt x="189366" y="42243"/>
                  </a:lnTo>
                  <a:lnTo>
                    <a:pt x="167217" y="10824"/>
                  </a:lnTo>
                  <a:lnTo>
                    <a:pt x="136600" y="0"/>
                  </a:lnTo>
                  <a:lnTo>
                    <a:pt x="124574" y="1353"/>
                  </a:lnTo>
                  <a:lnTo>
                    <a:pt x="114351" y="20044"/>
                  </a:lnTo>
                  <a:lnTo>
                    <a:pt x="106534" y="41140"/>
                  </a:lnTo>
                  <a:lnTo>
                    <a:pt x="82782" y="41140"/>
                  </a:lnTo>
                  <a:lnTo>
                    <a:pt x="65845" y="26659"/>
                  </a:lnTo>
                  <a:lnTo>
                    <a:pt x="56725" y="19393"/>
                  </a:lnTo>
                  <a:lnTo>
                    <a:pt x="54820" y="48206"/>
                  </a:lnTo>
                  <a:lnTo>
                    <a:pt x="47504" y="65293"/>
                  </a:lnTo>
                  <a:lnTo>
                    <a:pt x="37783" y="71156"/>
                  </a:lnTo>
                  <a:lnTo>
                    <a:pt x="31670" y="92503"/>
                  </a:lnTo>
                  <a:lnTo>
                    <a:pt x="21748" y="109841"/>
                  </a:lnTo>
                  <a:lnTo>
                    <a:pt x="10122" y="113750"/>
                  </a:lnTo>
                  <a:lnTo>
                    <a:pt x="5813" y="125225"/>
                  </a:lnTo>
                  <a:lnTo>
                    <a:pt x="1804" y="171527"/>
                  </a:lnTo>
                  <a:lnTo>
                    <a:pt x="0" y="181849"/>
                  </a:lnTo>
                  <a:lnTo>
                    <a:pt x="24704" y="168320"/>
                  </a:lnTo>
                  <a:lnTo>
                    <a:pt x="66296" y="161355"/>
                  </a:lnTo>
                  <a:lnTo>
                    <a:pt x="97013" y="192122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88" name="Полилиния: фигура 187">
              <a:extLst>
                <a:ext uri="{FF2B5EF4-FFF2-40B4-BE49-F238E27FC236}">
                  <a16:creationId xmlns:a16="http://schemas.microsoft.com/office/drawing/2014/main" id="{76DBBF5A-5894-4D51-85E5-9E4AC6131DA5}"/>
                </a:ext>
              </a:extLst>
            </p:cNvPr>
            <p:cNvSpPr/>
            <p:nvPr/>
          </p:nvSpPr>
          <p:spPr>
            <a:xfrm>
              <a:off x="313873" y="3617088"/>
              <a:ext cx="289719" cy="281282"/>
            </a:xfrm>
            <a:custGeom>
              <a:avLst/>
              <a:gdLst>
                <a:gd name="connsiteX0" fmla="*/ 112698 w 232310"/>
                <a:gd name="connsiteY0" fmla="*/ 162958 h 225545"/>
                <a:gd name="connsiteX1" fmla="*/ 145019 w 232310"/>
                <a:gd name="connsiteY1" fmla="*/ 184355 h 225545"/>
                <a:gd name="connsiteX2" fmla="*/ 169272 w 232310"/>
                <a:gd name="connsiteY2" fmla="*/ 218731 h 225545"/>
                <a:gd name="connsiteX3" fmla="*/ 176638 w 232310"/>
                <a:gd name="connsiteY3" fmla="*/ 225546 h 225545"/>
                <a:gd name="connsiteX4" fmla="*/ 176738 w 232310"/>
                <a:gd name="connsiteY4" fmla="*/ 225095 h 225545"/>
                <a:gd name="connsiteX5" fmla="*/ 181298 w 232310"/>
                <a:gd name="connsiteY5" fmla="*/ 176037 h 225545"/>
                <a:gd name="connsiteX6" fmla="*/ 188965 w 232310"/>
                <a:gd name="connsiteY6" fmla="*/ 155592 h 225545"/>
                <a:gd name="connsiteX7" fmla="*/ 202144 w 232310"/>
                <a:gd name="connsiteY7" fmla="*/ 151182 h 225545"/>
                <a:gd name="connsiteX8" fmla="*/ 208207 w 232310"/>
                <a:gd name="connsiteY8" fmla="*/ 140609 h 225545"/>
                <a:gd name="connsiteX9" fmla="*/ 215022 w 232310"/>
                <a:gd name="connsiteY9" fmla="*/ 115554 h 225545"/>
                <a:gd name="connsiteX10" fmla="*/ 225946 w 232310"/>
                <a:gd name="connsiteY10" fmla="*/ 108989 h 225545"/>
                <a:gd name="connsiteX11" fmla="*/ 230406 w 232310"/>
                <a:gd name="connsiteY11" fmla="*/ 98566 h 225545"/>
                <a:gd name="connsiteX12" fmla="*/ 232310 w 232310"/>
                <a:gd name="connsiteY12" fmla="*/ 61936 h 225545"/>
                <a:gd name="connsiteX13" fmla="*/ 227851 w 232310"/>
                <a:gd name="connsiteY13" fmla="*/ 58228 h 225545"/>
                <a:gd name="connsiteX14" fmla="*/ 196181 w 232310"/>
                <a:gd name="connsiteY14" fmla="*/ 14682 h 225545"/>
                <a:gd name="connsiteX15" fmla="*/ 163509 w 232310"/>
                <a:gd name="connsiteY15" fmla="*/ 0 h 225545"/>
                <a:gd name="connsiteX16" fmla="*/ 156344 w 232310"/>
                <a:gd name="connsiteY16" fmla="*/ 12979 h 225545"/>
                <a:gd name="connsiteX17" fmla="*/ 127580 w 232310"/>
                <a:gd name="connsiteY17" fmla="*/ 28813 h 225545"/>
                <a:gd name="connsiteX18" fmla="*/ 97163 w 232310"/>
                <a:gd name="connsiteY18" fmla="*/ 30868 h 225545"/>
                <a:gd name="connsiteX19" fmla="*/ 20395 w 232310"/>
                <a:gd name="connsiteY19" fmla="*/ 25857 h 225545"/>
                <a:gd name="connsiteX20" fmla="*/ 15133 w 232310"/>
                <a:gd name="connsiteY20" fmla="*/ 23201 h 225545"/>
                <a:gd name="connsiteX21" fmla="*/ 34576 w 232310"/>
                <a:gd name="connsiteY21" fmla="*/ 50160 h 225545"/>
                <a:gd name="connsiteX22" fmla="*/ 0 w 232310"/>
                <a:gd name="connsiteY22" fmla="*/ 42493 h 225545"/>
                <a:gd name="connsiteX23" fmla="*/ 7066 w 232310"/>
                <a:gd name="connsiteY23" fmla="*/ 50962 h 225545"/>
                <a:gd name="connsiteX24" fmla="*/ 2455 w 232310"/>
                <a:gd name="connsiteY24" fmla="*/ 69402 h 225545"/>
                <a:gd name="connsiteX25" fmla="*/ 11024 w 232310"/>
                <a:gd name="connsiteY25" fmla="*/ 96763 h 225545"/>
                <a:gd name="connsiteX26" fmla="*/ 47204 w 232310"/>
                <a:gd name="connsiteY26" fmla="*/ 116857 h 225545"/>
                <a:gd name="connsiteX27" fmla="*/ 53016 w 232310"/>
                <a:gd name="connsiteY27" fmla="*/ 126528 h 225545"/>
                <a:gd name="connsiteX28" fmla="*/ 75065 w 232310"/>
                <a:gd name="connsiteY28" fmla="*/ 134546 h 225545"/>
                <a:gd name="connsiteX29" fmla="*/ 91250 w 232310"/>
                <a:gd name="connsiteY29" fmla="*/ 154289 h 225545"/>
                <a:gd name="connsiteX30" fmla="*/ 112798 w 232310"/>
                <a:gd name="connsiteY30" fmla="*/ 163008 h 225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32310" h="225545">
                  <a:moveTo>
                    <a:pt x="112698" y="162958"/>
                  </a:moveTo>
                  <a:lnTo>
                    <a:pt x="145019" y="184355"/>
                  </a:lnTo>
                  <a:lnTo>
                    <a:pt x="169272" y="218731"/>
                  </a:lnTo>
                  <a:lnTo>
                    <a:pt x="176638" y="225546"/>
                  </a:lnTo>
                  <a:lnTo>
                    <a:pt x="176738" y="225095"/>
                  </a:lnTo>
                  <a:lnTo>
                    <a:pt x="181298" y="176037"/>
                  </a:lnTo>
                  <a:lnTo>
                    <a:pt x="188965" y="155592"/>
                  </a:lnTo>
                  <a:lnTo>
                    <a:pt x="202144" y="151182"/>
                  </a:lnTo>
                  <a:lnTo>
                    <a:pt x="208207" y="140609"/>
                  </a:lnTo>
                  <a:lnTo>
                    <a:pt x="215022" y="115554"/>
                  </a:lnTo>
                  <a:lnTo>
                    <a:pt x="225946" y="108989"/>
                  </a:lnTo>
                  <a:lnTo>
                    <a:pt x="230406" y="98566"/>
                  </a:lnTo>
                  <a:lnTo>
                    <a:pt x="232310" y="61936"/>
                  </a:lnTo>
                  <a:lnTo>
                    <a:pt x="227851" y="58228"/>
                  </a:lnTo>
                  <a:lnTo>
                    <a:pt x="196181" y="14682"/>
                  </a:lnTo>
                  <a:lnTo>
                    <a:pt x="163509" y="0"/>
                  </a:lnTo>
                  <a:cubicBezTo>
                    <a:pt x="161054" y="3608"/>
                    <a:pt x="158198" y="8368"/>
                    <a:pt x="156344" y="12979"/>
                  </a:cubicBezTo>
                  <a:cubicBezTo>
                    <a:pt x="150080" y="28613"/>
                    <a:pt x="128482" y="28813"/>
                    <a:pt x="127580" y="28813"/>
                  </a:cubicBezTo>
                  <a:lnTo>
                    <a:pt x="97163" y="30868"/>
                  </a:lnTo>
                  <a:lnTo>
                    <a:pt x="20395" y="25857"/>
                  </a:lnTo>
                  <a:lnTo>
                    <a:pt x="15133" y="23201"/>
                  </a:lnTo>
                  <a:lnTo>
                    <a:pt x="34576" y="50160"/>
                  </a:lnTo>
                  <a:lnTo>
                    <a:pt x="0" y="42493"/>
                  </a:lnTo>
                  <a:lnTo>
                    <a:pt x="7066" y="50962"/>
                  </a:lnTo>
                  <a:lnTo>
                    <a:pt x="2455" y="69402"/>
                  </a:lnTo>
                  <a:lnTo>
                    <a:pt x="11024" y="96763"/>
                  </a:lnTo>
                  <a:lnTo>
                    <a:pt x="47204" y="116857"/>
                  </a:lnTo>
                  <a:lnTo>
                    <a:pt x="53016" y="126528"/>
                  </a:lnTo>
                  <a:lnTo>
                    <a:pt x="75065" y="134546"/>
                  </a:lnTo>
                  <a:lnTo>
                    <a:pt x="91250" y="154289"/>
                  </a:lnTo>
                  <a:lnTo>
                    <a:pt x="112798" y="16300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89" name="Полилиния: фигура 188">
              <a:extLst>
                <a:ext uri="{FF2B5EF4-FFF2-40B4-BE49-F238E27FC236}">
                  <a16:creationId xmlns:a16="http://schemas.microsoft.com/office/drawing/2014/main" id="{BBE10842-76EE-4AA3-875F-5A6D2D959E6A}"/>
                </a:ext>
              </a:extLst>
            </p:cNvPr>
            <p:cNvSpPr/>
            <p:nvPr/>
          </p:nvSpPr>
          <p:spPr>
            <a:xfrm>
              <a:off x="1032547" y="3708642"/>
              <a:ext cx="218727" cy="321341"/>
            </a:xfrm>
            <a:custGeom>
              <a:avLst/>
              <a:gdLst>
                <a:gd name="connsiteX0" fmla="*/ 152034 w 175385"/>
                <a:gd name="connsiteY0" fmla="*/ 166917 h 257666"/>
                <a:gd name="connsiteX1" fmla="*/ 163860 w 175385"/>
                <a:gd name="connsiteY1" fmla="*/ 156544 h 257666"/>
                <a:gd name="connsiteX2" fmla="*/ 170324 w 175385"/>
                <a:gd name="connsiteY2" fmla="*/ 151082 h 257666"/>
                <a:gd name="connsiteX3" fmla="*/ 172128 w 175385"/>
                <a:gd name="connsiteY3" fmla="*/ 149528 h 257666"/>
                <a:gd name="connsiteX4" fmla="*/ 173531 w 175385"/>
                <a:gd name="connsiteY4" fmla="*/ 150781 h 257666"/>
                <a:gd name="connsiteX5" fmla="*/ 175385 w 175385"/>
                <a:gd name="connsiteY5" fmla="*/ 149228 h 257666"/>
                <a:gd name="connsiteX6" fmla="*/ 174834 w 175385"/>
                <a:gd name="connsiteY6" fmla="*/ 143666 h 257666"/>
                <a:gd name="connsiteX7" fmla="*/ 174032 w 175385"/>
                <a:gd name="connsiteY7" fmla="*/ 142914 h 257666"/>
                <a:gd name="connsiteX8" fmla="*/ 173782 w 175385"/>
                <a:gd name="connsiteY8" fmla="*/ 139206 h 257666"/>
                <a:gd name="connsiteX9" fmla="*/ 161304 w 175385"/>
                <a:gd name="connsiteY9" fmla="*/ 127831 h 257666"/>
                <a:gd name="connsiteX10" fmla="*/ 149729 w 175385"/>
                <a:gd name="connsiteY10" fmla="*/ 117257 h 257666"/>
                <a:gd name="connsiteX11" fmla="*/ 149078 w 175385"/>
                <a:gd name="connsiteY11" fmla="*/ 116656 h 257666"/>
                <a:gd name="connsiteX12" fmla="*/ 140559 w 175385"/>
                <a:gd name="connsiteY12" fmla="*/ 71507 h 257666"/>
                <a:gd name="connsiteX13" fmla="*/ 142062 w 175385"/>
                <a:gd name="connsiteY13" fmla="*/ 70505 h 257666"/>
                <a:gd name="connsiteX14" fmla="*/ 143866 w 175385"/>
                <a:gd name="connsiteY14" fmla="*/ 64842 h 257666"/>
                <a:gd name="connsiteX15" fmla="*/ 143666 w 175385"/>
                <a:gd name="connsiteY15" fmla="*/ 64642 h 257666"/>
                <a:gd name="connsiteX16" fmla="*/ 143265 w 175385"/>
                <a:gd name="connsiteY16" fmla="*/ 64141 h 257666"/>
                <a:gd name="connsiteX17" fmla="*/ 139256 w 175385"/>
                <a:gd name="connsiteY17" fmla="*/ 59831 h 257666"/>
                <a:gd name="connsiteX18" fmla="*/ 138354 w 175385"/>
                <a:gd name="connsiteY18" fmla="*/ 60383 h 257666"/>
                <a:gd name="connsiteX19" fmla="*/ 136700 w 175385"/>
                <a:gd name="connsiteY19" fmla="*/ 58930 h 257666"/>
                <a:gd name="connsiteX20" fmla="*/ 110543 w 175385"/>
                <a:gd name="connsiteY20" fmla="*/ 8819 h 257666"/>
                <a:gd name="connsiteX21" fmla="*/ 108488 w 175385"/>
                <a:gd name="connsiteY21" fmla="*/ 2255 h 257666"/>
                <a:gd name="connsiteX22" fmla="*/ 106935 w 175385"/>
                <a:gd name="connsiteY22" fmla="*/ 2656 h 257666"/>
                <a:gd name="connsiteX23" fmla="*/ 94558 w 175385"/>
                <a:gd name="connsiteY23" fmla="*/ 2054 h 257666"/>
                <a:gd name="connsiteX24" fmla="*/ 92654 w 175385"/>
                <a:gd name="connsiteY24" fmla="*/ 0 h 257666"/>
                <a:gd name="connsiteX25" fmla="*/ 85087 w 175385"/>
                <a:gd name="connsiteY25" fmla="*/ 11425 h 257666"/>
                <a:gd name="connsiteX26" fmla="*/ 60232 w 175385"/>
                <a:gd name="connsiteY26" fmla="*/ 34025 h 257666"/>
                <a:gd name="connsiteX27" fmla="*/ 56424 w 175385"/>
                <a:gd name="connsiteY27" fmla="*/ 34426 h 257666"/>
                <a:gd name="connsiteX28" fmla="*/ 53367 w 175385"/>
                <a:gd name="connsiteY28" fmla="*/ 37232 h 257666"/>
                <a:gd name="connsiteX29" fmla="*/ 55121 w 175385"/>
                <a:gd name="connsiteY29" fmla="*/ 43897 h 257666"/>
                <a:gd name="connsiteX30" fmla="*/ 45049 w 175385"/>
                <a:gd name="connsiteY30" fmla="*/ 94708 h 257666"/>
                <a:gd name="connsiteX31" fmla="*/ 30567 w 175385"/>
                <a:gd name="connsiteY31" fmla="*/ 115353 h 257666"/>
                <a:gd name="connsiteX32" fmla="*/ 17088 w 175385"/>
                <a:gd name="connsiteY32" fmla="*/ 132691 h 257666"/>
                <a:gd name="connsiteX33" fmla="*/ 9270 w 175385"/>
                <a:gd name="connsiteY33" fmla="*/ 169973 h 257666"/>
                <a:gd name="connsiteX34" fmla="*/ 1102 w 175385"/>
                <a:gd name="connsiteY34" fmla="*/ 221186 h 257666"/>
                <a:gd name="connsiteX35" fmla="*/ 0 w 175385"/>
                <a:gd name="connsiteY35" fmla="*/ 238875 h 257666"/>
                <a:gd name="connsiteX36" fmla="*/ 3558 w 175385"/>
                <a:gd name="connsiteY36" fmla="*/ 248897 h 257666"/>
                <a:gd name="connsiteX37" fmla="*/ 35628 w 175385"/>
                <a:gd name="connsiteY37" fmla="*/ 257666 h 257666"/>
                <a:gd name="connsiteX38" fmla="*/ 58078 w 175385"/>
                <a:gd name="connsiteY38" fmla="*/ 248145 h 257666"/>
                <a:gd name="connsiteX39" fmla="*/ 70956 w 175385"/>
                <a:gd name="connsiteY39" fmla="*/ 215824 h 257666"/>
                <a:gd name="connsiteX40" fmla="*/ 71557 w 175385"/>
                <a:gd name="connsiteY40" fmla="*/ 211164 h 257666"/>
                <a:gd name="connsiteX41" fmla="*/ 71958 w 175385"/>
                <a:gd name="connsiteY41" fmla="*/ 207255 h 257666"/>
                <a:gd name="connsiteX42" fmla="*/ 73010 w 175385"/>
                <a:gd name="connsiteY42" fmla="*/ 206554 h 257666"/>
                <a:gd name="connsiteX43" fmla="*/ 81730 w 175385"/>
                <a:gd name="connsiteY43" fmla="*/ 203146 h 257666"/>
                <a:gd name="connsiteX44" fmla="*/ 81930 w 175385"/>
                <a:gd name="connsiteY44" fmla="*/ 201242 h 257666"/>
                <a:gd name="connsiteX45" fmla="*/ 82982 w 175385"/>
                <a:gd name="connsiteY45" fmla="*/ 200540 h 257666"/>
                <a:gd name="connsiteX46" fmla="*/ 104079 w 175385"/>
                <a:gd name="connsiteY46" fmla="*/ 196582 h 257666"/>
                <a:gd name="connsiteX47" fmla="*/ 109240 w 175385"/>
                <a:gd name="connsiteY47" fmla="*/ 196682 h 257666"/>
                <a:gd name="connsiteX48" fmla="*/ 108538 w 175385"/>
                <a:gd name="connsiteY48" fmla="*/ 195179 h 257666"/>
                <a:gd name="connsiteX49" fmla="*/ 108188 w 175385"/>
                <a:gd name="connsiteY49" fmla="*/ 194577 h 257666"/>
                <a:gd name="connsiteX50" fmla="*/ 108188 w 175385"/>
                <a:gd name="connsiteY50" fmla="*/ 193876 h 257666"/>
                <a:gd name="connsiteX51" fmla="*/ 104029 w 175385"/>
                <a:gd name="connsiteY51" fmla="*/ 186009 h 257666"/>
                <a:gd name="connsiteX52" fmla="*/ 102275 w 175385"/>
                <a:gd name="connsiteY52" fmla="*/ 183804 h 257666"/>
                <a:gd name="connsiteX53" fmla="*/ 100320 w 175385"/>
                <a:gd name="connsiteY53" fmla="*/ 180496 h 257666"/>
                <a:gd name="connsiteX54" fmla="*/ 100020 w 175385"/>
                <a:gd name="connsiteY54" fmla="*/ 179895 h 257666"/>
                <a:gd name="connsiteX55" fmla="*/ 100020 w 175385"/>
                <a:gd name="connsiteY55" fmla="*/ 179244 h 257666"/>
                <a:gd name="connsiteX56" fmla="*/ 104229 w 175385"/>
                <a:gd name="connsiteY56" fmla="*/ 170374 h 257666"/>
                <a:gd name="connsiteX57" fmla="*/ 104730 w 175385"/>
                <a:gd name="connsiteY57" fmla="*/ 169873 h 257666"/>
                <a:gd name="connsiteX58" fmla="*/ 105382 w 175385"/>
                <a:gd name="connsiteY58" fmla="*/ 169673 h 257666"/>
                <a:gd name="connsiteX59" fmla="*/ 111295 w 175385"/>
                <a:gd name="connsiteY59" fmla="*/ 168670 h 257666"/>
                <a:gd name="connsiteX60" fmla="*/ 114201 w 175385"/>
                <a:gd name="connsiteY60" fmla="*/ 164361 h 257666"/>
                <a:gd name="connsiteX61" fmla="*/ 114702 w 175385"/>
                <a:gd name="connsiteY61" fmla="*/ 163860 h 257666"/>
                <a:gd name="connsiteX62" fmla="*/ 115353 w 175385"/>
                <a:gd name="connsiteY62" fmla="*/ 163659 h 257666"/>
                <a:gd name="connsiteX63" fmla="*/ 136650 w 175385"/>
                <a:gd name="connsiteY63" fmla="*/ 165163 h 257666"/>
                <a:gd name="connsiteX64" fmla="*/ 142263 w 175385"/>
                <a:gd name="connsiteY64" fmla="*/ 166666 h 257666"/>
                <a:gd name="connsiteX65" fmla="*/ 151984 w 175385"/>
                <a:gd name="connsiteY65" fmla="*/ 166917 h 257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75385" h="257666">
                  <a:moveTo>
                    <a:pt x="152034" y="166917"/>
                  </a:moveTo>
                  <a:cubicBezTo>
                    <a:pt x="155692" y="163359"/>
                    <a:pt x="159651" y="160052"/>
                    <a:pt x="163860" y="156544"/>
                  </a:cubicBezTo>
                  <a:cubicBezTo>
                    <a:pt x="165965" y="154790"/>
                    <a:pt x="168119" y="153036"/>
                    <a:pt x="170324" y="151082"/>
                  </a:cubicBezTo>
                  <a:lnTo>
                    <a:pt x="172128" y="149528"/>
                  </a:lnTo>
                  <a:lnTo>
                    <a:pt x="173531" y="150781"/>
                  </a:lnTo>
                  <a:lnTo>
                    <a:pt x="175385" y="149228"/>
                  </a:lnTo>
                  <a:lnTo>
                    <a:pt x="174834" y="143666"/>
                  </a:lnTo>
                  <a:lnTo>
                    <a:pt x="174032" y="142914"/>
                  </a:lnTo>
                  <a:lnTo>
                    <a:pt x="173782" y="139206"/>
                  </a:lnTo>
                  <a:cubicBezTo>
                    <a:pt x="169773" y="135548"/>
                    <a:pt x="165614" y="131790"/>
                    <a:pt x="161304" y="127831"/>
                  </a:cubicBezTo>
                  <a:cubicBezTo>
                    <a:pt x="157646" y="124473"/>
                    <a:pt x="153788" y="120966"/>
                    <a:pt x="149729" y="117257"/>
                  </a:cubicBezTo>
                  <a:lnTo>
                    <a:pt x="149078" y="116656"/>
                  </a:lnTo>
                  <a:lnTo>
                    <a:pt x="140559" y="71507"/>
                  </a:lnTo>
                  <a:lnTo>
                    <a:pt x="142062" y="70505"/>
                  </a:lnTo>
                  <a:cubicBezTo>
                    <a:pt x="143315" y="69703"/>
                    <a:pt x="144016" y="67448"/>
                    <a:pt x="143866" y="64842"/>
                  </a:cubicBezTo>
                  <a:cubicBezTo>
                    <a:pt x="143816" y="64792"/>
                    <a:pt x="143766" y="64692"/>
                    <a:pt x="143666" y="64642"/>
                  </a:cubicBezTo>
                  <a:lnTo>
                    <a:pt x="143265" y="64141"/>
                  </a:lnTo>
                  <a:cubicBezTo>
                    <a:pt x="142012" y="62888"/>
                    <a:pt x="140609" y="61385"/>
                    <a:pt x="139256" y="59831"/>
                  </a:cubicBezTo>
                  <a:lnTo>
                    <a:pt x="138354" y="60383"/>
                  </a:lnTo>
                  <a:lnTo>
                    <a:pt x="136700" y="58930"/>
                  </a:lnTo>
                  <a:cubicBezTo>
                    <a:pt x="121617" y="44397"/>
                    <a:pt x="115955" y="26308"/>
                    <a:pt x="110543" y="8819"/>
                  </a:cubicBezTo>
                  <a:cubicBezTo>
                    <a:pt x="109841" y="6615"/>
                    <a:pt x="109190" y="4460"/>
                    <a:pt x="108488" y="2255"/>
                  </a:cubicBezTo>
                  <a:cubicBezTo>
                    <a:pt x="107937" y="2355"/>
                    <a:pt x="107436" y="2506"/>
                    <a:pt x="106935" y="2656"/>
                  </a:cubicBezTo>
                  <a:cubicBezTo>
                    <a:pt x="101072" y="4159"/>
                    <a:pt x="97264" y="4009"/>
                    <a:pt x="94558" y="2054"/>
                  </a:cubicBezTo>
                  <a:cubicBezTo>
                    <a:pt x="93806" y="1503"/>
                    <a:pt x="93155" y="802"/>
                    <a:pt x="92654" y="0"/>
                  </a:cubicBezTo>
                  <a:lnTo>
                    <a:pt x="85087" y="11425"/>
                  </a:lnTo>
                  <a:lnTo>
                    <a:pt x="60232" y="34025"/>
                  </a:lnTo>
                  <a:lnTo>
                    <a:pt x="56424" y="34426"/>
                  </a:lnTo>
                  <a:lnTo>
                    <a:pt x="53367" y="37232"/>
                  </a:lnTo>
                  <a:lnTo>
                    <a:pt x="55121" y="43897"/>
                  </a:lnTo>
                  <a:lnTo>
                    <a:pt x="45049" y="94708"/>
                  </a:lnTo>
                  <a:lnTo>
                    <a:pt x="30567" y="115353"/>
                  </a:lnTo>
                  <a:lnTo>
                    <a:pt x="17088" y="132691"/>
                  </a:lnTo>
                  <a:lnTo>
                    <a:pt x="9270" y="169973"/>
                  </a:lnTo>
                  <a:lnTo>
                    <a:pt x="1102" y="221186"/>
                  </a:lnTo>
                  <a:lnTo>
                    <a:pt x="0" y="238875"/>
                  </a:lnTo>
                  <a:lnTo>
                    <a:pt x="3558" y="248897"/>
                  </a:lnTo>
                  <a:lnTo>
                    <a:pt x="35628" y="257666"/>
                  </a:lnTo>
                  <a:lnTo>
                    <a:pt x="58078" y="248145"/>
                  </a:lnTo>
                  <a:cubicBezTo>
                    <a:pt x="64392" y="238975"/>
                    <a:pt x="68701" y="228101"/>
                    <a:pt x="70956" y="215824"/>
                  </a:cubicBezTo>
                  <a:cubicBezTo>
                    <a:pt x="71257" y="214371"/>
                    <a:pt x="71357" y="212868"/>
                    <a:pt x="71557" y="211164"/>
                  </a:cubicBezTo>
                  <a:lnTo>
                    <a:pt x="71958" y="207255"/>
                  </a:lnTo>
                  <a:lnTo>
                    <a:pt x="73010" y="206554"/>
                  </a:lnTo>
                  <a:cubicBezTo>
                    <a:pt x="75566" y="204850"/>
                    <a:pt x="78372" y="203798"/>
                    <a:pt x="81730" y="203146"/>
                  </a:cubicBezTo>
                  <a:lnTo>
                    <a:pt x="81930" y="201242"/>
                  </a:lnTo>
                  <a:lnTo>
                    <a:pt x="82982" y="200540"/>
                  </a:lnTo>
                  <a:cubicBezTo>
                    <a:pt x="89747" y="196081"/>
                    <a:pt x="97063" y="196331"/>
                    <a:pt x="104079" y="196582"/>
                  </a:cubicBezTo>
                  <a:cubicBezTo>
                    <a:pt x="105883" y="196632"/>
                    <a:pt x="107586" y="196632"/>
                    <a:pt x="109240" y="196682"/>
                  </a:cubicBezTo>
                  <a:cubicBezTo>
                    <a:pt x="109090" y="196231"/>
                    <a:pt x="108839" y="195730"/>
                    <a:pt x="108538" y="195179"/>
                  </a:cubicBezTo>
                  <a:lnTo>
                    <a:pt x="108188" y="194577"/>
                  </a:lnTo>
                  <a:lnTo>
                    <a:pt x="108188" y="193876"/>
                  </a:lnTo>
                  <a:cubicBezTo>
                    <a:pt x="108188" y="191120"/>
                    <a:pt x="106183" y="188614"/>
                    <a:pt x="104029" y="186009"/>
                  </a:cubicBezTo>
                  <a:cubicBezTo>
                    <a:pt x="103427" y="185257"/>
                    <a:pt x="102826" y="184555"/>
                    <a:pt x="102275" y="183804"/>
                  </a:cubicBezTo>
                  <a:cubicBezTo>
                    <a:pt x="101373" y="182601"/>
                    <a:pt x="100822" y="181448"/>
                    <a:pt x="100320" y="180496"/>
                  </a:cubicBezTo>
                  <a:lnTo>
                    <a:pt x="100020" y="179895"/>
                  </a:lnTo>
                  <a:lnTo>
                    <a:pt x="100020" y="179244"/>
                  </a:lnTo>
                  <a:cubicBezTo>
                    <a:pt x="100120" y="176137"/>
                    <a:pt x="101523" y="173181"/>
                    <a:pt x="104229" y="170374"/>
                  </a:cubicBezTo>
                  <a:lnTo>
                    <a:pt x="104730" y="169873"/>
                  </a:lnTo>
                  <a:lnTo>
                    <a:pt x="105382" y="169673"/>
                  </a:lnTo>
                  <a:cubicBezTo>
                    <a:pt x="107286" y="169122"/>
                    <a:pt x="109190" y="168771"/>
                    <a:pt x="111295" y="168670"/>
                  </a:cubicBezTo>
                  <a:cubicBezTo>
                    <a:pt x="111996" y="167117"/>
                    <a:pt x="112948" y="165664"/>
                    <a:pt x="114201" y="164361"/>
                  </a:cubicBezTo>
                  <a:lnTo>
                    <a:pt x="114702" y="163860"/>
                  </a:lnTo>
                  <a:lnTo>
                    <a:pt x="115353" y="163659"/>
                  </a:lnTo>
                  <a:cubicBezTo>
                    <a:pt x="123070" y="161304"/>
                    <a:pt x="129986" y="163259"/>
                    <a:pt x="136650" y="165163"/>
                  </a:cubicBezTo>
                  <a:cubicBezTo>
                    <a:pt x="138504" y="165714"/>
                    <a:pt x="140409" y="166215"/>
                    <a:pt x="142263" y="166666"/>
                  </a:cubicBezTo>
                  <a:cubicBezTo>
                    <a:pt x="145871" y="167468"/>
                    <a:pt x="149078" y="167568"/>
                    <a:pt x="151984" y="16691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190" name="Полилиния: фигура 189">
              <a:extLst>
                <a:ext uri="{FF2B5EF4-FFF2-40B4-BE49-F238E27FC236}">
                  <a16:creationId xmlns:a16="http://schemas.microsoft.com/office/drawing/2014/main" id="{B34ECFE1-65E1-410B-83CD-1E5775A89B7F}"/>
                </a:ext>
              </a:extLst>
            </p:cNvPr>
            <p:cNvSpPr/>
            <p:nvPr/>
          </p:nvSpPr>
          <p:spPr>
            <a:xfrm>
              <a:off x="792447" y="3724765"/>
              <a:ext cx="284719" cy="280283"/>
            </a:xfrm>
            <a:custGeom>
              <a:avLst/>
              <a:gdLst>
                <a:gd name="connsiteX0" fmla="*/ 1954 w 228301"/>
                <a:gd name="connsiteY0" fmla="*/ 179394 h 224744"/>
                <a:gd name="connsiteX1" fmla="*/ 0 w 228301"/>
                <a:gd name="connsiteY1" fmla="*/ 190769 h 224744"/>
                <a:gd name="connsiteX2" fmla="*/ 18942 w 228301"/>
                <a:gd name="connsiteY2" fmla="*/ 190769 h 224744"/>
                <a:gd name="connsiteX3" fmla="*/ 52115 w 228301"/>
                <a:gd name="connsiteY3" fmla="*/ 212918 h 224744"/>
                <a:gd name="connsiteX4" fmla="*/ 75716 w 228301"/>
                <a:gd name="connsiteY4" fmla="*/ 224644 h 224744"/>
                <a:gd name="connsiteX5" fmla="*/ 77370 w 228301"/>
                <a:gd name="connsiteY5" fmla="*/ 224744 h 224744"/>
                <a:gd name="connsiteX6" fmla="*/ 94608 w 228301"/>
                <a:gd name="connsiteY6" fmla="*/ 209961 h 224744"/>
                <a:gd name="connsiteX7" fmla="*/ 105432 w 228301"/>
                <a:gd name="connsiteY7" fmla="*/ 201593 h 224744"/>
                <a:gd name="connsiteX8" fmla="*/ 106334 w 228301"/>
                <a:gd name="connsiteY8" fmla="*/ 200691 h 224744"/>
                <a:gd name="connsiteX9" fmla="*/ 107586 w 228301"/>
                <a:gd name="connsiteY9" fmla="*/ 200841 h 224744"/>
                <a:gd name="connsiteX10" fmla="*/ 121317 w 228301"/>
                <a:gd name="connsiteY10" fmla="*/ 202345 h 224744"/>
                <a:gd name="connsiteX11" fmla="*/ 139807 w 228301"/>
                <a:gd name="connsiteY11" fmla="*/ 204249 h 224744"/>
                <a:gd name="connsiteX12" fmla="*/ 144918 w 228301"/>
                <a:gd name="connsiteY12" fmla="*/ 201643 h 224744"/>
                <a:gd name="connsiteX13" fmla="*/ 174433 w 228301"/>
                <a:gd name="connsiteY13" fmla="*/ 197584 h 224744"/>
                <a:gd name="connsiteX14" fmla="*/ 174734 w 228301"/>
                <a:gd name="connsiteY14" fmla="*/ 192774 h 224744"/>
                <a:gd name="connsiteX15" fmla="*/ 188163 w 228301"/>
                <a:gd name="connsiteY15" fmla="*/ 138555 h 224744"/>
                <a:gd name="connsiteX16" fmla="*/ 198987 w 228301"/>
                <a:gd name="connsiteY16" fmla="*/ 104480 h 224744"/>
                <a:gd name="connsiteX17" fmla="*/ 220384 w 228301"/>
                <a:gd name="connsiteY17" fmla="*/ 77971 h 224744"/>
                <a:gd name="connsiteX18" fmla="*/ 228302 w 228301"/>
                <a:gd name="connsiteY18" fmla="*/ 57176 h 224744"/>
                <a:gd name="connsiteX19" fmla="*/ 227299 w 228301"/>
                <a:gd name="connsiteY19" fmla="*/ 22900 h 224744"/>
                <a:gd name="connsiteX20" fmla="*/ 228151 w 228301"/>
                <a:gd name="connsiteY20" fmla="*/ 18090 h 224744"/>
                <a:gd name="connsiteX21" fmla="*/ 226047 w 228301"/>
                <a:gd name="connsiteY21" fmla="*/ 10072 h 224744"/>
                <a:gd name="connsiteX22" fmla="*/ 225796 w 228301"/>
                <a:gd name="connsiteY22" fmla="*/ 10072 h 224744"/>
                <a:gd name="connsiteX23" fmla="*/ 195530 w 228301"/>
                <a:gd name="connsiteY23" fmla="*/ 0 h 224744"/>
                <a:gd name="connsiteX24" fmla="*/ 165764 w 228301"/>
                <a:gd name="connsiteY24" fmla="*/ 7917 h 224744"/>
                <a:gd name="connsiteX25" fmla="*/ 125375 w 228301"/>
                <a:gd name="connsiteY25" fmla="*/ 5813 h 224744"/>
                <a:gd name="connsiteX26" fmla="*/ 100621 w 228301"/>
                <a:gd name="connsiteY26" fmla="*/ 9170 h 224744"/>
                <a:gd name="connsiteX27" fmla="*/ 86089 w 228301"/>
                <a:gd name="connsiteY27" fmla="*/ 41892 h 224744"/>
                <a:gd name="connsiteX28" fmla="*/ 78923 w 228301"/>
                <a:gd name="connsiteY28" fmla="*/ 60984 h 224744"/>
                <a:gd name="connsiteX29" fmla="*/ 46101 w 228301"/>
                <a:gd name="connsiteY29" fmla="*/ 78673 h 224744"/>
                <a:gd name="connsiteX30" fmla="*/ 35077 w 228301"/>
                <a:gd name="connsiteY30" fmla="*/ 75666 h 224744"/>
                <a:gd name="connsiteX31" fmla="*/ 31670 w 228301"/>
                <a:gd name="connsiteY31" fmla="*/ 87192 h 224744"/>
                <a:gd name="connsiteX32" fmla="*/ 33323 w 228301"/>
                <a:gd name="connsiteY32" fmla="*/ 90699 h 224744"/>
                <a:gd name="connsiteX33" fmla="*/ 31720 w 228301"/>
                <a:gd name="connsiteY33" fmla="*/ 96061 h 224744"/>
                <a:gd name="connsiteX34" fmla="*/ 47053 w 228301"/>
                <a:gd name="connsiteY34" fmla="*/ 128633 h 224744"/>
                <a:gd name="connsiteX35" fmla="*/ 44297 w 228301"/>
                <a:gd name="connsiteY35" fmla="*/ 156394 h 224744"/>
                <a:gd name="connsiteX36" fmla="*/ 23001 w 228301"/>
                <a:gd name="connsiteY36" fmla="*/ 147274 h 224744"/>
                <a:gd name="connsiteX37" fmla="*/ 9070 w 228301"/>
                <a:gd name="connsiteY37" fmla="*/ 155642 h 224744"/>
                <a:gd name="connsiteX38" fmla="*/ 1804 w 228301"/>
                <a:gd name="connsiteY38" fmla="*/ 179294 h 22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28301" h="224744">
                  <a:moveTo>
                    <a:pt x="1954" y="179394"/>
                  </a:moveTo>
                  <a:lnTo>
                    <a:pt x="0" y="190769"/>
                  </a:lnTo>
                  <a:lnTo>
                    <a:pt x="18942" y="190769"/>
                  </a:lnTo>
                  <a:lnTo>
                    <a:pt x="52115" y="212918"/>
                  </a:lnTo>
                  <a:lnTo>
                    <a:pt x="75716" y="224644"/>
                  </a:lnTo>
                  <a:lnTo>
                    <a:pt x="77370" y="224744"/>
                  </a:lnTo>
                  <a:cubicBezTo>
                    <a:pt x="82331" y="218480"/>
                    <a:pt x="88545" y="214171"/>
                    <a:pt x="94608" y="209961"/>
                  </a:cubicBezTo>
                  <a:cubicBezTo>
                    <a:pt x="98617" y="207155"/>
                    <a:pt x="102425" y="204549"/>
                    <a:pt x="105432" y="201593"/>
                  </a:cubicBezTo>
                  <a:lnTo>
                    <a:pt x="106334" y="200691"/>
                  </a:lnTo>
                  <a:lnTo>
                    <a:pt x="107586" y="200841"/>
                  </a:lnTo>
                  <a:cubicBezTo>
                    <a:pt x="112397" y="201343"/>
                    <a:pt x="116957" y="201844"/>
                    <a:pt x="121317" y="202345"/>
                  </a:cubicBezTo>
                  <a:cubicBezTo>
                    <a:pt x="127731" y="203096"/>
                    <a:pt x="133844" y="203798"/>
                    <a:pt x="139807" y="204249"/>
                  </a:cubicBezTo>
                  <a:lnTo>
                    <a:pt x="144918" y="201643"/>
                  </a:lnTo>
                  <a:lnTo>
                    <a:pt x="174433" y="197584"/>
                  </a:lnTo>
                  <a:lnTo>
                    <a:pt x="174734" y="192774"/>
                  </a:lnTo>
                  <a:lnTo>
                    <a:pt x="188163" y="138555"/>
                  </a:lnTo>
                  <a:lnTo>
                    <a:pt x="198987" y="104480"/>
                  </a:lnTo>
                  <a:lnTo>
                    <a:pt x="220384" y="77971"/>
                  </a:lnTo>
                  <a:lnTo>
                    <a:pt x="228302" y="57176"/>
                  </a:lnTo>
                  <a:lnTo>
                    <a:pt x="227299" y="22900"/>
                  </a:lnTo>
                  <a:lnTo>
                    <a:pt x="228151" y="18090"/>
                  </a:lnTo>
                  <a:lnTo>
                    <a:pt x="226047" y="10072"/>
                  </a:lnTo>
                  <a:lnTo>
                    <a:pt x="225796" y="10072"/>
                  </a:lnTo>
                  <a:cubicBezTo>
                    <a:pt x="225796" y="10072"/>
                    <a:pt x="195530" y="0"/>
                    <a:pt x="195530" y="0"/>
                  </a:cubicBezTo>
                  <a:lnTo>
                    <a:pt x="165764" y="7917"/>
                  </a:lnTo>
                  <a:lnTo>
                    <a:pt x="125375" y="5813"/>
                  </a:lnTo>
                  <a:lnTo>
                    <a:pt x="100621" y="9170"/>
                  </a:lnTo>
                  <a:lnTo>
                    <a:pt x="86089" y="41892"/>
                  </a:lnTo>
                  <a:lnTo>
                    <a:pt x="78923" y="60984"/>
                  </a:lnTo>
                  <a:lnTo>
                    <a:pt x="46101" y="78673"/>
                  </a:lnTo>
                  <a:lnTo>
                    <a:pt x="35077" y="75666"/>
                  </a:lnTo>
                  <a:lnTo>
                    <a:pt x="31670" y="87192"/>
                  </a:lnTo>
                  <a:lnTo>
                    <a:pt x="33323" y="90699"/>
                  </a:lnTo>
                  <a:lnTo>
                    <a:pt x="31720" y="96061"/>
                  </a:lnTo>
                  <a:lnTo>
                    <a:pt x="47053" y="128633"/>
                  </a:lnTo>
                  <a:lnTo>
                    <a:pt x="44297" y="156394"/>
                  </a:lnTo>
                  <a:lnTo>
                    <a:pt x="23001" y="147274"/>
                  </a:lnTo>
                  <a:lnTo>
                    <a:pt x="9070" y="155642"/>
                  </a:lnTo>
                  <a:lnTo>
                    <a:pt x="1804" y="179294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06" name="Полилиния: фигура 205">
              <a:extLst>
                <a:ext uri="{FF2B5EF4-FFF2-40B4-BE49-F238E27FC236}">
                  <a16:creationId xmlns:a16="http://schemas.microsoft.com/office/drawing/2014/main" id="{70FFAFFF-226D-4805-8219-F569AD00E1F9}"/>
                </a:ext>
              </a:extLst>
            </p:cNvPr>
            <p:cNvSpPr/>
            <p:nvPr/>
          </p:nvSpPr>
          <p:spPr>
            <a:xfrm>
              <a:off x="669648" y="4508933"/>
              <a:ext cx="34746" cy="33059"/>
            </a:xfrm>
            <a:custGeom>
              <a:avLst/>
              <a:gdLst>
                <a:gd name="connsiteX0" fmla="*/ 26859 w 27861"/>
                <a:gd name="connsiteY0" fmla="*/ 21948 h 26508"/>
                <a:gd name="connsiteX1" fmla="*/ 20996 w 27861"/>
                <a:gd name="connsiteY1" fmla="*/ 17138 h 26508"/>
                <a:gd name="connsiteX2" fmla="*/ 17338 w 27861"/>
                <a:gd name="connsiteY2" fmla="*/ 14682 h 26508"/>
                <a:gd name="connsiteX3" fmla="*/ 8569 w 27861"/>
                <a:gd name="connsiteY3" fmla="*/ 6965 h 26508"/>
                <a:gd name="connsiteX4" fmla="*/ 0 w 27861"/>
                <a:gd name="connsiteY4" fmla="*/ 0 h 26508"/>
                <a:gd name="connsiteX5" fmla="*/ 301 w 27861"/>
                <a:gd name="connsiteY5" fmla="*/ 601 h 26508"/>
                <a:gd name="connsiteX6" fmla="*/ 4259 w 27861"/>
                <a:gd name="connsiteY6" fmla="*/ 7617 h 26508"/>
                <a:gd name="connsiteX7" fmla="*/ 5011 w 27861"/>
                <a:gd name="connsiteY7" fmla="*/ 8669 h 26508"/>
                <a:gd name="connsiteX8" fmla="*/ 9320 w 27861"/>
                <a:gd name="connsiteY8" fmla="*/ 14331 h 26508"/>
                <a:gd name="connsiteX9" fmla="*/ 10172 w 27861"/>
                <a:gd name="connsiteY9" fmla="*/ 15334 h 26508"/>
                <a:gd name="connsiteX10" fmla="*/ 15634 w 27861"/>
                <a:gd name="connsiteY10" fmla="*/ 20695 h 26508"/>
                <a:gd name="connsiteX11" fmla="*/ 16937 w 27861"/>
                <a:gd name="connsiteY11" fmla="*/ 21798 h 26508"/>
                <a:gd name="connsiteX12" fmla="*/ 23401 w 27861"/>
                <a:gd name="connsiteY12" fmla="*/ 26508 h 26508"/>
                <a:gd name="connsiteX13" fmla="*/ 27360 w 27861"/>
                <a:gd name="connsiteY13" fmla="*/ 23652 h 26508"/>
                <a:gd name="connsiteX14" fmla="*/ 27861 w 27861"/>
                <a:gd name="connsiteY14" fmla="*/ 23251 h 26508"/>
                <a:gd name="connsiteX15" fmla="*/ 27611 w 27861"/>
                <a:gd name="connsiteY15" fmla="*/ 22750 h 26508"/>
                <a:gd name="connsiteX16" fmla="*/ 26959 w 27861"/>
                <a:gd name="connsiteY16" fmla="*/ 21948 h 26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861" h="26508">
                  <a:moveTo>
                    <a:pt x="26859" y="21948"/>
                  </a:moveTo>
                  <a:lnTo>
                    <a:pt x="20996" y="17138"/>
                  </a:lnTo>
                  <a:cubicBezTo>
                    <a:pt x="19693" y="16336"/>
                    <a:pt x="18491" y="15484"/>
                    <a:pt x="17338" y="14682"/>
                  </a:cubicBezTo>
                  <a:cubicBezTo>
                    <a:pt x="13881" y="12227"/>
                    <a:pt x="10974" y="9671"/>
                    <a:pt x="8569" y="6965"/>
                  </a:cubicBezTo>
                  <a:lnTo>
                    <a:pt x="0" y="0"/>
                  </a:lnTo>
                  <a:cubicBezTo>
                    <a:pt x="0" y="0"/>
                    <a:pt x="200" y="401"/>
                    <a:pt x="301" y="601"/>
                  </a:cubicBezTo>
                  <a:cubicBezTo>
                    <a:pt x="1503" y="3057"/>
                    <a:pt x="2806" y="5412"/>
                    <a:pt x="4259" y="7617"/>
                  </a:cubicBezTo>
                  <a:cubicBezTo>
                    <a:pt x="4510" y="7967"/>
                    <a:pt x="4760" y="8318"/>
                    <a:pt x="5011" y="8669"/>
                  </a:cubicBezTo>
                  <a:cubicBezTo>
                    <a:pt x="6364" y="10673"/>
                    <a:pt x="7767" y="12528"/>
                    <a:pt x="9320" y="14331"/>
                  </a:cubicBezTo>
                  <a:cubicBezTo>
                    <a:pt x="9621" y="14682"/>
                    <a:pt x="9872" y="15033"/>
                    <a:pt x="10172" y="15334"/>
                  </a:cubicBezTo>
                  <a:cubicBezTo>
                    <a:pt x="11876" y="17238"/>
                    <a:pt x="13730" y="18992"/>
                    <a:pt x="15634" y="20695"/>
                  </a:cubicBezTo>
                  <a:cubicBezTo>
                    <a:pt x="16085" y="21046"/>
                    <a:pt x="16486" y="21447"/>
                    <a:pt x="16937" y="21798"/>
                  </a:cubicBezTo>
                  <a:cubicBezTo>
                    <a:pt x="18992" y="23451"/>
                    <a:pt x="21096" y="25055"/>
                    <a:pt x="23401" y="26508"/>
                  </a:cubicBezTo>
                  <a:cubicBezTo>
                    <a:pt x="24704" y="25707"/>
                    <a:pt x="26007" y="24704"/>
                    <a:pt x="27360" y="23652"/>
                  </a:cubicBezTo>
                  <a:cubicBezTo>
                    <a:pt x="27510" y="23502"/>
                    <a:pt x="27711" y="23401"/>
                    <a:pt x="27861" y="23251"/>
                  </a:cubicBezTo>
                  <a:lnTo>
                    <a:pt x="27611" y="22750"/>
                  </a:lnTo>
                  <a:cubicBezTo>
                    <a:pt x="27460" y="22449"/>
                    <a:pt x="27210" y="22149"/>
                    <a:pt x="26959" y="2194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07" name="Полилиния: фигура 206">
              <a:extLst>
                <a:ext uri="{FF2B5EF4-FFF2-40B4-BE49-F238E27FC236}">
                  <a16:creationId xmlns:a16="http://schemas.microsoft.com/office/drawing/2014/main" id="{1C60CC9B-1748-4B7D-A352-82175A3C6380}"/>
                </a:ext>
              </a:extLst>
            </p:cNvPr>
            <p:cNvSpPr/>
            <p:nvPr/>
          </p:nvSpPr>
          <p:spPr>
            <a:xfrm>
              <a:off x="632984" y="4501870"/>
              <a:ext cx="84742" cy="75604"/>
            </a:xfrm>
            <a:custGeom>
              <a:avLst/>
              <a:gdLst>
                <a:gd name="connsiteX0" fmla="*/ 9956 w 67950"/>
                <a:gd name="connsiteY0" fmla="*/ 34175 h 60623"/>
                <a:gd name="connsiteX1" fmla="*/ 26342 w 67950"/>
                <a:gd name="connsiteY1" fmla="*/ 36280 h 60623"/>
                <a:gd name="connsiteX2" fmla="*/ 27093 w 67950"/>
                <a:gd name="connsiteY2" fmla="*/ 36380 h 60623"/>
                <a:gd name="connsiteX3" fmla="*/ 27695 w 67950"/>
                <a:gd name="connsiteY3" fmla="*/ 36831 h 60623"/>
                <a:gd name="connsiteX4" fmla="*/ 35512 w 67950"/>
                <a:gd name="connsiteY4" fmla="*/ 45350 h 60623"/>
                <a:gd name="connsiteX5" fmla="*/ 48390 w 67950"/>
                <a:gd name="connsiteY5" fmla="*/ 59731 h 60623"/>
                <a:gd name="connsiteX6" fmla="*/ 51647 w 67950"/>
                <a:gd name="connsiteY6" fmla="*/ 60332 h 60623"/>
                <a:gd name="connsiteX7" fmla="*/ 66530 w 67950"/>
                <a:gd name="connsiteY7" fmla="*/ 52465 h 60623"/>
                <a:gd name="connsiteX8" fmla="*/ 67632 w 67950"/>
                <a:gd name="connsiteY8" fmla="*/ 48807 h 60623"/>
                <a:gd name="connsiteX9" fmla="*/ 59765 w 67950"/>
                <a:gd name="connsiteY9" fmla="*/ 33874 h 60623"/>
                <a:gd name="connsiteX10" fmla="*/ 58663 w 67950"/>
                <a:gd name="connsiteY10" fmla="*/ 34676 h 60623"/>
                <a:gd name="connsiteX11" fmla="*/ 57711 w 67950"/>
                <a:gd name="connsiteY11" fmla="*/ 35378 h 60623"/>
                <a:gd name="connsiteX12" fmla="*/ 54103 w 67950"/>
                <a:gd name="connsiteY12" fmla="*/ 37733 h 60623"/>
                <a:gd name="connsiteX13" fmla="*/ 52750 w 67950"/>
                <a:gd name="connsiteY13" fmla="*/ 38535 h 60623"/>
                <a:gd name="connsiteX14" fmla="*/ 51397 w 67950"/>
                <a:gd name="connsiteY14" fmla="*/ 37733 h 60623"/>
                <a:gd name="connsiteX15" fmla="*/ 46135 w 67950"/>
                <a:gd name="connsiteY15" fmla="*/ 34275 h 60623"/>
                <a:gd name="connsiteX16" fmla="*/ 44682 w 67950"/>
                <a:gd name="connsiteY16" fmla="*/ 33123 h 60623"/>
                <a:gd name="connsiteX17" fmla="*/ 41325 w 67950"/>
                <a:gd name="connsiteY17" fmla="*/ 30467 h 60623"/>
                <a:gd name="connsiteX18" fmla="*/ 39671 w 67950"/>
                <a:gd name="connsiteY18" fmla="*/ 28913 h 60623"/>
                <a:gd name="connsiteX19" fmla="*/ 36915 w 67950"/>
                <a:gd name="connsiteY19" fmla="*/ 26308 h 60623"/>
                <a:gd name="connsiteX20" fmla="*/ 35261 w 67950"/>
                <a:gd name="connsiteY20" fmla="*/ 24454 h 60623"/>
                <a:gd name="connsiteX21" fmla="*/ 32906 w 67950"/>
                <a:gd name="connsiteY21" fmla="*/ 21748 h 60623"/>
                <a:gd name="connsiteX22" fmla="*/ 31353 w 67950"/>
                <a:gd name="connsiteY22" fmla="*/ 19643 h 60623"/>
                <a:gd name="connsiteX23" fmla="*/ 29298 w 67950"/>
                <a:gd name="connsiteY23" fmla="*/ 16787 h 60623"/>
                <a:gd name="connsiteX24" fmla="*/ 27895 w 67950"/>
                <a:gd name="connsiteY24" fmla="*/ 14432 h 60623"/>
                <a:gd name="connsiteX25" fmla="*/ 26091 w 67950"/>
                <a:gd name="connsiteY25" fmla="*/ 11375 h 60623"/>
                <a:gd name="connsiteX26" fmla="*/ 24788 w 67950"/>
                <a:gd name="connsiteY26" fmla="*/ 8769 h 60623"/>
                <a:gd name="connsiteX27" fmla="*/ 23235 w 67950"/>
                <a:gd name="connsiteY27" fmla="*/ 5512 h 60623"/>
                <a:gd name="connsiteX28" fmla="*/ 22082 w 67950"/>
                <a:gd name="connsiteY28" fmla="*/ 2656 h 60623"/>
                <a:gd name="connsiteX29" fmla="*/ 21030 w 67950"/>
                <a:gd name="connsiteY29" fmla="*/ 0 h 60623"/>
                <a:gd name="connsiteX30" fmla="*/ 20228 w 67950"/>
                <a:gd name="connsiteY30" fmla="*/ 100 h 60623"/>
                <a:gd name="connsiteX31" fmla="*/ 1788 w 67950"/>
                <a:gd name="connsiteY31" fmla="*/ 6765 h 60623"/>
                <a:gd name="connsiteX32" fmla="*/ 34 w 67950"/>
                <a:gd name="connsiteY32" fmla="*/ 9772 h 60623"/>
                <a:gd name="connsiteX33" fmla="*/ 3892 w 67950"/>
                <a:gd name="connsiteY33" fmla="*/ 32221 h 60623"/>
                <a:gd name="connsiteX34" fmla="*/ 4594 w 67950"/>
                <a:gd name="connsiteY34" fmla="*/ 33524 h 60623"/>
                <a:gd name="connsiteX35" fmla="*/ 4794 w 67950"/>
                <a:gd name="connsiteY35" fmla="*/ 33724 h 60623"/>
                <a:gd name="connsiteX36" fmla="*/ 9906 w 67950"/>
                <a:gd name="connsiteY36" fmla="*/ 34375 h 6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7950" h="60623">
                  <a:moveTo>
                    <a:pt x="9956" y="34175"/>
                  </a:moveTo>
                  <a:cubicBezTo>
                    <a:pt x="15618" y="34876"/>
                    <a:pt x="21281" y="35628"/>
                    <a:pt x="26342" y="36280"/>
                  </a:cubicBezTo>
                  <a:lnTo>
                    <a:pt x="27093" y="36380"/>
                  </a:lnTo>
                  <a:lnTo>
                    <a:pt x="27695" y="36831"/>
                  </a:lnTo>
                  <a:cubicBezTo>
                    <a:pt x="31052" y="39487"/>
                    <a:pt x="33558" y="42594"/>
                    <a:pt x="35512" y="45350"/>
                  </a:cubicBezTo>
                  <a:lnTo>
                    <a:pt x="48390" y="59731"/>
                  </a:lnTo>
                  <a:cubicBezTo>
                    <a:pt x="49192" y="60633"/>
                    <a:pt x="50545" y="60884"/>
                    <a:pt x="51647" y="60332"/>
                  </a:cubicBezTo>
                  <a:lnTo>
                    <a:pt x="66530" y="52465"/>
                  </a:lnTo>
                  <a:cubicBezTo>
                    <a:pt x="67833" y="51764"/>
                    <a:pt x="68334" y="50160"/>
                    <a:pt x="67632" y="48807"/>
                  </a:cubicBezTo>
                  <a:lnTo>
                    <a:pt x="59765" y="33874"/>
                  </a:lnTo>
                  <a:cubicBezTo>
                    <a:pt x="59414" y="34175"/>
                    <a:pt x="59064" y="34375"/>
                    <a:pt x="58663" y="34676"/>
                  </a:cubicBezTo>
                  <a:cubicBezTo>
                    <a:pt x="58362" y="34927"/>
                    <a:pt x="58011" y="35177"/>
                    <a:pt x="57711" y="35378"/>
                  </a:cubicBezTo>
                  <a:cubicBezTo>
                    <a:pt x="56508" y="36230"/>
                    <a:pt x="55305" y="37031"/>
                    <a:pt x="54103" y="37733"/>
                  </a:cubicBezTo>
                  <a:lnTo>
                    <a:pt x="52750" y="38535"/>
                  </a:lnTo>
                  <a:lnTo>
                    <a:pt x="51397" y="37733"/>
                  </a:lnTo>
                  <a:cubicBezTo>
                    <a:pt x="49543" y="36630"/>
                    <a:pt x="47789" y="35478"/>
                    <a:pt x="46135" y="34275"/>
                  </a:cubicBezTo>
                  <a:cubicBezTo>
                    <a:pt x="45634" y="33924"/>
                    <a:pt x="45183" y="33474"/>
                    <a:pt x="44682" y="33123"/>
                  </a:cubicBezTo>
                  <a:cubicBezTo>
                    <a:pt x="43529" y="32271"/>
                    <a:pt x="42427" y="31419"/>
                    <a:pt x="41325" y="30467"/>
                  </a:cubicBezTo>
                  <a:cubicBezTo>
                    <a:pt x="40773" y="29966"/>
                    <a:pt x="40222" y="29415"/>
                    <a:pt x="39671" y="28913"/>
                  </a:cubicBezTo>
                  <a:cubicBezTo>
                    <a:pt x="38719" y="28062"/>
                    <a:pt x="37817" y="27210"/>
                    <a:pt x="36915" y="26308"/>
                  </a:cubicBezTo>
                  <a:cubicBezTo>
                    <a:pt x="36364" y="25707"/>
                    <a:pt x="35813" y="25055"/>
                    <a:pt x="35261" y="24454"/>
                  </a:cubicBezTo>
                  <a:cubicBezTo>
                    <a:pt x="34460" y="23552"/>
                    <a:pt x="33658" y="22700"/>
                    <a:pt x="32906" y="21748"/>
                  </a:cubicBezTo>
                  <a:cubicBezTo>
                    <a:pt x="32355" y="21046"/>
                    <a:pt x="31854" y="20345"/>
                    <a:pt x="31353" y="19643"/>
                  </a:cubicBezTo>
                  <a:cubicBezTo>
                    <a:pt x="30651" y="18691"/>
                    <a:pt x="29950" y="17789"/>
                    <a:pt x="29298" y="16787"/>
                  </a:cubicBezTo>
                  <a:cubicBezTo>
                    <a:pt x="28797" y="16035"/>
                    <a:pt x="28346" y="15233"/>
                    <a:pt x="27895" y="14432"/>
                  </a:cubicBezTo>
                  <a:cubicBezTo>
                    <a:pt x="27294" y="13429"/>
                    <a:pt x="26692" y="12427"/>
                    <a:pt x="26091" y="11375"/>
                  </a:cubicBezTo>
                  <a:cubicBezTo>
                    <a:pt x="25640" y="10523"/>
                    <a:pt x="25239" y="9621"/>
                    <a:pt x="24788" y="8769"/>
                  </a:cubicBezTo>
                  <a:cubicBezTo>
                    <a:pt x="24287" y="7717"/>
                    <a:pt x="23736" y="6665"/>
                    <a:pt x="23235" y="5512"/>
                  </a:cubicBezTo>
                  <a:cubicBezTo>
                    <a:pt x="22834" y="4560"/>
                    <a:pt x="22433" y="3608"/>
                    <a:pt x="22082" y="2656"/>
                  </a:cubicBezTo>
                  <a:cubicBezTo>
                    <a:pt x="21732" y="1754"/>
                    <a:pt x="21331" y="952"/>
                    <a:pt x="21030" y="0"/>
                  </a:cubicBezTo>
                  <a:cubicBezTo>
                    <a:pt x="20780" y="0"/>
                    <a:pt x="20529" y="0"/>
                    <a:pt x="20228" y="100"/>
                  </a:cubicBezTo>
                  <a:lnTo>
                    <a:pt x="1788" y="6765"/>
                  </a:lnTo>
                  <a:cubicBezTo>
                    <a:pt x="535" y="7216"/>
                    <a:pt x="-167" y="8469"/>
                    <a:pt x="34" y="9772"/>
                  </a:cubicBezTo>
                  <a:lnTo>
                    <a:pt x="3892" y="32221"/>
                  </a:lnTo>
                  <a:cubicBezTo>
                    <a:pt x="3993" y="32722"/>
                    <a:pt x="4243" y="33173"/>
                    <a:pt x="4594" y="33524"/>
                  </a:cubicBezTo>
                  <a:cubicBezTo>
                    <a:pt x="4644" y="33574"/>
                    <a:pt x="4694" y="33624"/>
                    <a:pt x="4794" y="33724"/>
                  </a:cubicBezTo>
                  <a:cubicBezTo>
                    <a:pt x="6498" y="33924"/>
                    <a:pt x="8202" y="34175"/>
                    <a:pt x="9906" y="34375"/>
                  </a:cubicBezTo>
                  <a:close/>
                </a:path>
              </a:pathLst>
            </a:custGeom>
            <a:solidFill>
              <a:srgbClr val="00B05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08" name="Полилиния: фигура 207">
              <a:extLst>
                <a:ext uri="{FF2B5EF4-FFF2-40B4-BE49-F238E27FC236}">
                  <a16:creationId xmlns:a16="http://schemas.microsoft.com/office/drawing/2014/main" id="{25A3565B-5D56-4F80-BB34-0D94739DA39E}"/>
                </a:ext>
              </a:extLst>
            </p:cNvPr>
            <p:cNvSpPr/>
            <p:nvPr/>
          </p:nvSpPr>
          <p:spPr>
            <a:xfrm>
              <a:off x="658275" y="4501621"/>
              <a:ext cx="999" cy="187"/>
            </a:xfrm>
            <a:custGeom>
              <a:avLst/>
              <a:gdLst>
                <a:gd name="connsiteX0" fmla="*/ 752 w 801"/>
                <a:gd name="connsiteY0" fmla="*/ 0 h 150"/>
                <a:gd name="connsiteX1" fmla="*/ 0 w 801"/>
                <a:gd name="connsiteY1" fmla="*/ 150 h 150"/>
                <a:gd name="connsiteX2" fmla="*/ 802 w 801"/>
                <a:gd name="connsiteY2" fmla="*/ 50 h 150"/>
                <a:gd name="connsiteX3" fmla="*/ 802 w 801"/>
                <a:gd name="connsiteY3" fmla="*/ 50 h 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1" h="150">
                  <a:moveTo>
                    <a:pt x="752" y="0"/>
                  </a:moveTo>
                  <a:cubicBezTo>
                    <a:pt x="752" y="0"/>
                    <a:pt x="251" y="0"/>
                    <a:pt x="0" y="150"/>
                  </a:cubicBezTo>
                  <a:cubicBezTo>
                    <a:pt x="251" y="50"/>
                    <a:pt x="551" y="50"/>
                    <a:pt x="802" y="50"/>
                  </a:cubicBezTo>
                  <a:cubicBezTo>
                    <a:pt x="802" y="50"/>
                    <a:pt x="802" y="50"/>
                    <a:pt x="802" y="5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09" name="Полилиния: фигура 208">
              <a:extLst>
                <a:ext uri="{FF2B5EF4-FFF2-40B4-BE49-F238E27FC236}">
                  <a16:creationId xmlns:a16="http://schemas.microsoft.com/office/drawing/2014/main" id="{4D3B5575-53FD-477D-8CBB-06B589FE692B}"/>
                </a:ext>
              </a:extLst>
            </p:cNvPr>
            <p:cNvSpPr/>
            <p:nvPr/>
          </p:nvSpPr>
          <p:spPr>
            <a:xfrm>
              <a:off x="638776" y="4543366"/>
              <a:ext cx="249" cy="249"/>
            </a:xfrm>
            <a:custGeom>
              <a:avLst/>
              <a:gdLst>
                <a:gd name="connsiteX0" fmla="*/ 0 w 200"/>
                <a:gd name="connsiteY0" fmla="*/ 50 h 200"/>
                <a:gd name="connsiteX1" fmla="*/ 100 w 200"/>
                <a:gd name="connsiteY1" fmla="*/ 200 h 200"/>
                <a:gd name="connsiteX2" fmla="*/ 200 w 200"/>
                <a:gd name="connsiteY2" fmla="*/ 200 h 200"/>
                <a:gd name="connsiteX3" fmla="*/ 0 w 200"/>
                <a:gd name="connsiteY3" fmla="*/ 0 h 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" h="200">
                  <a:moveTo>
                    <a:pt x="0" y="50"/>
                  </a:moveTo>
                  <a:cubicBezTo>
                    <a:pt x="0" y="50"/>
                    <a:pt x="0" y="150"/>
                    <a:pt x="100" y="200"/>
                  </a:cubicBezTo>
                  <a:cubicBezTo>
                    <a:pt x="100" y="200"/>
                    <a:pt x="150" y="200"/>
                    <a:pt x="200" y="200"/>
                  </a:cubicBezTo>
                  <a:cubicBezTo>
                    <a:pt x="150" y="150"/>
                    <a:pt x="100" y="100"/>
                    <a:pt x="0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10" name="Полилиния: фигура 209">
              <a:extLst>
                <a:ext uri="{FF2B5EF4-FFF2-40B4-BE49-F238E27FC236}">
                  <a16:creationId xmlns:a16="http://schemas.microsoft.com/office/drawing/2014/main" id="{4D455D8F-FBB0-4C4B-AD43-51F07B066DE6}"/>
                </a:ext>
              </a:extLst>
            </p:cNvPr>
            <p:cNvSpPr/>
            <p:nvPr/>
          </p:nvSpPr>
          <p:spPr>
            <a:xfrm>
              <a:off x="677210" y="4558303"/>
              <a:ext cx="16060" cy="17935"/>
            </a:xfrm>
            <a:custGeom>
              <a:avLst/>
              <a:gdLst>
                <a:gd name="connsiteX0" fmla="*/ 100 w 12878"/>
                <a:gd name="connsiteY0" fmla="*/ 150 h 14381"/>
                <a:gd name="connsiteX1" fmla="*/ 12878 w 12878"/>
                <a:gd name="connsiteY1" fmla="*/ 14382 h 14381"/>
                <a:gd name="connsiteX2" fmla="*/ 0 w 12878"/>
                <a:gd name="connsiteY2" fmla="*/ 0 h 14381"/>
                <a:gd name="connsiteX3" fmla="*/ 100 w 12878"/>
                <a:gd name="connsiteY3" fmla="*/ 150 h 1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78" h="14381">
                  <a:moveTo>
                    <a:pt x="100" y="150"/>
                  </a:moveTo>
                  <a:lnTo>
                    <a:pt x="12878" y="14382"/>
                  </a:lnTo>
                  <a:lnTo>
                    <a:pt x="0" y="0"/>
                  </a:lnTo>
                  <a:cubicBezTo>
                    <a:pt x="0" y="0"/>
                    <a:pt x="50" y="100"/>
                    <a:pt x="100" y="15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11" name="Полилиния: фигура 210">
              <a:extLst>
                <a:ext uri="{FF2B5EF4-FFF2-40B4-BE49-F238E27FC236}">
                  <a16:creationId xmlns:a16="http://schemas.microsoft.com/office/drawing/2014/main" id="{B22D2F5E-3309-4903-A00C-D1E2D79FA6F4}"/>
                </a:ext>
              </a:extLst>
            </p:cNvPr>
            <p:cNvSpPr/>
            <p:nvPr/>
          </p:nvSpPr>
          <p:spPr>
            <a:xfrm>
              <a:off x="707520" y="4543991"/>
              <a:ext cx="9811" cy="18622"/>
            </a:xfrm>
            <a:custGeom>
              <a:avLst/>
              <a:gdLst>
                <a:gd name="connsiteX0" fmla="*/ 0 w 7867"/>
                <a:gd name="connsiteY0" fmla="*/ 0 h 14932"/>
                <a:gd name="connsiteX1" fmla="*/ 0 w 7867"/>
                <a:gd name="connsiteY1" fmla="*/ 0 h 14932"/>
                <a:gd name="connsiteX2" fmla="*/ 7867 w 7867"/>
                <a:gd name="connsiteY2" fmla="*/ 14933 h 14932"/>
                <a:gd name="connsiteX3" fmla="*/ 0 w 7867"/>
                <a:gd name="connsiteY3" fmla="*/ 0 h 14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7" h="14932">
                  <a:moveTo>
                    <a:pt x="0" y="0"/>
                  </a:moveTo>
                  <a:lnTo>
                    <a:pt x="0" y="0"/>
                  </a:lnTo>
                  <a:lnTo>
                    <a:pt x="7867" y="1493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12" name="Полилиния: фигура 211">
              <a:extLst>
                <a:ext uri="{FF2B5EF4-FFF2-40B4-BE49-F238E27FC236}">
                  <a16:creationId xmlns:a16="http://schemas.microsoft.com/office/drawing/2014/main" id="{9E77A219-8DB5-4D77-9864-E46107E34066}"/>
                </a:ext>
              </a:extLst>
            </p:cNvPr>
            <p:cNvSpPr/>
            <p:nvPr/>
          </p:nvSpPr>
          <p:spPr>
            <a:xfrm>
              <a:off x="676898" y="4532180"/>
              <a:ext cx="2061" cy="2312"/>
            </a:xfrm>
            <a:custGeom>
              <a:avLst/>
              <a:gdLst>
                <a:gd name="connsiteX0" fmla="*/ 1654 w 1653"/>
                <a:gd name="connsiteY0" fmla="*/ 1854 h 1854"/>
                <a:gd name="connsiteX1" fmla="*/ 0 w 1653"/>
                <a:gd name="connsiteY1" fmla="*/ 0 h 1854"/>
                <a:gd name="connsiteX2" fmla="*/ 1654 w 1653"/>
                <a:gd name="connsiteY2" fmla="*/ 1854 h 1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3" h="1854">
                  <a:moveTo>
                    <a:pt x="1654" y="1854"/>
                  </a:moveTo>
                  <a:cubicBezTo>
                    <a:pt x="1102" y="1253"/>
                    <a:pt x="551" y="601"/>
                    <a:pt x="0" y="0"/>
                  </a:cubicBezTo>
                  <a:cubicBezTo>
                    <a:pt x="551" y="601"/>
                    <a:pt x="1052" y="1253"/>
                    <a:pt x="1654" y="1854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13" name="Полилиния: фигура 212">
              <a:extLst>
                <a:ext uri="{FF2B5EF4-FFF2-40B4-BE49-F238E27FC236}">
                  <a16:creationId xmlns:a16="http://schemas.microsoft.com/office/drawing/2014/main" id="{A02C7A65-6CDC-49F9-B80A-A39B284629EE}"/>
                </a:ext>
              </a:extLst>
            </p:cNvPr>
            <p:cNvSpPr/>
            <p:nvPr/>
          </p:nvSpPr>
          <p:spPr>
            <a:xfrm>
              <a:off x="667774" y="4519682"/>
              <a:ext cx="1750" cy="2937"/>
            </a:xfrm>
            <a:custGeom>
              <a:avLst/>
              <a:gdLst>
                <a:gd name="connsiteX0" fmla="*/ 1403 w 1403"/>
                <a:gd name="connsiteY0" fmla="*/ 2355 h 2355"/>
                <a:gd name="connsiteX1" fmla="*/ 0 w 1403"/>
                <a:gd name="connsiteY1" fmla="*/ 0 h 2355"/>
                <a:gd name="connsiteX2" fmla="*/ 1403 w 1403"/>
                <a:gd name="connsiteY2" fmla="*/ 2355 h 2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3" h="2355">
                  <a:moveTo>
                    <a:pt x="1403" y="2355"/>
                  </a:moveTo>
                  <a:cubicBezTo>
                    <a:pt x="902" y="1604"/>
                    <a:pt x="451" y="802"/>
                    <a:pt x="0" y="0"/>
                  </a:cubicBezTo>
                  <a:cubicBezTo>
                    <a:pt x="451" y="802"/>
                    <a:pt x="952" y="1604"/>
                    <a:pt x="1403" y="235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14" name="Полилиния: фигура 213">
              <a:extLst>
                <a:ext uri="{FF2B5EF4-FFF2-40B4-BE49-F238E27FC236}">
                  <a16:creationId xmlns:a16="http://schemas.microsoft.com/office/drawing/2014/main" id="{B9C22925-A56C-46DD-9DB2-70F3C75D799E}"/>
                </a:ext>
              </a:extLst>
            </p:cNvPr>
            <p:cNvSpPr/>
            <p:nvPr/>
          </p:nvSpPr>
          <p:spPr>
            <a:xfrm>
              <a:off x="672085" y="4526180"/>
              <a:ext cx="1937" cy="2624"/>
            </a:xfrm>
            <a:custGeom>
              <a:avLst/>
              <a:gdLst>
                <a:gd name="connsiteX0" fmla="*/ 1553 w 1553"/>
                <a:gd name="connsiteY0" fmla="*/ 2105 h 2104"/>
                <a:gd name="connsiteX1" fmla="*/ 0 w 1553"/>
                <a:gd name="connsiteY1" fmla="*/ 0 h 2104"/>
                <a:gd name="connsiteX2" fmla="*/ 1553 w 1553"/>
                <a:gd name="connsiteY2" fmla="*/ 2105 h 2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53" h="2104">
                  <a:moveTo>
                    <a:pt x="1553" y="2105"/>
                  </a:moveTo>
                  <a:cubicBezTo>
                    <a:pt x="1002" y="1403"/>
                    <a:pt x="501" y="701"/>
                    <a:pt x="0" y="0"/>
                  </a:cubicBezTo>
                  <a:cubicBezTo>
                    <a:pt x="501" y="701"/>
                    <a:pt x="1002" y="1453"/>
                    <a:pt x="1553" y="210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15" name="Полилиния: фигура 214">
              <a:extLst>
                <a:ext uri="{FF2B5EF4-FFF2-40B4-BE49-F238E27FC236}">
                  <a16:creationId xmlns:a16="http://schemas.microsoft.com/office/drawing/2014/main" id="{5E2F4354-E01A-4348-A005-5FD14754DECF}"/>
                </a:ext>
              </a:extLst>
            </p:cNvPr>
            <p:cNvSpPr/>
            <p:nvPr/>
          </p:nvSpPr>
          <p:spPr>
            <a:xfrm>
              <a:off x="688646" y="4543054"/>
              <a:ext cx="1812" cy="1437"/>
            </a:xfrm>
            <a:custGeom>
              <a:avLst/>
              <a:gdLst>
                <a:gd name="connsiteX0" fmla="*/ 1453 w 1453"/>
                <a:gd name="connsiteY0" fmla="*/ 1153 h 1152"/>
                <a:gd name="connsiteX1" fmla="*/ 0 w 1453"/>
                <a:gd name="connsiteY1" fmla="*/ 0 h 1152"/>
                <a:gd name="connsiteX2" fmla="*/ 1453 w 1453"/>
                <a:gd name="connsiteY2" fmla="*/ 1153 h 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3" h="1152">
                  <a:moveTo>
                    <a:pt x="1453" y="1153"/>
                  </a:moveTo>
                  <a:cubicBezTo>
                    <a:pt x="952" y="802"/>
                    <a:pt x="451" y="351"/>
                    <a:pt x="0" y="0"/>
                  </a:cubicBezTo>
                  <a:cubicBezTo>
                    <a:pt x="501" y="401"/>
                    <a:pt x="952" y="802"/>
                    <a:pt x="1453" y="115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16" name="Полилиния: фигура 215">
              <a:extLst>
                <a:ext uri="{FF2B5EF4-FFF2-40B4-BE49-F238E27FC236}">
                  <a16:creationId xmlns:a16="http://schemas.microsoft.com/office/drawing/2014/main" id="{64DC649C-A79A-4F17-AC23-527C82E64BAB}"/>
                </a:ext>
              </a:extLst>
            </p:cNvPr>
            <p:cNvSpPr/>
            <p:nvPr/>
          </p:nvSpPr>
          <p:spPr>
            <a:xfrm>
              <a:off x="704957" y="4544991"/>
              <a:ext cx="1187" cy="874"/>
            </a:xfrm>
            <a:custGeom>
              <a:avLst/>
              <a:gdLst>
                <a:gd name="connsiteX0" fmla="*/ 952 w 952"/>
                <a:gd name="connsiteY0" fmla="*/ 0 h 701"/>
                <a:gd name="connsiteX1" fmla="*/ 0 w 952"/>
                <a:gd name="connsiteY1" fmla="*/ 702 h 701"/>
                <a:gd name="connsiteX2" fmla="*/ 952 w 952"/>
                <a:gd name="connsiteY2" fmla="*/ 0 h 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" h="701">
                  <a:moveTo>
                    <a:pt x="952" y="0"/>
                  </a:moveTo>
                  <a:cubicBezTo>
                    <a:pt x="601" y="251"/>
                    <a:pt x="301" y="501"/>
                    <a:pt x="0" y="702"/>
                  </a:cubicBezTo>
                  <a:cubicBezTo>
                    <a:pt x="301" y="501"/>
                    <a:pt x="651" y="251"/>
                    <a:pt x="952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17" name="Полилиния: фигура 216">
              <a:extLst>
                <a:ext uri="{FF2B5EF4-FFF2-40B4-BE49-F238E27FC236}">
                  <a16:creationId xmlns:a16="http://schemas.microsoft.com/office/drawing/2014/main" id="{EF50BB8F-A0C4-4BC9-AC0C-39CA649AEEB4}"/>
                </a:ext>
              </a:extLst>
            </p:cNvPr>
            <p:cNvSpPr/>
            <p:nvPr/>
          </p:nvSpPr>
          <p:spPr>
            <a:xfrm>
              <a:off x="663899" y="4512619"/>
              <a:ext cx="1624" cy="3249"/>
            </a:xfrm>
            <a:custGeom>
              <a:avLst/>
              <a:gdLst>
                <a:gd name="connsiteX0" fmla="*/ 1303 w 1302"/>
                <a:gd name="connsiteY0" fmla="*/ 2606 h 2605"/>
                <a:gd name="connsiteX1" fmla="*/ 0 w 1302"/>
                <a:gd name="connsiteY1" fmla="*/ 0 h 2605"/>
                <a:gd name="connsiteX2" fmla="*/ 1303 w 1302"/>
                <a:gd name="connsiteY2" fmla="*/ 2606 h 2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02" h="2605">
                  <a:moveTo>
                    <a:pt x="1303" y="2606"/>
                  </a:moveTo>
                  <a:cubicBezTo>
                    <a:pt x="852" y="1754"/>
                    <a:pt x="451" y="852"/>
                    <a:pt x="0" y="0"/>
                  </a:cubicBezTo>
                  <a:cubicBezTo>
                    <a:pt x="451" y="852"/>
                    <a:pt x="852" y="1754"/>
                    <a:pt x="1303" y="260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18" name="Полилиния: фигура 217">
              <a:extLst>
                <a:ext uri="{FF2B5EF4-FFF2-40B4-BE49-F238E27FC236}">
                  <a16:creationId xmlns:a16="http://schemas.microsoft.com/office/drawing/2014/main" id="{FC04C464-3527-4454-AF8F-31FE5180D22D}"/>
                </a:ext>
              </a:extLst>
            </p:cNvPr>
            <p:cNvSpPr/>
            <p:nvPr/>
          </p:nvSpPr>
          <p:spPr>
            <a:xfrm>
              <a:off x="660524" y="4504996"/>
              <a:ext cx="1437" cy="3562"/>
            </a:xfrm>
            <a:custGeom>
              <a:avLst/>
              <a:gdLst>
                <a:gd name="connsiteX0" fmla="*/ 1153 w 1152"/>
                <a:gd name="connsiteY0" fmla="*/ 2856 h 2856"/>
                <a:gd name="connsiteX1" fmla="*/ 0 w 1152"/>
                <a:gd name="connsiteY1" fmla="*/ 0 h 2856"/>
                <a:gd name="connsiteX2" fmla="*/ 1153 w 1152"/>
                <a:gd name="connsiteY2" fmla="*/ 2856 h 2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2856">
                  <a:moveTo>
                    <a:pt x="1153" y="2856"/>
                  </a:moveTo>
                  <a:cubicBezTo>
                    <a:pt x="752" y="1904"/>
                    <a:pt x="351" y="952"/>
                    <a:pt x="0" y="0"/>
                  </a:cubicBezTo>
                  <a:cubicBezTo>
                    <a:pt x="401" y="952"/>
                    <a:pt x="752" y="1954"/>
                    <a:pt x="1153" y="285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19" name="Полилиния: фигура 218">
              <a:extLst>
                <a:ext uri="{FF2B5EF4-FFF2-40B4-BE49-F238E27FC236}">
                  <a16:creationId xmlns:a16="http://schemas.microsoft.com/office/drawing/2014/main" id="{57698A58-BE26-4B6E-AF7D-1EDC6BE6043B}"/>
                </a:ext>
              </a:extLst>
            </p:cNvPr>
            <p:cNvSpPr/>
            <p:nvPr/>
          </p:nvSpPr>
          <p:spPr>
            <a:xfrm>
              <a:off x="682396" y="4537741"/>
              <a:ext cx="2061" cy="1937"/>
            </a:xfrm>
            <a:custGeom>
              <a:avLst/>
              <a:gdLst>
                <a:gd name="connsiteX0" fmla="*/ 1654 w 1653"/>
                <a:gd name="connsiteY0" fmla="*/ 1553 h 1553"/>
                <a:gd name="connsiteX1" fmla="*/ 0 w 1653"/>
                <a:gd name="connsiteY1" fmla="*/ 0 h 1553"/>
                <a:gd name="connsiteX2" fmla="*/ 1654 w 1653"/>
                <a:gd name="connsiteY2" fmla="*/ 1553 h 1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3" h="1553">
                  <a:moveTo>
                    <a:pt x="1654" y="1553"/>
                  </a:moveTo>
                  <a:cubicBezTo>
                    <a:pt x="1102" y="1052"/>
                    <a:pt x="551" y="501"/>
                    <a:pt x="0" y="0"/>
                  </a:cubicBezTo>
                  <a:cubicBezTo>
                    <a:pt x="551" y="501"/>
                    <a:pt x="1052" y="1052"/>
                    <a:pt x="1654" y="155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20" name="Полилиния: фигура 219">
              <a:extLst>
                <a:ext uri="{FF2B5EF4-FFF2-40B4-BE49-F238E27FC236}">
                  <a16:creationId xmlns:a16="http://schemas.microsoft.com/office/drawing/2014/main" id="{A2E1CF3A-4A83-4F92-9E67-C6C0CD63E611}"/>
                </a:ext>
              </a:extLst>
            </p:cNvPr>
            <p:cNvSpPr/>
            <p:nvPr/>
          </p:nvSpPr>
          <p:spPr>
            <a:xfrm>
              <a:off x="639026" y="4543679"/>
              <a:ext cx="6374" cy="812"/>
            </a:xfrm>
            <a:custGeom>
              <a:avLst/>
              <a:gdLst>
                <a:gd name="connsiteX0" fmla="*/ 0 w 5111"/>
                <a:gd name="connsiteY0" fmla="*/ 0 h 651"/>
                <a:gd name="connsiteX1" fmla="*/ 0 w 5111"/>
                <a:gd name="connsiteY1" fmla="*/ 0 h 651"/>
                <a:gd name="connsiteX2" fmla="*/ 5111 w 5111"/>
                <a:gd name="connsiteY2" fmla="*/ 651 h 651"/>
                <a:gd name="connsiteX3" fmla="*/ 0 w 5111"/>
                <a:gd name="connsiteY3" fmla="*/ 0 h 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11" h="65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704" y="200"/>
                    <a:pt x="3407" y="401"/>
                    <a:pt x="5111" y="651"/>
                  </a:cubicBezTo>
                  <a:cubicBezTo>
                    <a:pt x="3407" y="451"/>
                    <a:pt x="1704" y="200"/>
                    <a:pt x="0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  <p:sp>
          <p:nvSpPr>
            <p:cNvPr id="221" name="Полилиния: фигура 220">
              <a:extLst>
                <a:ext uri="{FF2B5EF4-FFF2-40B4-BE49-F238E27FC236}">
                  <a16:creationId xmlns:a16="http://schemas.microsoft.com/office/drawing/2014/main" id="{0608B1A2-1E43-4FF9-8428-4A6DB7E45247}"/>
                </a:ext>
              </a:extLst>
            </p:cNvPr>
            <p:cNvSpPr/>
            <p:nvPr/>
          </p:nvSpPr>
          <p:spPr>
            <a:xfrm>
              <a:off x="638902" y="4543679"/>
              <a:ext cx="125" cy="6249"/>
            </a:xfrm>
            <a:custGeom>
              <a:avLst/>
              <a:gdLst>
                <a:gd name="connsiteX0" fmla="*/ 0 w 100"/>
                <a:gd name="connsiteY0" fmla="*/ 0 h 5011"/>
                <a:gd name="connsiteX1" fmla="*/ 0 w 100"/>
                <a:gd name="connsiteY1" fmla="*/ 0 h 5011"/>
                <a:gd name="connsiteX2" fmla="*/ 100 w 100"/>
                <a:gd name="connsiteY2" fmla="*/ 0 h 5011"/>
                <a:gd name="connsiteX3" fmla="*/ 100 w 100"/>
                <a:gd name="connsiteY3" fmla="*/ 0 h 5011"/>
                <a:gd name="connsiteX4" fmla="*/ 0 w 100"/>
                <a:gd name="connsiteY4" fmla="*/ 0 h 5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" h="50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5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50" y="0"/>
                    <a:pt x="0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</p:grpSp>
    </p:spTree>
    <p:extLst>
      <p:ext uri="{BB962C8B-B14F-4D97-AF65-F5344CB8AC3E}">
        <p14:creationId xmlns:p14="http://schemas.microsoft.com/office/powerpoint/2010/main" val="9658284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336988" y="1180242"/>
            <a:ext cx="3734276" cy="1284923"/>
          </a:xfrm>
          <a:custGeom>
            <a:avLst/>
            <a:gdLst/>
            <a:ahLst/>
            <a:cxnLst/>
            <a:rect l="l" t="t" r="r" b="b"/>
            <a:pathLst>
              <a:path w="4979034" h="1713229">
                <a:moveTo>
                  <a:pt x="4978908" y="0"/>
                </a:moveTo>
                <a:lnTo>
                  <a:pt x="0" y="0"/>
                </a:lnTo>
                <a:lnTo>
                  <a:pt x="0" y="1712976"/>
                </a:lnTo>
                <a:lnTo>
                  <a:pt x="4978908" y="1712976"/>
                </a:lnTo>
                <a:lnTo>
                  <a:pt x="4978908" y="0"/>
                </a:lnTo>
                <a:close/>
              </a:path>
            </a:pathLst>
          </a:custGeom>
          <a:solidFill>
            <a:srgbClr val="E3EFF9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" name="object 3"/>
          <p:cNvSpPr/>
          <p:nvPr/>
        </p:nvSpPr>
        <p:spPr>
          <a:xfrm>
            <a:off x="3336988" y="2534125"/>
            <a:ext cx="3734276" cy="2316480"/>
          </a:xfrm>
          <a:custGeom>
            <a:avLst/>
            <a:gdLst/>
            <a:ahLst/>
            <a:cxnLst/>
            <a:rect l="l" t="t" r="r" b="b"/>
            <a:pathLst>
              <a:path w="4979034" h="3088640">
                <a:moveTo>
                  <a:pt x="4978908" y="0"/>
                </a:moveTo>
                <a:lnTo>
                  <a:pt x="0" y="0"/>
                </a:lnTo>
                <a:lnTo>
                  <a:pt x="0" y="3088385"/>
                </a:lnTo>
                <a:lnTo>
                  <a:pt x="4978908" y="3088385"/>
                </a:lnTo>
                <a:lnTo>
                  <a:pt x="4978908" y="0"/>
                </a:lnTo>
                <a:close/>
              </a:path>
            </a:pathLst>
          </a:custGeom>
          <a:solidFill>
            <a:srgbClr val="E3EFF9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grpSp>
        <p:nvGrpSpPr>
          <p:cNvPr id="4" name="object 4"/>
          <p:cNvGrpSpPr/>
          <p:nvPr/>
        </p:nvGrpSpPr>
        <p:grpSpPr>
          <a:xfrm>
            <a:off x="3441573" y="1142904"/>
            <a:ext cx="3606165" cy="228600"/>
            <a:chOff x="4588764" y="1520697"/>
            <a:chExt cx="4808220" cy="304800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588764" y="1570989"/>
              <a:ext cx="1574927" cy="243839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141720" y="1520697"/>
              <a:ext cx="610819" cy="304800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649974" y="1570989"/>
              <a:ext cx="2746629" cy="243839"/>
            </a:xfrm>
            <a:prstGeom prst="rect">
              <a:avLst/>
            </a:prstGeom>
          </p:spPr>
        </p:pic>
      </p:grpSp>
      <p:grpSp>
        <p:nvGrpSpPr>
          <p:cNvPr id="8" name="object 8"/>
          <p:cNvGrpSpPr/>
          <p:nvPr/>
        </p:nvGrpSpPr>
        <p:grpSpPr>
          <a:xfrm>
            <a:off x="3449956" y="2552414"/>
            <a:ext cx="3480911" cy="520065"/>
            <a:chOff x="4599940" y="3400044"/>
            <a:chExt cx="4641215" cy="693420"/>
          </a:xfrm>
        </p:grpSpPr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703318" y="3654552"/>
              <a:ext cx="4537455" cy="243839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703318" y="3849370"/>
              <a:ext cx="1097089" cy="244094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599940" y="3400044"/>
              <a:ext cx="2200402" cy="243840"/>
            </a:xfrm>
            <a:prstGeom prst="rect">
              <a:avLst/>
            </a:prstGeom>
          </p:spPr>
        </p:pic>
      </p:grpSp>
      <p:grpSp>
        <p:nvGrpSpPr>
          <p:cNvPr id="12" name="object 12"/>
          <p:cNvGrpSpPr/>
          <p:nvPr/>
        </p:nvGrpSpPr>
        <p:grpSpPr>
          <a:xfrm>
            <a:off x="3527488" y="3112103"/>
            <a:ext cx="3288030" cy="329565"/>
            <a:chOff x="4703317" y="4146296"/>
            <a:chExt cx="4384040" cy="439420"/>
          </a:xfrm>
        </p:grpSpPr>
        <p:pic>
          <p:nvPicPr>
            <p:cNvPr id="13" name="object 13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703317" y="4146296"/>
              <a:ext cx="4311015" cy="243839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703317" y="4341368"/>
              <a:ext cx="1521078" cy="243839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6139941" y="4341368"/>
              <a:ext cx="175260" cy="243839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273291" y="4341368"/>
              <a:ext cx="2813812" cy="243839"/>
            </a:xfrm>
            <a:prstGeom prst="rect">
              <a:avLst/>
            </a:prstGeom>
          </p:spPr>
        </p:pic>
      </p:grpSp>
      <p:pic>
        <p:nvPicPr>
          <p:cNvPr id="17" name="object 17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3527488" y="3480720"/>
            <a:ext cx="2679478" cy="182879"/>
          </a:xfrm>
          <a:prstGeom prst="rect">
            <a:avLst/>
          </a:prstGeom>
        </p:spPr>
      </p:pic>
      <p:pic>
        <p:nvPicPr>
          <p:cNvPr id="18" name="object 18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3527488" y="3957352"/>
            <a:ext cx="2458403" cy="182880"/>
          </a:xfrm>
          <a:prstGeom prst="rect">
            <a:avLst/>
          </a:prstGeom>
        </p:spPr>
      </p:pic>
      <p:grpSp>
        <p:nvGrpSpPr>
          <p:cNvPr id="19" name="object 19"/>
          <p:cNvGrpSpPr/>
          <p:nvPr/>
        </p:nvGrpSpPr>
        <p:grpSpPr>
          <a:xfrm>
            <a:off x="3527488" y="4179664"/>
            <a:ext cx="2928461" cy="329565"/>
            <a:chOff x="4703317" y="5569711"/>
            <a:chExt cx="3904615" cy="439420"/>
          </a:xfrm>
        </p:grpSpPr>
        <p:pic>
          <p:nvPicPr>
            <p:cNvPr id="20" name="object 20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4703317" y="5569711"/>
              <a:ext cx="3904615" cy="243840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4703317" y="5764783"/>
              <a:ext cx="2727324" cy="243840"/>
            </a:xfrm>
            <a:prstGeom prst="rect">
              <a:avLst/>
            </a:prstGeom>
          </p:spPr>
        </p:pic>
      </p:grpSp>
      <p:sp>
        <p:nvSpPr>
          <p:cNvPr id="22" name="object 22"/>
          <p:cNvSpPr txBox="1"/>
          <p:nvPr/>
        </p:nvSpPr>
        <p:spPr>
          <a:xfrm>
            <a:off x="3336988" y="2534126"/>
            <a:ext cx="3734276" cy="2257830"/>
          </a:xfrm>
          <a:prstGeom prst="rect">
            <a:avLst/>
          </a:prstGeom>
        </p:spPr>
        <p:txBody>
          <a:bodyPr vert="horz" wrap="square" lIns="0" tIns="33814" rIns="0" bIns="0" rtlCol="0">
            <a:spAutoFit/>
          </a:bodyPr>
          <a:lstStyle/>
          <a:p>
            <a:pPr>
              <a:spcBef>
                <a:spcPts val="266"/>
              </a:spcBef>
            </a:pPr>
            <a:endParaRPr sz="1200">
              <a:latin typeface="Times New Roman"/>
              <a:cs typeface="Times New Roman"/>
            </a:endParaRPr>
          </a:p>
          <a:p>
            <a:pPr marL="109061"/>
            <a:r>
              <a:rPr sz="1200" spc="-38" dirty="0">
                <a:solidFill>
                  <a:srgbClr val="0D4697"/>
                </a:solidFill>
                <a:latin typeface="Arial"/>
                <a:cs typeface="Arial"/>
              </a:rPr>
              <a:t>•</a:t>
            </a:r>
            <a:endParaRPr sz="1200">
              <a:latin typeface="Arial"/>
              <a:cs typeface="Arial"/>
            </a:endParaRPr>
          </a:p>
          <a:p>
            <a:pPr>
              <a:spcBef>
                <a:spcPts val="86"/>
              </a:spcBef>
            </a:pPr>
            <a:endParaRPr sz="1200">
              <a:latin typeface="Arial"/>
              <a:cs typeface="Arial"/>
            </a:endParaRPr>
          </a:p>
          <a:p>
            <a:pPr marL="109061"/>
            <a:r>
              <a:rPr sz="1200" spc="-38" dirty="0">
                <a:solidFill>
                  <a:srgbClr val="0D4697"/>
                </a:solidFill>
                <a:latin typeface="Arial"/>
                <a:cs typeface="Arial"/>
              </a:rPr>
              <a:t>•</a:t>
            </a:r>
            <a:endParaRPr sz="1200">
              <a:latin typeface="Arial"/>
              <a:cs typeface="Arial"/>
            </a:endParaRPr>
          </a:p>
          <a:p>
            <a:pPr>
              <a:spcBef>
                <a:spcPts val="83"/>
              </a:spcBef>
            </a:pPr>
            <a:endParaRPr sz="1200">
              <a:latin typeface="Arial"/>
              <a:cs typeface="Arial"/>
            </a:endParaRPr>
          </a:p>
          <a:p>
            <a:pPr marL="109061"/>
            <a:r>
              <a:rPr sz="1200" spc="-38" dirty="0">
                <a:solidFill>
                  <a:srgbClr val="0D4697"/>
                </a:solidFill>
                <a:latin typeface="Arial"/>
                <a:cs typeface="Arial"/>
              </a:rPr>
              <a:t>•</a:t>
            </a:r>
            <a:endParaRPr sz="1200">
              <a:latin typeface="Arial"/>
              <a:cs typeface="Arial"/>
            </a:endParaRPr>
          </a:p>
          <a:p>
            <a:pPr>
              <a:spcBef>
                <a:spcPts val="930"/>
              </a:spcBef>
            </a:pPr>
            <a:endParaRPr sz="1200">
              <a:latin typeface="Arial"/>
              <a:cs typeface="Arial"/>
            </a:endParaRPr>
          </a:p>
          <a:p>
            <a:pPr marL="109061">
              <a:spcBef>
                <a:spcPts val="4"/>
              </a:spcBef>
            </a:pPr>
            <a:r>
              <a:rPr sz="1200" spc="-38" dirty="0">
                <a:solidFill>
                  <a:srgbClr val="0D4697"/>
                </a:solidFill>
                <a:latin typeface="Arial"/>
                <a:cs typeface="Arial"/>
              </a:rPr>
              <a:t>•</a:t>
            </a:r>
            <a:endParaRPr sz="1200">
              <a:latin typeface="Arial"/>
              <a:cs typeface="Arial"/>
            </a:endParaRPr>
          </a:p>
          <a:p>
            <a:pPr marL="109061">
              <a:spcBef>
                <a:spcPts val="307"/>
              </a:spcBef>
            </a:pPr>
            <a:r>
              <a:rPr sz="1200" spc="-38" dirty="0">
                <a:solidFill>
                  <a:srgbClr val="0D4697"/>
                </a:solidFill>
                <a:latin typeface="Arial"/>
                <a:cs typeface="Arial"/>
              </a:rPr>
              <a:t>•</a:t>
            </a:r>
            <a:endParaRPr sz="1200">
              <a:latin typeface="Arial"/>
              <a:cs typeface="Arial"/>
            </a:endParaRPr>
          </a:p>
          <a:p>
            <a:pPr>
              <a:spcBef>
                <a:spcPts val="83"/>
              </a:spcBef>
            </a:pPr>
            <a:endParaRPr sz="1200">
              <a:latin typeface="Arial"/>
              <a:cs typeface="Arial"/>
            </a:endParaRPr>
          </a:p>
          <a:p>
            <a:pPr marL="109061"/>
            <a:r>
              <a:rPr sz="1200" spc="-38" dirty="0">
                <a:solidFill>
                  <a:srgbClr val="0D4697"/>
                </a:solidFill>
                <a:latin typeface="Arial"/>
                <a:cs typeface="Arial"/>
              </a:rPr>
              <a:t>•</a:t>
            </a:r>
            <a:endParaRPr sz="1200">
              <a:latin typeface="Arial"/>
              <a:cs typeface="Arial"/>
            </a:endParaRPr>
          </a:p>
        </p:txBody>
      </p:sp>
      <p:pic>
        <p:nvPicPr>
          <p:cNvPr id="23" name="object 23"/>
          <p:cNvPicPr/>
          <p:nvPr/>
        </p:nvPicPr>
        <p:blipFill>
          <a:blip r:embed="rId16" cstate="print"/>
          <a:stretch>
            <a:fillRect/>
          </a:stretch>
        </p:blipFill>
        <p:spPr>
          <a:xfrm>
            <a:off x="3527488" y="4548091"/>
            <a:ext cx="3140582" cy="183071"/>
          </a:xfrm>
          <a:prstGeom prst="rect">
            <a:avLst/>
          </a:prstGeom>
        </p:spPr>
      </p:pic>
      <p:grpSp>
        <p:nvGrpSpPr>
          <p:cNvPr id="24" name="object 24"/>
          <p:cNvGrpSpPr/>
          <p:nvPr/>
        </p:nvGrpSpPr>
        <p:grpSpPr>
          <a:xfrm>
            <a:off x="3444430" y="3754469"/>
            <a:ext cx="2317433" cy="182880"/>
            <a:chOff x="4592573" y="5002784"/>
            <a:chExt cx="3089910" cy="243840"/>
          </a:xfrm>
        </p:grpSpPr>
        <p:pic>
          <p:nvPicPr>
            <p:cNvPr id="25" name="object 25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4592573" y="5002784"/>
              <a:ext cx="951941" cy="243839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5449315" y="5002784"/>
              <a:ext cx="128015" cy="243839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5513323" y="5002784"/>
              <a:ext cx="2169160" cy="243839"/>
            </a:xfrm>
            <a:prstGeom prst="rect">
              <a:avLst/>
            </a:prstGeom>
          </p:spPr>
        </p:pic>
      </p:grpSp>
      <p:grpSp>
        <p:nvGrpSpPr>
          <p:cNvPr id="28" name="object 28"/>
          <p:cNvGrpSpPr/>
          <p:nvPr/>
        </p:nvGrpSpPr>
        <p:grpSpPr>
          <a:xfrm>
            <a:off x="7123747" y="1101375"/>
            <a:ext cx="1585913" cy="2205038"/>
            <a:chOff x="9498330" y="1465325"/>
            <a:chExt cx="2114550" cy="2940050"/>
          </a:xfrm>
        </p:grpSpPr>
        <p:pic>
          <p:nvPicPr>
            <p:cNvPr id="29" name="object 29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9498330" y="1465325"/>
              <a:ext cx="2114550" cy="2939796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9582912" y="1557527"/>
              <a:ext cx="1954529" cy="2764536"/>
            </a:xfrm>
            <a:prstGeom prst="rect">
              <a:avLst/>
            </a:prstGeom>
          </p:spPr>
        </p:pic>
      </p:grpSp>
      <p:pic>
        <p:nvPicPr>
          <p:cNvPr id="31" name="object 31"/>
          <p:cNvPicPr/>
          <p:nvPr/>
        </p:nvPicPr>
        <p:blipFill>
          <a:blip r:embed="rId22" cstate="print"/>
          <a:stretch>
            <a:fillRect/>
          </a:stretch>
        </p:blipFill>
        <p:spPr>
          <a:xfrm>
            <a:off x="7213473" y="4657439"/>
            <a:ext cx="1457610" cy="228600"/>
          </a:xfrm>
          <a:prstGeom prst="rect">
            <a:avLst/>
          </a:prstGeom>
        </p:spPr>
      </p:pic>
      <p:grpSp>
        <p:nvGrpSpPr>
          <p:cNvPr id="32" name="object 32"/>
          <p:cNvGrpSpPr/>
          <p:nvPr/>
        </p:nvGrpSpPr>
        <p:grpSpPr>
          <a:xfrm>
            <a:off x="7224332" y="3446811"/>
            <a:ext cx="1071086" cy="1071086"/>
            <a:chOff x="9632442" y="4592573"/>
            <a:chExt cx="1428115" cy="1428115"/>
          </a:xfrm>
        </p:grpSpPr>
        <p:sp>
          <p:nvSpPr>
            <p:cNvPr id="33" name="object 33"/>
            <p:cNvSpPr/>
            <p:nvPr/>
          </p:nvSpPr>
          <p:spPr>
            <a:xfrm>
              <a:off x="9632442" y="4592573"/>
              <a:ext cx="1428115" cy="1428115"/>
            </a:xfrm>
            <a:custGeom>
              <a:avLst/>
              <a:gdLst/>
              <a:ahLst/>
              <a:cxnLst/>
              <a:rect l="l" t="t" r="r" b="b"/>
              <a:pathLst>
                <a:path w="1428115" h="1428114">
                  <a:moveTo>
                    <a:pt x="1335151" y="0"/>
                  </a:moveTo>
                  <a:lnTo>
                    <a:pt x="92836" y="0"/>
                  </a:lnTo>
                  <a:lnTo>
                    <a:pt x="56685" y="7290"/>
                  </a:lnTo>
                  <a:lnTo>
                    <a:pt x="27177" y="27177"/>
                  </a:lnTo>
                  <a:lnTo>
                    <a:pt x="7290" y="56685"/>
                  </a:lnTo>
                  <a:lnTo>
                    <a:pt x="0" y="92837"/>
                  </a:lnTo>
                  <a:lnTo>
                    <a:pt x="0" y="1335125"/>
                  </a:lnTo>
                  <a:lnTo>
                    <a:pt x="7290" y="1371270"/>
                  </a:lnTo>
                  <a:lnTo>
                    <a:pt x="27177" y="1400787"/>
                  </a:lnTo>
                  <a:lnTo>
                    <a:pt x="56685" y="1420689"/>
                  </a:lnTo>
                  <a:lnTo>
                    <a:pt x="92836" y="1427988"/>
                  </a:lnTo>
                  <a:lnTo>
                    <a:pt x="1335151" y="1427988"/>
                  </a:lnTo>
                  <a:lnTo>
                    <a:pt x="1371302" y="1420689"/>
                  </a:lnTo>
                  <a:lnTo>
                    <a:pt x="1400809" y="1400787"/>
                  </a:lnTo>
                  <a:lnTo>
                    <a:pt x="1420697" y="1371270"/>
                  </a:lnTo>
                  <a:lnTo>
                    <a:pt x="1427987" y="1335125"/>
                  </a:lnTo>
                  <a:lnTo>
                    <a:pt x="1427987" y="92837"/>
                  </a:lnTo>
                  <a:lnTo>
                    <a:pt x="1420697" y="56685"/>
                  </a:lnTo>
                  <a:lnTo>
                    <a:pt x="1400809" y="27177"/>
                  </a:lnTo>
                  <a:lnTo>
                    <a:pt x="1371302" y="7290"/>
                  </a:lnTo>
                  <a:lnTo>
                    <a:pt x="1335151" y="0"/>
                  </a:lnTo>
                  <a:close/>
                </a:path>
              </a:pathLst>
            </a:custGeom>
            <a:solidFill>
              <a:srgbClr val="0D4697"/>
            </a:solid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pic>
          <p:nvPicPr>
            <p:cNvPr id="34" name="object 34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9718548" y="4705349"/>
              <a:ext cx="1248918" cy="1207770"/>
            </a:xfrm>
            <a:prstGeom prst="rect">
              <a:avLst/>
            </a:prstGeom>
          </p:spPr>
        </p:pic>
      </p:grpSp>
      <p:grpSp>
        <p:nvGrpSpPr>
          <p:cNvPr id="35" name="object 35"/>
          <p:cNvGrpSpPr/>
          <p:nvPr/>
        </p:nvGrpSpPr>
        <p:grpSpPr>
          <a:xfrm>
            <a:off x="0" y="143541"/>
            <a:ext cx="5052060" cy="775811"/>
            <a:chOff x="0" y="188213"/>
            <a:chExt cx="6736080" cy="1034415"/>
          </a:xfrm>
        </p:grpSpPr>
        <p:sp>
          <p:nvSpPr>
            <p:cNvPr id="36" name="object 36"/>
            <p:cNvSpPr/>
            <p:nvPr/>
          </p:nvSpPr>
          <p:spPr>
            <a:xfrm>
              <a:off x="0" y="188213"/>
              <a:ext cx="6736080" cy="1034415"/>
            </a:xfrm>
            <a:custGeom>
              <a:avLst/>
              <a:gdLst/>
              <a:ahLst/>
              <a:cxnLst/>
              <a:rect l="l" t="t" r="r" b="b"/>
              <a:pathLst>
                <a:path w="6736080" h="1034415">
                  <a:moveTo>
                    <a:pt x="6736080" y="0"/>
                  </a:moveTo>
                  <a:lnTo>
                    <a:pt x="0" y="0"/>
                  </a:lnTo>
                  <a:lnTo>
                    <a:pt x="0" y="1034033"/>
                  </a:lnTo>
                  <a:lnTo>
                    <a:pt x="6736080" y="1034033"/>
                  </a:lnTo>
                  <a:lnTo>
                    <a:pt x="6736080" y="0"/>
                  </a:lnTo>
                  <a:close/>
                </a:path>
              </a:pathLst>
            </a:custGeom>
            <a:solidFill>
              <a:srgbClr val="0D4697"/>
            </a:solid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pic>
          <p:nvPicPr>
            <p:cNvPr id="37" name="object 37"/>
            <p:cNvPicPr/>
            <p:nvPr/>
          </p:nvPicPr>
          <p:blipFill>
            <a:blip r:embed="rId24" cstate="print"/>
            <a:stretch>
              <a:fillRect/>
            </a:stretch>
          </p:blipFill>
          <p:spPr>
            <a:xfrm>
              <a:off x="624077" y="215899"/>
              <a:ext cx="4407916" cy="487679"/>
            </a:xfrm>
            <a:prstGeom prst="rect">
              <a:avLst/>
            </a:prstGeom>
          </p:spPr>
        </p:pic>
        <p:pic>
          <p:nvPicPr>
            <p:cNvPr id="38" name="object 38"/>
            <p:cNvPicPr/>
            <p:nvPr/>
          </p:nvPicPr>
          <p:blipFill>
            <a:blip r:embed="rId25" cstate="print"/>
            <a:stretch>
              <a:fillRect/>
            </a:stretch>
          </p:blipFill>
          <p:spPr>
            <a:xfrm>
              <a:off x="624077" y="667004"/>
              <a:ext cx="6109208" cy="365760"/>
            </a:xfrm>
            <a:prstGeom prst="rect">
              <a:avLst/>
            </a:prstGeom>
          </p:spPr>
        </p:pic>
      </p:grpSp>
      <p:pic>
        <p:nvPicPr>
          <p:cNvPr id="39" name="object 39"/>
          <p:cNvPicPr/>
          <p:nvPr/>
        </p:nvPicPr>
        <p:blipFill>
          <a:blip r:embed="rId26" cstate="print"/>
          <a:stretch>
            <a:fillRect/>
          </a:stretch>
        </p:blipFill>
        <p:spPr>
          <a:xfrm>
            <a:off x="5576125" y="157257"/>
            <a:ext cx="912686" cy="401765"/>
          </a:xfrm>
          <a:prstGeom prst="rect">
            <a:avLst/>
          </a:prstGeom>
        </p:spPr>
      </p:pic>
      <p:grpSp>
        <p:nvGrpSpPr>
          <p:cNvPr id="40" name="object 40"/>
          <p:cNvGrpSpPr/>
          <p:nvPr/>
        </p:nvGrpSpPr>
        <p:grpSpPr>
          <a:xfrm>
            <a:off x="6571678" y="132111"/>
            <a:ext cx="2511743" cy="473869"/>
            <a:chOff x="8762238" y="172973"/>
            <a:chExt cx="3348990" cy="631825"/>
          </a:xfrm>
        </p:grpSpPr>
        <p:pic>
          <p:nvPicPr>
            <p:cNvPr id="41" name="object 41"/>
            <p:cNvPicPr/>
            <p:nvPr/>
          </p:nvPicPr>
          <p:blipFill>
            <a:blip r:embed="rId27" cstate="print"/>
            <a:stretch>
              <a:fillRect/>
            </a:stretch>
          </p:blipFill>
          <p:spPr>
            <a:xfrm>
              <a:off x="10160508" y="253746"/>
              <a:ext cx="1219961" cy="526541"/>
            </a:xfrm>
            <a:prstGeom prst="rect">
              <a:avLst/>
            </a:prstGeom>
          </p:spPr>
        </p:pic>
        <p:pic>
          <p:nvPicPr>
            <p:cNvPr id="42" name="object 42"/>
            <p:cNvPicPr/>
            <p:nvPr/>
          </p:nvPicPr>
          <p:blipFill>
            <a:blip r:embed="rId28" cstate="print"/>
            <a:stretch>
              <a:fillRect/>
            </a:stretch>
          </p:blipFill>
          <p:spPr>
            <a:xfrm>
              <a:off x="11264645" y="206501"/>
              <a:ext cx="846581" cy="598170"/>
            </a:xfrm>
            <a:prstGeom prst="rect">
              <a:avLst/>
            </a:prstGeom>
          </p:spPr>
        </p:pic>
        <p:pic>
          <p:nvPicPr>
            <p:cNvPr id="43" name="object 43"/>
            <p:cNvPicPr/>
            <p:nvPr/>
          </p:nvPicPr>
          <p:blipFill>
            <a:blip r:embed="rId29" cstate="print"/>
            <a:stretch>
              <a:fillRect/>
            </a:stretch>
          </p:blipFill>
          <p:spPr>
            <a:xfrm>
              <a:off x="8762238" y="172973"/>
              <a:ext cx="1386077" cy="608838"/>
            </a:xfrm>
            <a:prstGeom prst="rect">
              <a:avLst/>
            </a:prstGeom>
          </p:spPr>
        </p:pic>
      </p:grpSp>
      <p:grpSp>
        <p:nvGrpSpPr>
          <p:cNvPr id="44" name="object 44"/>
          <p:cNvGrpSpPr/>
          <p:nvPr/>
        </p:nvGrpSpPr>
        <p:grpSpPr>
          <a:xfrm>
            <a:off x="495490" y="1125569"/>
            <a:ext cx="2403158" cy="704374"/>
            <a:chOff x="660654" y="1497583"/>
            <a:chExt cx="3204210" cy="939165"/>
          </a:xfrm>
        </p:grpSpPr>
        <p:pic>
          <p:nvPicPr>
            <p:cNvPr id="45" name="object 45"/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660654" y="1497583"/>
              <a:ext cx="2249424" cy="335279"/>
            </a:xfrm>
            <a:prstGeom prst="rect">
              <a:avLst/>
            </a:prstGeom>
          </p:spPr>
        </p:pic>
        <p:pic>
          <p:nvPicPr>
            <p:cNvPr id="46" name="object 46"/>
            <p:cNvPicPr/>
            <p:nvPr/>
          </p:nvPicPr>
          <p:blipFill>
            <a:blip r:embed="rId31" cstate="print"/>
            <a:stretch>
              <a:fillRect/>
            </a:stretch>
          </p:blipFill>
          <p:spPr>
            <a:xfrm>
              <a:off x="660654" y="1799335"/>
              <a:ext cx="2926842" cy="335279"/>
            </a:xfrm>
            <a:prstGeom prst="rect">
              <a:avLst/>
            </a:prstGeom>
          </p:spPr>
        </p:pic>
        <p:pic>
          <p:nvPicPr>
            <p:cNvPr id="47" name="object 47"/>
            <p:cNvPicPr/>
            <p:nvPr/>
          </p:nvPicPr>
          <p:blipFill>
            <a:blip r:embed="rId32" cstate="print"/>
            <a:stretch>
              <a:fillRect/>
            </a:stretch>
          </p:blipFill>
          <p:spPr>
            <a:xfrm>
              <a:off x="660654" y="2101087"/>
              <a:ext cx="3203956" cy="335279"/>
            </a:xfrm>
            <a:prstGeom prst="rect">
              <a:avLst/>
            </a:prstGeom>
          </p:spPr>
        </p:pic>
      </p:grpSp>
      <p:sp>
        <p:nvSpPr>
          <p:cNvPr id="48" name="object 48"/>
          <p:cNvSpPr txBox="1"/>
          <p:nvPr/>
        </p:nvSpPr>
        <p:spPr>
          <a:xfrm>
            <a:off x="343662" y="2047589"/>
            <a:ext cx="79534" cy="21736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350" spc="-38" dirty="0">
                <a:solidFill>
                  <a:srgbClr val="0D4697"/>
                </a:solidFill>
                <a:latin typeface="Arial"/>
                <a:cs typeface="Arial"/>
              </a:rPr>
              <a:t>•</a:t>
            </a:r>
            <a:endParaRPr sz="1350">
              <a:latin typeface="Arial"/>
              <a:cs typeface="Arial"/>
            </a:endParaRPr>
          </a:p>
        </p:txBody>
      </p:sp>
      <p:grpSp>
        <p:nvGrpSpPr>
          <p:cNvPr id="49" name="object 49"/>
          <p:cNvGrpSpPr/>
          <p:nvPr/>
        </p:nvGrpSpPr>
        <p:grpSpPr>
          <a:xfrm>
            <a:off x="488061" y="2057114"/>
            <a:ext cx="2372678" cy="576263"/>
            <a:chOff x="650748" y="2739644"/>
            <a:chExt cx="3163570" cy="768350"/>
          </a:xfrm>
        </p:grpSpPr>
        <p:pic>
          <p:nvPicPr>
            <p:cNvPr id="50" name="object 50"/>
            <p:cNvPicPr/>
            <p:nvPr/>
          </p:nvPicPr>
          <p:blipFill>
            <a:blip r:embed="rId33" cstate="print"/>
            <a:stretch>
              <a:fillRect/>
            </a:stretch>
          </p:blipFill>
          <p:spPr>
            <a:xfrm>
              <a:off x="650748" y="2739644"/>
              <a:ext cx="3082925" cy="274320"/>
            </a:xfrm>
            <a:prstGeom prst="rect">
              <a:avLst/>
            </a:prstGeom>
          </p:spPr>
        </p:pic>
        <p:pic>
          <p:nvPicPr>
            <p:cNvPr id="51" name="object 51"/>
            <p:cNvPicPr/>
            <p:nvPr/>
          </p:nvPicPr>
          <p:blipFill>
            <a:blip r:embed="rId34" cstate="print"/>
            <a:stretch>
              <a:fillRect/>
            </a:stretch>
          </p:blipFill>
          <p:spPr>
            <a:xfrm>
              <a:off x="650748" y="2986532"/>
              <a:ext cx="3108070" cy="274320"/>
            </a:xfrm>
            <a:prstGeom prst="rect">
              <a:avLst/>
            </a:prstGeom>
          </p:spPr>
        </p:pic>
        <p:pic>
          <p:nvPicPr>
            <p:cNvPr id="52" name="object 52"/>
            <p:cNvPicPr/>
            <p:nvPr/>
          </p:nvPicPr>
          <p:blipFill>
            <a:blip r:embed="rId35" cstate="print"/>
            <a:stretch>
              <a:fillRect/>
            </a:stretch>
          </p:blipFill>
          <p:spPr>
            <a:xfrm>
              <a:off x="3661664" y="2986532"/>
              <a:ext cx="152400" cy="274320"/>
            </a:xfrm>
            <a:prstGeom prst="rect">
              <a:avLst/>
            </a:prstGeom>
          </p:spPr>
        </p:pic>
        <p:pic>
          <p:nvPicPr>
            <p:cNvPr id="53" name="object 53"/>
            <p:cNvPicPr/>
            <p:nvPr/>
          </p:nvPicPr>
          <p:blipFill>
            <a:blip r:embed="rId36" cstate="print"/>
            <a:stretch>
              <a:fillRect/>
            </a:stretch>
          </p:blipFill>
          <p:spPr>
            <a:xfrm>
              <a:off x="650748" y="3233420"/>
              <a:ext cx="1776095" cy="274320"/>
            </a:xfrm>
            <a:prstGeom prst="rect">
              <a:avLst/>
            </a:prstGeom>
          </p:spPr>
        </p:pic>
      </p:grpSp>
      <p:sp>
        <p:nvSpPr>
          <p:cNvPr id="54" name="object 54"/>
          <p:cNvSpPr txBox="1"/>
          <p:nvPr/>
        </p:nvSpPr>
        <p:spPr>
          <a:xfrm>
            <a:off x="343662" y="2679097"/>
            <a:ext cx="79534" cy="21736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350" spc="-38" dirty="0">
                <a:solidFill>
                  <a:srgbClr val="0D4697"/>
                </a:solidFill>
                <a:latin typeface="Arial"/>
                <a:cs typeface="Arial"/>
              </a:rPr>
              <a:t>•</a:t>
            </a:r>
            <a:endParaRPr sz="1350">
              <a:latin typeface="Arial"/>
              <a:cs typeface="Arial"/>
            </a:endParaRPr>
          </a:p>
        </p:txBody>
      </p:sp>
      <p:grpSp>
        <p:nvGrpSpPr>
          <p:cNvPr id="55" name="object 55"/>
          <p:cNvGrpSpPr/>
          <p:nvPr/>
        </p:nvGrpSpPr>
        <p:grpSpPr>
          <a:xfrm>
            <a:off x="488061" y="2688621"/>
            <a:ext cx="2788920" cy="761524"/>
            <a:chOff x="650748" y="3581653"/>
            <a:chExt cx="3718560" cy="1015365"/>
          </a:xfrm>
        </p:grpSpPr>
        <p:pic>
          <p:nvPicPr>
            <p:cNvPr id="56" name="object 56"/>
            <p:cNvPicPr/>
            <p:nvPr/>
          </p:nvPicPr>
          <p:blipFill>
            <a:blip r:embed="rId37" cstate="print"/>
            <a:stretch>
              <a:fillRect/>
            </a:stretch>
          </p:blipFill>
          <p:spPr>
            <a:xfrm>
              <a:off x="650748" y="3581653"/>
              <a:ext cx="3175000" cy="274320"/>
            </a:xfrm>
            <a:prstGeom prst="rect">
              <a:avLst/>
            </a:prstGeom>
          </p:spPr>
        </p:pic>
        <p:pic>
          <p:nvPicPr>
            <p:cNvPr id="57" name="object 57"/>
            <p:cNvPicPr/>
            <p:nvPr/>
          </p:nvPicPr>
          <p:blipFill>
            <a:blip r:embed="rId38" cstate="print"/>
            <a:stretch>
              <a:fillRect/>
            </a:stretch>
          </p:blipFill>
          <p:spPr>
            <a:xfrm>
              <a:off x="650748" y="3828541"/>
              <a:ext cx="3718052" cy="274319"/>
            </a:xfrm>
            <a:prstGeom prst="rect">
              <a:avLst/>
            </a:prstGeom>
          </p:spPr>
        </p:pic>
        <p:pic>
          <p:nvPicPr>
            <p:cNvPr id="58" name="object 58"/>
            <p:cNvPicPr/>
            <p:nvPr/>
          </p:nvPicPr>
          <p:blipFill>
            <a:blip r:embed="rId39" cstate="print"/>
            <a:stretch>
              <a:fillRect/>
            </a:stretch>
          </p:blipFill>
          <p:spPr>
            <a:xfrm>
              <a:off x="650748" y="4075429"/>
              <a:ext cx="3355213" cy="274319"/>
            </a:xfrm>
            <a:prstGeom prst="rect">
              <a:avLst/>
            </a:prstGeom>
          </p:spPr>
        </p:pic>
        <p:pic>
          <p:nvPicPr>
            <p:cNvPr id="59" name="object 59"/>
            <p:cNvPicPr/>
            <p:nvPr/>
          </p:nvPicPr>
          <p:blipFill>
            <a:blip r:embed="rId40" cstate="print"/>
            <a:stretch>
              <a:fillRect/>
            </a:stretch>
          </p:blipFill>
          <p:spPr>
            <a:xfrm>
              <a:off x="650748" y="4322317"/>
              <a:ext cx="2205101" cy="274319"/>
            </a:xfrm>
            <a:prstGeom prst="rect">
              <a:avLst/>
            </a:prstGeom>
          </p:spPr>
        </p:pic>
      </p:grpSp>
      <p:pic>
        <p:nvPicPr>
          <p:cNvPr id="60" name="object 60"/>
          <p:cNvPicPr/>
          <p:nvPr/>
        </p:nvPicPr>
        <p:blipFill>
          <a:blip r:embed="rId41" cstate="print"/>
          <a:stretch>
            <a:fillRect/>
          </a:stretch>
        </p:blipFill>
        <p:spPr>
          <a:xfrm>
            <a:off x="488061" y="3505867"/>
            <a:ext cx="2516410" cy="205739"/>
          </a:xfrm>
          <a:prstGeom prst="rect">
            <a:avLst/>
          </a:prstGeom>
        </p:spPr>
      </p:pic>
      <p:sp>
        <p:nvSpPr>
          <p:cNvPr id="61" name="object 61"/>
          <p:cNvSpPr txBox="1"/>
          <p:nvPr/>
        </p:nvSpPr>
        <p:spPr>
          <a:xfrm>
            <a:off x="343662" y="3440906"/>
            <a:ext cx="79534" cy="532197"/>
          </a:xfrm>
          <a:prstGeom prst="rect">
            <a:avLst/>
          </a:prstGeom>
        </p:spPr>
        <p:txBody>
          <a:bodyPr vert="horz" wrap="square" lIns="0" tIns="64770" rIns="0" bIns="0" rtlCol="0">
            <a:spAutoFit/>
          </a:bodyPr>
          <a:lstStyle/>
          <a:p>
            <a:pPr marL="9525">
              <a:spcBef>
                <a:spcPts val="510"/>
              </a:spcBef>
            </a:pPr>
            <a:r>
              <a:rPr sz="1350" spc="-38" dirty="0">
                <a:solidFill>
                  <a:srgbClr val="0D4697"/>
                </a:solidFill>
                <a:latin typeface="Arial"/>
                <a:cs typeface="Arial"/>
              </a:rPr>
              <a:t>•</a:t>
            </a:r>
            <a:endParaRPr sz="1350">
              <a:latin typeface="Arial"/>
              <a:cs typeface="Arial"/>
            </a:endParaRPr>
          </a:p>
          <a:p>
            <a:pPr marL="9525">
              <a:spcBef>
                <a:spcPts val="435"/>
              </a:spcBef>
            </a:pPr>
            <a:r>
              <a:rPr sz="1350" spc="-38" dirty="0">
                <a:solidFill>
                  <a:srgbClr val="0D4697"/>
                </a:solidFill>
                <a:latin typeface="Arial"/>
                <a:cs typeface="Arial"/>
              </a:rPr>
              <a:t>•</a:t>
            </a:r>
            <a:endParaRPr sz="1350">
              <a:latin typeface="Arial"/>
              <a:cs typeface="Arial"/>
            </a:endParaRPr>
          </a:p>
        </p:txBody>
      </p:sp>
      <p:grpSp>
        <p:nvGrpSpPr>
          <p:cNvPr id="62" name="object 62"/>
          <p:cNvGrpSpPr/>
          <p:nvPr/>
        </p:nvGrpSpPr>
        <p:grpSpPr>
          <a:xfrm>
            <a:off x="488061" y="3767041"/>
            <a:ext cx="2689384" cy="391001"/>
            <a:chOff x="650748" y="5019547"/>
            <a:chExt cx="3585845" cy="521334"/>
          </a:xfrm>
        </p:grpSpPr>
        <p:pic>
          <p:nvPicPr>
            <p:cNvPr id="63" name="object 63"/>
            <p:cNvPicPr/>
            <p:nvPr/>
          </p:nvPicPr>
          <p:blipFill>
            <a:blip r:embed="rId42" cstate="print"/>
            <a:stretch>
              <a:fillRect/>
            </a:stretch>
          </p:blipFill>
          <p:spPr>
            <a:xfrm>
              <a:off x="650748" y="5019547"/>
              <a:ext cx="3585337" cy="274573"/>
            </a:xfrm>
            <a:prstGeom prst="rect">
              <a:avLst/>
            </a:prstGeom>
          </p:spPr>
        </p:pic>
        <p:pic>
          <p:nvPicPr>
            <p:cNvPr id="64" name="object 64"/>
            <p:cNvPicPr/>
            <p:nvPr/>
          </p:nvPicPr>
          <p:blipFill>
            <a:blip r:embed="rId43" cstate="print"/>
            <a:stretch>
              <a:fillRect/>
            </a:stretch>
          </p:blipFill>
          <p:spPr>
            <a:xfrm>
              <a:off x="650748" y="5266181"/>
              <a:ext cx="633857" cy="274574"/>
            </a:xfrm>
            <a:prstGeom prst="rect">
              <a:avLst/>
            </a:prstGeom>
          </p:spPr>
        </p:pic>
      </p:grpSp>
      <p:sp>
        <p:nvSpPr>
          <p:cNvPr id="65" name="object 65"/>
          <p:cNvSpPr txBox="1"/>
          <p:nvPr/>
        </p:nvSpPr>
        <p:spPr>
          <a:xfrm>
            <a:off x="343662" y="4204049"/>
            <a:ext cx="79534" cy="21736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350" spc="-38" dirty="0">
                <a:solidFill>
                  <a:srgbClr val="0D4697"/>
                </a:solidFill>
                <a:latin typeface="Arial"/>
                <a:cs typeface="Arial"/>
              </a:rPr>
              <a:t>•</a:t>
            </a:r>
            <a:endParaRPr sz="1350">
              <a:latin typeface="Arial"/>
              <a:cs typeface="Arial"/>
            </a:endParaRPr>
          </a:p>
        </p:txBody>
      </p:sp>
      <p:grpSp>
        <p:nvGrpSpPr>
          <p:cNvPr id="66" name="object 66"/>
          <p:cNvGrpSpPr/>
          <p:nvPr/>
        </p:nvGrpSpPr>
        <p:grpSpPr>
          <a:xfrm>
            <a:off x="488061" y="4213573"/>
            <a:ext cx="2384584" cy="391001"/>
            <a:chOff x="650748" y="5614923"/>
            <a:chExt cx="3179445" cy="521334"/>
          </a:xfrm>
        </p:grpSpPr>
        <p:pic>
          <p:nvPicPr>
            <p:cNvPr id="67" name="object 67"/>
            <p:cNvPicPr/>
            <p:nvPr/>
          </p:nvPicPr>
          <p:blipFill>
            <a:blip r:embed="rId44" cstate="print"/>
            <a:stretch>
              <a:fillRect/>
            </a:stretch>
          </p:blipFill>
          <p:spPr>
            <a:xfrm>
              <a:off x="650748" y="5614923"/>
              <a:ext cx="2530856" cy="274319"/>
            </a:xfrm>
            <a:prstGeom prst="rect">
              <a:avLst/>
            </a:prstGeom>
          </p:spPr>
        </p:pic>
        <p:pic>
          <p:nvPicPr>
            <p:cNvPr id="68" name="object 68"/>
            <p:cNvPicPr/>
            <p:nvPr/>
          </p:nvPicPr>
          <p:blipFill>
            <a:blip r:embed="rId45" cstate="print"/>
            <a:stretch>
              <a:fillRect/>
            </a:stretch>
          </p:blipFill>
          <p:spPr>
            <a:xfrm>
              <a:off x="650748" y="5861811"/>
              <a:ext cx="3179317" cy="274319"/>
            </a:xfrm>
            <a:prstGeom prst="rect">
              <a:avLst/>
            </a:prstGeom>
          </p:spPr>
        </p:pic>
      </p:grpSp>
      <p:grpSp>
        <p:nvGrpSpPr>
          <p:cNvPr id="69" name="object 69"/>
          <p:cNvGrpSpPr/>
          <p:nvPr/>
        </p:nvGrpSpPr>
        <p:grpSpPr>
          <a:xfrm>
            <a:off x="3452051" y="1425415"/>
            <a:ext cx="1203960" cy="205740"/>
            <a:chOff x="4602734" y="1897379"/>
            <a:chExt cx="1605280" cy="274320"/>
          </a:xfrm>
        </p:grpSpPr>
        <p:pic>
          <p:nvPicPr>
            <p:cNvPr id="70" name="object 70"/>
            <p:cNvPicPr/>
            <p:nvPr/>
          </p:nvPicPr>
          <p:blipFill>
            <a:blip r:embed="rId46" cstate="print"/>
            <a:stretch>
              <a:fillRect/>
            </a:stretch>
          </p:blipFill>
          <p:spPr>
            <a:xfrm>
              <a:off x="4602734" y="1897379"/>
              <a:ext cx="406717" cy="274320"/>
            </a:xfrm>
            <a:prstGeom prst="rect">
              <a:avLst/>
            </a:prstGeom>
          </p:spPr>
        </p:pic>
        <p:pic>
          <p:nvPicPr>
            <p:cNvPr id="71" name="object 71"/>
            <p:cNvPicPr/>
            <p:nvPr/>
          </p:nvPicPr>
          <p:blipFill>
            <a:blip r:embed="rId47" cstate="print"/>
            <a:stretch>
              <a:fillRect/>
            </a:stretch>
          </p:blipFill>
          <p:spPr>
            <a:xfrm>
              <a:off x="4928108" y="1948433"/>
              <a:ext cx="1279525" cy="213360"/>
            </a:xfrm>
            <a:prstGeom prst="rect">
              <a:avLst/>
            </a:prstGeom>
          </p:spPr>
        </p:pic>
      </p:grpSp>
      <p:grpSp>
        <p:nvGrpSpPr>
          <p:cNvPr id="72" name="object 72"/>
          <p:cNvGrpSpPr/>
          <p:nvPr/>
        </p:nvGrpSpPr>
        <p:grpSpPr>
          <a:xfrm>
            <a:off x="3452051" y="1689830"/>
            <a:ext cx="1379696" cy="205740"/>
            <a:chOff x="4602734" y="2249932"/>
            <a:chExt cx="1839595" cy="274320"/>
          </a:xfrm>
        </p:grpSpPr>
        <p:pic>
          <p:nvPicPr>
            <p:cNvPr id="73" name="object 73"/>
            <p:cNvPicPr/>
            <p:nvPr/>
          </p:nvPicPr>
          <p:blipFill>
            <a:blip r:embed="rId48" cstate="print"/>
            <a:stretch>
              <a:fillRect/>
            </a:stretch>
          </p:blipFill>
          <p:spPr>
            <a:xfrm>
              <a:off x="4602734" y="2249932"/>
              <a:ext cx="456247" cy="274320"/>
            </a:xfrm>
            <a:prstGeom prst="rect">
              <a:avLst/>
            </a:prstGeom>
          </p:spPr>
        </p:pic>
        <p:pic>
          <p:nvPicPr>
            <p:cNvPr id="74" name="object 74"/>
            <p:cNvPicPr/>
            <p:nvPr/>
          </p:nvPicPr>
          <p:blipFill>
            <a:blip r:embed="rId49" cstate="print"/>
            <a:stretch>
              <a:fillRect/>
            </a:stretch>
          </p:blipFill>
          <p:spPr>
            <a:xfrm>
              <a:off x="4967732" y="2300986"/>
              <a:ext cx="1474597" cy="213360"/>
            </a:xfrm>
            <a:prstGeom prst="rect">
              <a:avLst/>
            </a:prstGeom>
          </p:spPr>
        </p:pic>
      </p:grpSp>
      <p:grpSp>
        <p:nvGrpSpPr>
          <p:cNvPr id="75" name="object 75"/>
          <p:cNvGrpSpPr/>
          <p:nvPr/>
        </p:nvGrpSpPr>
        <p:grpSpPr>
          <a:xfrm>
            <a:off x="3452051" y="1954053"/>
            <a:ext cx="1363979" cy="206216"/>
            <a:chOff x="4602734" y="2602229"/>
            <a:chExt cx="1818639" cy="274955"/>
          </a:xfrm>
        </p:grpSpPr>
        <p:pic>
          <p:nvPicPr>
            <p:cNvPr id="76" name="object 76"/>
            <p:cNvPicPr/>
            <p:nvPr/>
          </p:nvPicPr>
          <p:blipFill>
            <a:blip r:embed="rId50" cstate="print"/>
            <a:stretch>
              <a:fillRect/>
            </a:stretch>
          </p:blipFill>
          <p:spPr>
            <a:xfrm>
              <a:off x="4602734" y="2602229"/>
              <a:ext cx="402907" cy="274574"/>
            </a:xfrm>
            <a:prstGeom prst="rect">
              <a:avLst/>
            </a:prstGeom>
          </p:spPr>
        </p:pic>
        <p:pic>
          <p:nvPicPr>
            <p:cNvPr id="77" name="object 77"/>
            <p:cNvPicPr/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4925060" y="2653283"/>
              <a:ext cx="1496187" cy="213360"/>
            </a:xfrm>
            <a:prstGeom prst="rect">
              <a:avLst/>
            </a:prstGeom>
          </p:spPr>
        </p:pic>
      </p:grpSp>
      <p:grpSp>
        <p:nvGrpSpPr>
          <p:cNvPr id="78" name="object 78"/>
          <p:cNvGrpSpPr/>
          <p:nvPr/>
        </p:nvGrpSpPr>
        <p:grpSpPr>
          <a:xfrm>
            <a:off x="3452051" y="2218468"/>
            <a:ext cx="1512094" cy="205740"/>
            <a:chOff x="4602734" y="2954782"/>
            <a:chExt cx="2016125" cy="274320"/>
          </a:xfrm>
        </p:grpSpPr>
        <p:pic>
          <p:nvPicPr>
            <p:cNvPr id="79" name="object 79"/>
            <p:cNvPicPr/>
            <p:nvPr/>
          </p:nvPicPr>
          <p:blipFill>
            <a:blip r:embed="rId52" cstate="print"/>
            <a:stretch>
              <a:fillRect/>
            </a:stretch>
          </p:blipFill>
          <p:spPr>
            <a:xfrm>
              <a:off x="4602734" y="2954782"/>
              <a:ext cx="404812" cy="274320"/>
            </a:xfrm>
            <a:prstGeom prst="rect">
              <a:avLst/>
            </a:prstGeom>
          </p:spPr>
        </p:pic>
        <p:pic>
          <p:nvPicPr>
            <p:cNvPr id="80" name="object 80"/>
            <p:cNvPicPr/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4926584" y="3005836"/>
              <a:ext cx="1691893" cy="213360"/>
            </a:xfrm>
            <a:prstGeom prst="rect">
              <a:avLst/>
            </a:prstGeom>
          </p:spPr>
        </p:pic>
      </p:grpSp>
      <p:grpSp>
        <p:nvGrpSpPr>
          <p:cNvPr id="81" name="object 81"/>
          <p:cNvGrpSpPr/>
          <p:nvPr/>
        </p:nvGrpSpPr>
        <p:grpSpPr>
          <a:xfrm>
            <a:off x="5232845" y="1425415"/>
            <a:ext cx="1386364" cy="205740"/>
            <a:chOff x="6977126" y="1897379"/>
            <a:chExt cx="1848485" cy="274320"/>
          </a:xfrm>
        </p:grpSpPr>
        <p:pic>
          <p:nvPicPr>
            <p:cNvPr id="82" name="object 82"/>
            <p:cNvPicPr/>
            <p:nvPr/>
          </p:nvPicPr>
          <p:blipFill>
            <a:blip r:embed="rId54" cstate="print"/>
            <a:stretch>
              <a:fillRect/>
            </a:stretch>
          </p:blipFill>
          <p:spPr>
            <a:xfrm>
              <a:off x="6977126" y="1897379"/>
              <a:ext cx="365759" cy="274320"/>
            </a:xfrm>
            <a:prstGeom prst="rect">
              <a:avLst/>
            </a:prstGeom>
          </p:spPr>
        </p:pic>
        <p:pic>
          <p:nvPicPr>
            <p:cNvPr id="83" name="object 83"/>
            <p:cNvPicPr/>
            <p:nvPr/>
          </p:nvPicPr>
          <p:blipFill>
            <a:blip r:embed="rId55" cstate="print"/>
            <a:stretch>
              <a:fillRect/>
            </a:stretch>
          </p:blipFill>
          <p:spPr>
            <a:xfrm>
              <a:off x="7251446" y="1948433"/>
              <a:ext cx="1574038" cy="213360"/>
            </a:xfrm>
            <a:prstGeom prst="rect">
              <a:avLst/>
            </a:prstGeom>
          </p:spPr>
        </p:pic>
      </p:grpSp>
      <p:grpSp>
        <p:nvGrpSpPr>
          <p:cNvPr id="84" name="object 84"/>
          <p:cNvGrpSpPr/>
          <p:nvPr/>
        </p:nvGrpSpPr>
        <p:grpSpPr>
          <a:xfrm>
            <a:off x="5232845" y="1689830"/>
            <a:ext cx="1409700" cy="205740"/>
            <a:chOff x="6977126" y="2249932"/>
            <a:chExt cx="1879600" cy="274320"/>
          </a:xfrm>
        </p:grpSpPr>
        <p:pic>
          <p:nvPicPr>
            <p:cNvPr id="85" name="object 85"/>
            <p:cNvPicPr/>
            <p:nvPr/>
          </p:nvPicPr>
          <p:blipFill>
            <a:blip r:embed="rId56" cstate="print"/>
            <a:stretch>
              <a:fillRect/>
            </a:stretch>
          </p:blipFill>
          <p:spPr>
            <a:xfrm>
              <a:off x="6977126" y="2249932"/>
              <a:ext cx="357631" cy="274320"/>
            </a:xfrm>
            <a:prstGeom prst="rect">
              <a:avLst/>
            </a:prstGeom>
          </p:spPr>
        </p:pic>
        <p:pic>
          <p:nvPicPr>
            <p:cNvPr id="86" name="object 86"/>
            <p:cNvPicPr/>
            <p:nvPr/>
          </p:nvPicPr>
          <p:blipFill>
            <a:blip r:embed="rId57" cstate="print"/>
            <a:stretch>
              <a:fillRect/>
            </a:stretch>
          </p:blipFill>
          <p:spPr>
            <a:xfrm>
              <a:off x="7245350" y="2300986"/>
              <a:ext cx="1610868" cy="213360"/>
            </a:xfrm>
            <a:prstGeom prst="rect">
              <a:avLst/>
            </a:prstGeom>
          </p:spPr>
        </p:pic>
      </p:grpSp>
      <p:grpSp>
        <p:nvGrpSpPr>
          <p:cNvPr id="87" name="object 87"/>
          <p:cNvGrpSpPr/>
          <p:nvPr/>
        </p:nvGrpSpPr>
        <p:grpSpPr>
          <a:xfrm>
            <a:off x="5232845" y="1954053"/>
            <a:ext cx="1202055" cy="206216"/>
            <a:chOff x="6977126" y="2602229"/>
            <a:chExt cx="1602740" cy="274955"/>
          </a:xfrm>
        </p:grpSpPr>
        <p:pic>
          <p:nvPicPr>
            <p:cNvPr id="88" name="object 88"/>
            <p:cNvPicPr/>
            <p:nvPr/>
          </p:nvPicPr>
          <p:blipFill>
            <a:blip r:embed="rId58" cstate="print"/>
            <a:stretch>
              <a:fillRect/>
            </a:stretch>
          </p:blipFill>
          <p:spPr>
            <a:xfrm>
              <a:off x="6977126" y="2602229"/>
              <a:ext cx="338327" cy="274574"/>
            </a:xfrm>
            <a:prstGeom prst="rect">
              <a:avLst/>
            </a:prstGeom>
          </p:spPr>
        </p:pic>
        <p:pic>
          <p:nvPicPr>
            <p:cNvPr id="89" name="object 89"/>
            <p:cNvPicPr/>
            <p:nvPr/>
          </p:nvPicPr>
          <p:blipFill>
            <a:blip r:embed="rId59" cstate="print"/>
            <a:stretch>
              <a:fillRect/>
            </a:stretch>
          </p:blipFill>
          <p:spPr>
            <a:xfrm>
              <a:off x="7230872" y="2653283"/>
              <a:ext cx="1348485" cy="213360"/>
            </a:xfrm>
            <a:prstGeom prst="rect">
              <a:avLst/>
            </a:prstGeom>
          </p:spPr>
        </p:pic>
      </p:grpSp>
      <p:pic>
        <p:nvPicPr>
          <p:cNvPr id="90" name="object 90"/>
          <p:cNvPicPr/>
          <p:nvPr/>
        </p:nvPicPr>
        <p:blipFill>
          <a:blip r:embed="rId60" cstate="print"/>
          <a:stretch>
            <a:fillRect/>
          </a:stretch>
        </p:blipFill>
        <p:spPr>
          <a:xfrm>
            <a:off x="8841105" y="4760500"/>
            <a:ext cx="114300" cy="16002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A4863F-4309-6734-5253-D4ABA46650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" name="Picture 90">
            <a:extLst>
              <a:ext uri="{FF2B5EF4-FFF2-40B4-BE49-F238E27FC236}">
                <a16:creationId xmlns:a16="http://schemas.microsoft.com/office/drawing/2014/main" id="{FA9F4E55-3D27-C9D4-1170-0760745DF2D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8836" y="2224104"/>
            <a:ext cx="2096217" cy="1130210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77B0326E-26DD-EFB6-4E88-4334481D620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38" y="2234705"/>
            <a:ext cx="1905214" cy="1271731"/>
          </a:xfrm>
          <a:prstGeom prst="rect">
            <a:avLst/>
          </a:prstGeom>
        </p:spPr>
      </p:pic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F02B7B69-30A6-2C45-0882-5979254DA7C0}"/>
              </a:ext>
            </a:extLst>
          </p:cNvPr>
          <p:cNvSpPr txBox="1">
            <a:spLocks/>
          </p:cNvSpPr>
          <p:nvPr/>
        </p:nvSpPr>
        <p:spPr>
          <a:xfrm>
            <a:off x="327238" y="328137"/>
            <a:ext cx="6985425" cy="329589"/>
          </a:xfrm>
          <a:prstGeom prst="rect">
            <a:avLst/>
          </a:prstGeom>
        </p:spPr>
        <p:txBody>
          <a:bodyPr lIns="0" tIns="0" rIns="0" bIns="0"/>
          <a:lstStyle>
            <a:lvl1pPr algn="l" defTabSz="12180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64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 defTabSz="1216946"/>
            <a:r>
              <a:rPr lang="ru-RU" altLang="ru-RU" sz="1598" dirty="0">
                <a:solidFill>
                  <a:prstClr val="black"/>
                </a:solidFill>
              </a:rPr>
              <a:t>УРОКИ ЭФФЕКТИВНОГО РЕГИОНА: </a:t>
            </a:r>
          </a:p>
          <a:p>
            <a:pPr algn="ctr" defTabSz="1216946"/>
            <a:r>
              <a:rPr lang="ru-RU" altLang="ru-RU" sz="1598" dirty="0">
                <a:solidFill>
                  <a:prstClr val="black"/>
                </a:solidFill>
              </a:rPr>
              <a:t>НЕУСТОЙЧИВОСТЬ ИЗМЕНЕНИЙ ИЗ ОПЫТА 2018 – 2025 гг.</a:t>
            </a:r>
          </a:p>
        </p:txBody>
      </p:sp>
      <p:sp>
        <p:nvSpPr>
          <p:cNvPr id="24" name="Прямоугольник 35">
            <a:extLst>
              <a:ext uri="{FF2B5EF4-FFF2-40B4-BE49-F238E27FC236}">
                <a16:creationId xmlns:a16="http://schemas.microsoft.com/office/drawing/2014/main" id="{BDE7A8CF-2F5E-D50D-6834-6E011C4385B1}"/>
              </a:ext>
            </a:extLst>
          </p:cNvPr>
          <p:cNvSpPr/>
          <p:nvPr/>
        </p:nvSpPr>
        <p:spPr bwMode="auto">
          <a:xfrm>
            <a:off x="91912" y="1455105"/>
            <a:ext cx="2815863" cy="6222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1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49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Кадровые изменения</a:t>
            </a:r>
          </a:p>
          <a:p>
            <a:pPr algn="ctr" defTabSz="6851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Смена губернатора, Министра </a:t>
            </a:r>
          </a:p>
          <a:p>
            <a:pPr algn="ctr" defTabSz="6851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Руководителя ведомства</a:t>
            </a:r>
          </a:p>
        </p:txBody>
      </p:sp>
      <p:sp>
        <p:nvSpPr>
          <p:cNvPr id="25" name="Прямоугольник 35">
            <a:extLst>
              <a:ext uri="{FF2B5EF4-FFF2-40B4-BE49-F238E27FC236}">
                <a16:creationId xmlns:a16="http://schemas.microsoft.com/office/drawing/2014/main" id="{33A03357-5077-E0EC-431D-897B245CD929}"/>
              </a:ext>
            </a:extLst>
          </p:cNvPr>
          <p:cNvSpPr/>
          <p:nvPr/>
        </p:nvSpPr>
        <p:spPr bwMode="auto">
          <a:xfrm>
            <a:off x="5768829" y="1476589"/>
            <a:ext cx="2815857" cy="6222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1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Все на местах, но </a:t>
            </a:r>
            <a:r>
              <a:rPr lang="ru-RU" sz="1049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эффективность (бережливость) резко уходит из топ-3 приоритетов </a:t>
            </a: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первого лица</a:t>
            </a:r>
          </a:p>
        </p:txBody>
      </p:sp>
      <p:sp>
        <p:nvSpPr>
          <p:cNvPr id="26" name="Прямоугольник 35">
            <a:extLst>
              <a:ext uri="{FF2B5EF4-FFF2-40B4-BE49-F238E27FC236}">
                <a16:creationId xmlns:a16="http://schemas.microsoft.com/office/drawing/2014/main" id="{3AAD8241-684D-35D3-4267-2D05D7D911C7}"/>
              </a:ext>
            </a:extLst>
          </p:cNvPr>
          <p:cNvSpPr/>
          <p:nvPr/>
        </p:nvSpPr>
        <p:spPr bwMode="auto">
          <a:xfrm>
            <a:off x="2545174" y="2189274"/>
            <a:ext cx="3676891" cy="10351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1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49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Как следствие:</a:t>
            </a:r>
          </a:p>
          <a:p>
            <a:pPr marL="285486" indent="-285486" defTabSz="68516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Проекты остановлены</a:t>
            </a:r>
          </a:p>
          <a:p>
            <a:pPr marL="285486" indent="-285486" defTabSz="68516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Команды расформированы</a:t>
            </a:r>
          </a:p>
          <a:p>
            <a:pPr marL="285486" indent="-285486" defTabSz="68516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Новых инициатив нет</a:t>
            </a:r>
          </a:p>
          <a:p>
            <a:pPr marL="285486" indent="-285486" defTabSz="68516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Лидеры изменений брошены</a:t>
            </a:r>
          </a:p>
          <a:p>
            <a:pPr marL="285486" indent="-285486" defTabSz="68516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Опыт и компетенции постепенно затухают</a:t>
            </a:r>
          </a:p>
        </p:txBody>
      </p:sp>
      <p:sp>
        <p:nvSpPr>
          <p:cNvPr id="27" name="Прямоугольник 35">
            <a:extLst>
              <a:ext uri="{FF2B5EF4-FFF2-40B4-BE49-F238E27FC236}">
                <a16:creationId xmlns:a16="http://schemas.microsoft.com/office/drawing/2014/main" id="{460D7EF0-48DC-68E1-B9CB-2612C84A4D7B}"/>
              </a:ext>
            </a:extLst>
          </p:cNvPr>
          <p:cNvSpPr/>
          <p:nvPr/>
        </p:nvSpPr>
        <p:spPr bwMode="auto">
          <a:xfrm>
            <a:off x="91909" y="3946711"/>
            <a:ext cx="2815862" cy="95925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71292" indent="-171292" defTabSz="68516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Отсутствие нормативных закреплений в стандартах (административная преемственность)</a:t>
            </a:r>
          </a:p>
          <a:p>
            <a:pPr marL="171292" indent="-171292" defTabSz="68516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Отсутствие системной ответственности за «соц. эстафету» изменений</a:t>
            </a:r>
          </a:p>
        </p:txBody>
      </p:sp>
      <p:sp>
        <p:nvSpPr>
          <p:cNvPr id="28" name="Прямоугольник 35">
            <a:extLst>
              <a:ext uri="{FF2B5EF4-FFF2-40B4-BE49-F238E27FC236}">
                <a16:creationId xmlns:a16="http://schemas.microsoft.com/office/drawing/2014/main" id="{AAD577CE-EF61-3587-1492-7F116EE4B18B}"/>
              </a:ext>
            </a:extLst>
          </p:cNvPr>
          <p:cNvSpPr/>
          <p:nvPr/>
        </p:nvSpPr>
        <p:spPr bwMode="auto">
          <a:xfrm>
            <a:off x="2545175" y="817461"/>
            <a:ext cx="3676889" cy="54462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166" fontAlgn="base">
              <a:spcBef>
                <a:spcPct val="0"/>
              </a:spcBef>
              <a:spcAft>
                <a:spcPct val="0"/>
              </a:spcAft>
            </a:pPr>
            <a:r>
              <a:rPr lang="ru-RU" sz="1049" b="1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На старте – </a:t>
            </a:r>
          </a:p>
          <a:p>
            <a:pPr marL="171292" indent="-171292" defTabSz="68516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049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высокая динамика, вовлеченность</a:t>
            </a:r>
          </a:p>
          <a:p>
            <a:pPr marL="171292" indent="-171292" defTabSz="68516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049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серьезные результаты в первые полгода</a:t>
            </a:r>
          </a:p>
        </p:txBody>
      </p:sp>
      <p:sp>
        <p:nvSpPr>
          <p:cNvPr id="29" name="Прямоугольник 35">
            <a:extLst>
              <a:ext uri="{FF2B5EF4-FFF2-40B4-BE49-F238E27FC236}">
                <a16:creationId xmlns:a16="http://schemas.microsoft.com/office/drawing/2014/main" id="{DD229B20-4169-2941-3F3F-0DD80F2E5D11}"/>
              </a:ext>
            </a:extLst>
          </p:cNvPr>
          <p:cNvSpPr/>
          <p:nvPr/>
        </p:nvSpPr>
        <p:spPr bwMode="auto">
          <a:xfrm>
            <a:off x="5768829" y="3937549"/>
            <a:ext cx="2815858" cy="9654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71292" indent="-171292" defTabSz="68516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Ориентация на быстрый эффектный результат</a:t>
            </a:r>
          </a:p>
          <a:p>
            <a:pPr marL="171292" indent="-171292" defTabSz="68516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Убедились, что за это не поощряют </a:t>
            </a:r>
            <a:b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</a:b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и не наказывают «сверху»</a:t>
            </a:r>
          </a:p>
          <a:p>
            <a:pPr marL="171292" indent="-171292" defTabSz="68516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Установка «на данность», а не на рост. </a:t>
            </a:r>
            <a:b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</a:br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Нет веры в людей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BDDF15FF-44E8-47A9-FC20-22CC184FC152}"/>
              </a:ext>
            </a:extLst>
          </p:cNvPr>
          <p:cNvCxnSpPr>
            <a:cxnSpLocks/>
          </p:cNvCxnSpPr>
          <p:nvPr/>
        </p:nvCxnSpPr>
        <p:spPr>
          <a:xfrm>
            <a:off x="1499840" y="1089777"/>
            <a:ext cx="0" cy="32453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28AC4F96-E5A3-1B04-4324-F1D3FF360FEE}"/>
              </a:ext>
            </a:extLst>
          </p:cNvPr>
          <p:cNvSpPr txBox="1"/>
          <p:nvPr/>
        </p:nvSpPr>
        <p:spPr>
          <a:xfrm>
            <a:off x="1994315" y="3327840"/>
            <a:ext cx="4567771" cy="2537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1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49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Коренные  причины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149D84AB-E84C-644B-FA96-1EF429958D49}"/>
              </a:ext>
            </a:extLst>
          </p:cNvPr>
          <p:cNvCxnSpPr>
            <a:cxnSpLocks/>
          </p:cNvCxnSpPr>
          <p:nvPr/>
        </p:nvCxnSpPr>
        <p:spPr>
          <a:xfrm>
            <a:off x="7277255" y="1089776"/>
            <a:ext cx="0" cy="3868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Прямоугольник 35">
            <a:extLst>
              <a:ext uri="{FF2B5EF4-FFF2-40B4-BE49-F238E27FC236}">
                <a16:creationId xmlns:a16="http://schemas.microsoft.com/office/drawing/2014/main" id="{FBFD0C1B-CDAA-81C8-67E0-1A963D386070}"/>
              </a:ext>
            </a:extLst>
          </p:cNvPr>
          <p:cNvSpPr/>
          <p:nvPr/>
        </p:nvSpPr>
        <p:spPr bwMode="auto">
          <a:xfrm>
            <a:off x="3150064" y="3940564"/>
            <a:ext cx="2266184" cy="9654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067"/>
            <a:r>
              <a:rPr lang="ru-RU" sz="1049" kern="0" dirty="0">
                <a:solidFill>
                  <a:sysClr val="windowText" lastClr="000000"/>
                </a:solidFill>
                <a:latin typeface="Arial"/>
                <a:cs typeface="Arial"/>
              </a:rPr>
              <a:t>«Комиссары перемен» - недостаточно навыков по искусству влияния на первых лиц</a:t>
            </a:r>
            <a:endParaRPr lang="en-US" sz="1049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1A2AD42D-DD41-4722-6756-4335CC1F7BF3}"/>
              </a:ext>
            </a:extLst>
          </p:cNvPr>
          <p:cNvCxnSpPr>
            <a:cxnSpLocks/>
            <a:stCxn id="28" idx="1"/>
          </p:cNvCxnSpPr>
          <p:nvPr/>
        </p:nvCxnSpPr>
        <p:spPr>
          <a:xfrm flipH="1">
            <a:off x="1499841" y="1089775"/>
            <a:ext cx="10453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4684999D-2D2C-E702-80C4-6961711A2258}"/>
              </a:ext>
            </a:extLst>
          </p:cNvPr>
          <p:cNvCxnSpPr>
            <a:cxnSpLocks/>
          </p:cNvCxnSpPr>
          <p:nvPr/>
        </p:nvCxnSpPr>
        <p:spPr>
          <a:xfrm flipH="1">
            <a:off x="6222065" y="1089775"/>
            <a:ext cx="105519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FE59C200-8DFD-5581-1AEF-E1E5E8CDFD07}"/>
              </a:ext>
            </a:extLst>
          </p:cNvPr>
          <p:cNvCxnSpPr>
            <a:cxnSpLocks/>
          </p:cNvCxnSpPr>
          <p:nvPr/>
        </p:nvCxnSpPr>
        <p:spPr>
          <a:xfrm>
            <a:off x="1499840" y="3581523"/>
            <a:ext cx="0" cy="32453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A632ED9B-1E75-9C4E-79AF-BAC68C5BFC34}"/>
              </a:ext>
            </a:extLst>
          </p:cNvPr>
          <p:cNvCxnSpPr>
            <a:cxnSpLocks/>
          </p:cNvCxnSpPr>
          <p:nvPr/>
        </p:nvCxnSpPr>
        <p:spPr>
          <a:xfrm>
            <a:off x="7277255" y="3544005"/>
            <a:ext cx="0" cy="32453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7DA6ED7D-87EB-B831-FAA9-7283F0E6C288}"/>
              </a:ext>
            </a:extLst>
          </p:cNvPr>
          <p:cNvCxnSpPr>
            <a:cxnSpLocks/>
          </p:cNvCxnSpPr>
          <p:nvPr/>
        </p:nvCxnSpPr>
        <p:spPr>
          <a:xfrm>
            <a:off x="4297319" y="3544005"/>
            <a:ext cx="0" cy="37780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A92B885-88C5-D148-E6F8-BF7ADE2B0B96}"/>
              </a:ext>
            </a:extLst>
          </p:cNvPr>
          <p:cNvCxnSpPr>
            <a:cxnSpLocks/>
          </p:cNvCxnSpPr>
          <p:nvPr/>
        </p:nvCxnSpPr>
        <p:spPr>
          <a:xfrm flipH="1">
            <a:off x="1476605" y="3558167"/>
            <a:ext cx="58006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EF11423-C55B-D804-501C-BC950569C5AA}"/>
              </a:ext>
            </a:extLst>
          </p:cNvPr>
          <p:cNvCxnSpPr>
            <a:cxnSpLocks/>
          </p:cNvCxnSpPr>
          <p:nvPr/>
        </p:nvCxnSpPr>
        <p:spPr>
          <a:xfrm flipH="1">
            <a:off x="4297320" y="3224376"/>
            <a:ext cx="1" cy="31962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2A6EC71-5F5D-2F0A-B5E3-C751B3AC7722}"/>
              </a:ext>
            </a:extLst>
          </p:cNvPr>
          <p:cNvCxnSpPr>
            <a:cxnSpLocks/>
          </p:cNvCxnSpPr>
          <p:nvPr/>
        </p:nvCxnSpPr>
        <p:spPr>
          <a:xfrm flipH="1">
            <a:off x="2907771" y="1764369"/>
            <a:ext cx="9418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03C64643-036F-4CE8-DD1D-798AE767F1C9}"/>
              </a:ext>
            </a:extLst>
          </p:cNvPr>
          <p:cNvCxnSpPr>
            <a:cxnSpLocks/>
          </p:cNvCxnSpPr>
          <p:nvPr/>
        </p:nvCxnSpPr>
        <p:spPr>
          <a:xfrm>
            <a:off x="3841265" y="1764370"/>
            <a:ext cx="0" cy="40155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DCE910C6-0109-0C42-6400-988C0CA0A4D7}"/>
              </a:ext>
            </a:extLst>
          </p:cNvPr>
          <p:cNvCxnSpPr>
            <a:cxnSpLocks/>
          </p:cNvCxnSpPr>
          <p:nvPr/>
        </p:nvCxnSpPr>
        <p:spPr>
          <a:xfrm flipV="1">
            <a:off x="4754095" y="1773551"/>
            <a:ext cx="10147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6356630-4E78-D61B-FE37-DE742EBC45FF}"/>
              </a:ext>
            </a:extLst>
          </p:cNvPr>
          <p:cNvCxnSpPr>
            <a:cxnSpLocks/>
          </p:cNvCxnSpPr>
          <p:nvPr/>
        </p:nvCxnSpPr>
        <p:spPr>
          <a:xfrm flipH="1">
            <a:off x="4754095" y="1778144"/>
            <a:ext cx="6499" cy="37821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5798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349091" y="983687"/>
            <a:ext cx="4738099" cy="350351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 rot="10860000">
            <a:off x="-233278" y="-489568"/>
            <a:ext cx="1734338" cy="15901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2414"/>
              </a:lnSpc>
            </a:pPr>
            <a:r>
              <a:rPr sz="12414" b="1" spc="-38" dirty="0">
                <a:solidFill>
                  <a:srgbClr val="0D4697"/>
                </a:solidFill>
                <a:latin typeface="Franklin Gothic Demi"/>
                <a:cs typeface="Franklin Gothic Demi"/>
              </a:rPr>
              <a:t>“</a:t>
            </a:r>
            <a:endParaRPr sz="12414" dirty="0">
              <a:latin typeface="Franklin Gothic Demi"/>
              <a:cs typeface="Franklin Gothic Demi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469216" y="983688"/>
            <a:ext cx="8077928" cy="3722897"/>
            <a:chOff x="551687" y="1579372"/>
            <a:chExt cx="11375390" cy="4978400"/>
          </a:xfrm>
        </p:grpSpPr>
        <p:sp>
          <p:nvSpPr>
            <p:cNvPr id="7" name="object 7"/>
            <p:cNvSpPr/>
            <p:nvPr/>
          </p:nvSpPr>
          <p:spPr>
            <a:xfrm>
              <a:off x="551687" y="3185160"/>
              <a:ext cx="5345430" cy="740410"/>
            </a:xfrm>
            <a:custGeom>
              <a:avLst/>
              <a:gdLst/>
              <a:ahLst/>
              <a:cxnLst/>
              <a:rect l="l" t="t" r="r" b="b"/>
              <a:pathLst>
                <a:path w="5345430" h="740410">
                  <a:moveTo>
                    <a:pt x="5345430" y="0"/>
                  </a:moveTo>
                  <a:lnTo>
                    <a:pt x="0" y="0"/>
                  </a:lnTo>
                  <a:lnTo>
                    <a:pt x="0" y="739901"/>
                  </a:lnTo>
                  <a:lnTo>
                    <a:pt x="5345430" y="739901"/>
                  </a:lnTo>
                  <a:lnTo>
                    <a:pt x="5345430" y="0"/>
                  </a:lnTo>
                  <a:close/>
                </a:path>
              </a:pathLst>
            </a:custGeom>
            <a:solidFill>
              <a:srgbClr val="0D4697"/>
            </a:solidFill>
          </p:spPr>
          <p:txBody>
            <a:bodyPr wrap="square" lIns="0" tIns="0" rIns="0" bIns="0" rtlCol="0"/>
            <a:lstStyle/>
            <a:p>
              <a:endParaRPr sz="1346"/>
            </a:p>
          </p:txBody>
        </p:sp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801856" y="6344157"/>
              <a:ext cx="124968" cy="213360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53795" y="5453887"/>
              <a:ext cx="5130546" cy="274320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53795" y="5728207"/>
              <a:ext cx="2435098" cy="274320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551688" y="4345685"/>
              <a:ext cx="4965700" cy="750570"/>
            </a:xfrm>
            <a:custGeom>
              <a:avLst/>
              <a:gdLst/>
              <a:ahLst/>
              <a:cxnLst/>
              <a:rect l="l" t="t" r="r" b="b"/>
              <a:pathLst>
                <a:path w="4965700" h="750570">
                  <a:moveTo>
                    <a:pt x="4965192" y="0"/>
                  </a:moveTo>
                  <a:lnTo>
                    <a:pt x="2736329" y="0"/>
                  </a:lnTo>
                  <a:lnTo>
                    <a:pt x="2736329" y="359664"/>
                  </a:lnTo>
                  <a:lnTo>
                    <a:pt x="0" y="359664"/>
                  </a:lnTo>
                  <a:lnTo>
                    <a:pt x="0" y="750570"/>
                  </a:lnTo>
                  <a:lnTo>
                    <a:pt x="3136392" y="750570"/>
                  </a:lnTo>
                  <a:lnTo>
                    <a:pt x="3136392" y="390906"/>
                  </a:lnTo>
                  <a:lnTo>
                    <a:pt x="4965192" y="390906"/>
                  </a:lnTo>
                  <a:lnTo>
                    <a:pt x="4965192" y="0"/>
                  </a:lnTo>
                  <a:close/>
                </a:path>
              </a:pathLst>
            </a:custGeom>
            <a:solidFill>
              <a:srgbClr val="0D4697"/>
            </a:solidFill>
          </p:spPr>
          <p:txBody>
            <a:bodyPr wrap="square" lIns="0" tIns="0" rIns="0" bIns="0" rtlCol="0"/>
            <a:lstStyle/>
            <a:p>
              <a:endParaRPr sz="1346"/>
            </a:p>
          </p:txBody>
        </p:sp>
        <p:pic>
          <p:nvPicPr>
            <p:cNvPr id="12" name="object 1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29157" y="1579372"/>
              <a:ext cx="4028059" cy="426720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513326" y="1579372"/>
              <a:ext cx="387096" cy="426720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783073" y="1579372"/>
              <a:ext cx="636270" cy="426720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629157" y="1963420"/>
              <a:ext cx="3952113" cy="426720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440173" y="1963420"/>
              <a:ext cx="297179" cy="426720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4665726" y="1963420"/>
              <a:ext cx="1434973" cy="426720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29157" y="2347468"/>
              <a:ext cx="5536692" cy="426720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629157" y="2731516"/>
              <a:ext cx="2126742" cy="426720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629157" y="3115310"/>
              <a:ext cx="5342509" cy="426974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629157" y="3500627"/>
              <a:ext cx="5030724" cy="426720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629157" y="3883914"/>
              <a:ext cx="5501259" cy="426719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629157" y="4267961"/>
              <a:ext cx="2837434" cy="426719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3331464" y="4267961"/>
              <a:ext cx="2284730" cy="426719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629157" y="4652010"/>
              <a:ext cx="3095879" cy="426719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260551" y="164963"/>
            <a:ext cx="6789219" cy="374899"/>
          </a:xfrm>
        </p:spPr>
        <p:txBody>
          <a:bodyPr anchor="ctr"/>
          <a:lstStyle/>
          <a:p>
            <a:pPr algn="ctr"/>
            <a:r>
              <a:rPr lang="ru-RU" sz="1598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Проект «Бережливый/Эффективный регион» </a:t>
            </a:r>
            <a:endParaRPr lang="ru-RU" altLang="ru-RU" sz="1598" b="1" dirty="0">
              <a:solidFill>
                <a:schemeClr val="accent3">
                  <a:lumMod val="50000"/>
                </a:schemeClr>
              </a:solidFill>
              <a:latin typeface="Arial" charset="0"/>
              <a:cs typeface="Times New Roman" panose="02020603050405020304" pitchFamily="18" charset="0"/>
            </a:endParaRPr>
          </a:p>
        </p:txBody>
      </p:sp>
      <p:sp>
        <p:nvSpPr>
          <p:cNvPr id="6" name="Стрелка вверх 5"/>
          <p:cNvSpPr/>
          <p:nvPr/>
        </p:nvSpPr>
        <p:spPr>
          <a:xfrm rot="10800000">
            <a:off x="2485046" y="3770482"/>
            <a:ext cx="311871" cy="155709"/>
          </a:xfrm>
          <a:prstGeom prst="up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54">
              <a:defRPr/>
            </a:pPr>
            <a:endParaRPr lang="ru-RU" sz="1799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15" name="Стрелка вверх 14"/>
          <p:cNvSpPr/>
          <p:nvPr/>
        </p:nvSpPr>
        <p:spPr>
          <a:xfrm rot="10800000">
            <a:off x="6969447" y="3770482"/>
            <a:ext cx="311871" cy="155709"/>
          </a:xfrm>
          <a:prstGeom prst="up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54">
              <a:defRPr/>
            </a:pPr>
            <a:endParaRPr lang="ru-RU" sz="1799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16" name="Стрелка вверх 15"/>
          <p:cNvSpPr/>
          <p:nvPr/>
        </p:nvSpPr>
        <p:spPr>
          <a:xfrm rot="10800000">
            <a:off x="6969447" y="2656873"/>
            <a:ext cx="311871" cy="155709"/>
          </a:xfrm>
          <a:prstGeom prst="up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54">
              <a:defRPr/>
            </a:pPr>
            <a:endParaRPr lang="ru-RU" sz="1799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17" name="Стрелка вверх 16"/>
          <p:cNvSpPr/>
          <p:nvPr/>
        </p:nvSpPr>
        <p:spPr>
          <a:xfrm rot="10800000">
            <a:off x="6969447" y="1584110"/>
            <a:ext cx="311871" cy="155709"/>
          </a:xfrm>
          <a:prstGeom prst="up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54">
              <a:defRPr/>
            </a:pPr>
            <a:endParaRPr lang="ru-RU" sz="1799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18" name="Стрелка вверх 17"/>
          <p:cNvSpPr/>
          <p:nvPr/>
        </p:nvSpPr>
        <p:spPr>
          <a:xfrm rot="10800000">
            <a:off x="2479026" y="2656872"/>
            <a:ext cx="311871" cy="155709"/>
          </a:xfrm>
          <a:prstGeom prst="up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54">
              <a:defRPr/>
            </a:pPr>
            <a:endParaRPr lang="ru-RU" sz="1799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19" name="Стрелка вверх 18"/>
          <p:cNvSpPr/>
          <p:nvPr/>
        </p:nvSpPr>
        <p:spPr>
          <a:xfrm rot="10800000">
            <a:off x="2485046" y="1580320"/>
            <a:ext cx="311871" cy="155709"/>
          </a:xfrm>
          <a:prstGeom prst="up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554">
              <a:defRPr/>
            </a:pPr>
            <a:endParaRPr lang="ru-RU" sz="1799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3" name="Пятиугольник 38">
            <a:extLst>
              <a:ext uri="{FF2B5EF4-FFF2-40B4-BE49-F238E27FC236}">
                <a16:creationId xmlns:a16="http://schemas.microsoft.com/office/drawing/2014/main" id="{1473134B-F815-4848-97E3-DE7894B4A0CB}"/>
              </a:ext>
            </a:extLst>
          </p:cNvPr>
          <p:cNvSpPr/>
          <p:nvPr/>
        </p:nvSpPr>
        <p:spPr>
          <a:xfrm>
            <a:off x="549732" y="1742744"/>
            <a:ext cx="3870627" cy="860727"/>
          </a:xfrm>
          <a:prstGeom prst="homePlate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r>
              <a:rPr lang="ru-RU" sz="1350" kern="0" dirty="0">
                <a:solidFill>
                  <a:srgbClr val="FFFFFF"/>
                </a:solidFill>
                <a:latin typeface="Arial" panose="020B0604020202020204"/>
              </a:rPr>
              <a:t>Сокращение потерь времени и ресурсов при взаимодействии населения с органами власти и организациями различных секторов социальной сферы</a:t>
            </a:r>
          </a:p>
        </p:txBody>
      </p:sp>
      <p:sp>
        <p:nvSpPr>
          <p:cNvPr id="24" name="Пятиугольник 38">
            <a:extLst>
              <a:ext uri="{FF2B5EF4-FFF2-40B4-BE49-F238E27FC236}">
                <a16:creationId xmlns:a16="http://schemas.microsoft.com/office/drawing/2014/main" id="{067FC3F7-C85F-43B8-8E5D-D947138A22A4}"/>
              </a:ext>
            </a:extLst>
          </p:cNvPr>
          <p:cNvSpPr/>
          <p:nvPr/>
        </p:nvSpPr>
        <p:spPr>
          <a:xfrm>
            <a:off x="549732" y="2836354"/>
            <a:ext cx="3870627" cy="906584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r>
              <a:rPr lang="ru-RU" sz="1350" kern="0" dirty="0">
                <a:solidFill>
                  <a:srgbClr val="FFFFFF"/>
                </a:solidFill>
                <a:latin typeface="Arial" panose="020B0604020202020204"/>
              </a:rPr>
              <a:t>Повышение удовлетворенности граждан (налогоплательщиков, социально-незащищенных слоев населения) в сфере взаимодействия с органами власти</a:t>
            </a:r>
          </a:p>
        </p:txBody>
      </p:sp>
      <p:sp>
        <p:nvSpPr>
          <p:cNvPr id="25" name="Пятиугольник 38">
            <a:extLst>
              <a:ext uri="{FF2B5EF4-FFF2-40B4-BE49-F238E27FC236}">
                <a16:creationId xmlns:a16="http://schemas.microsoft.com/office/drawing/2014/main" id="{AE6B4A1A-8EF7-471A-9E02-BFBA4E19F688}"/>
              </a:ext>
            </a:extLst>
          </p:cNvPr>
          <p:cNvSpPr/>
          <p:nvPr/>
        </p:nvSpPr>
        <p:spPr>
          <a:xfrm>
            <a:off x="543712" y="3952049"/>
            <a:ext cx="3870627" cy="860727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r>
              <a:rPr lang="ru-RU" sz="1350" kern="0" dirty="0">
                <a:solidFill>
                  <a:srgbClr val="FFFFFF"/>
                </a:solidFill>
                <a:latin typeface="Arial" panose="020B0604020202020204"/>
              </a:rPr>
              <a:t>Повышение удовлетворенности населения уровнем жизни в регионах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A21510AF-35FA-463A-8ECF-4EE91242480C}"/>
              </a:ext>
            </a:extLst>
          </p:cNvPr>
          <p:cNvSpPr/>
          <p:nvPr/>
        </p:nvSpPr>
        <p:spPr>
          <a:xfrm>
            <a:off x="537692" y="690280"/>
            <a:ext cx="8314058" cy="860728"/>
          </a:xfrm>
          <a:prstGeom prst="rect">
            <a:avLst/>
          </a:prstGeom>
          <a:solidFill>
            <a:srgbClr val="025EA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r>
              <a:rPr lang="ru-RU" b="1" kern="0" dirty="0">
                <a:solidFill>
                  <a:srgbClr val="FFFFFF"/>
                </a:solidFill>
                <a:latin typeface="Arial" panose="020B0604020202020204"/>
              </a:rPr>
              <a:t>Повышение эффективности органов государственного и муниципального управления с применением методов бережливого производства с целью:</a:t>
            </a:r>
          </a:p>
        </p:txBody>
      </p:sp>
      <p:sp>
        <p:nvSpPr>
          <p:cNvPr id="29" name="Пятиугольник 40">
            <a:extLst>
              <a:ext uri="{FF2B5EF4-FFF2-40B4-BE49-F238E27FC236}">
                <a16:creationId xmlns:a16="http://schemas.microsoft.com/office/drawing/2014/main" id="{E0340ACE-5F9C-4234-80F7-FDC4F006CBD3}"/>
              </a:ext>
            </a:extLst>
          </p:cNvPr>
          <p:cNvSpPr/>
          <p:nvPr/>
        </p:nvSpPr>
        <p:spPr>
          <a:xfrm>
            <a:off x="5081124" y="3971920"/>
            <a:ext cx="3776646" cy="820985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r>
              <a:rPr lang="ru-RU" sz="1350" kern="0" dirty="0">
                <a:solidFill>
                  <a:srgbClr val="FFFFFF"/>
                </a:solidFill>
                <a:latin typeface="Arial" panose="020B0604020202020204"/>
              </a:rPr>
              <a:t>Достижение стратегических целей развития региона, поставленных руководством региона</a:t>
            </a:r>
          </a:p>
        </p:txBody>
      </p:sp>
      <p:sp>
        <p:nvSpPr>
          <p:cNvPr id="30" name="Пятиугольник 40">
            <a:extLst>
              <a:ext uri="{FF2B5EF4-FFF2-40B4-BE49-F238E27FC236}">
                <a16:creationId xmlns:a16="http://schemas.microsoft.com/office/drawing/2014/main" id="{452EEBC3-58DC-496E-A80C-9B6A1C746264}"/>
              </a:ext>
            </a:extLst>
          </p:cNvPr>
          <p:cNvSpPr/>
          <p:nvPr/>
        </p:nvSpPr>
        <p:spPr>
          <a:xfrm>
            <a:off x="5081124" y="2836354"/>
            <a:ext cx="3776646" cy="922650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r>
              <a:rPr lang="ru-RU" sz="1350" kern="0" dirty="0">
                <a:solidFill>
                  <a:srgbClr val="FFFFFF"/>
                </a:solidFill>
                <a:latin typeface="Arial" panose="020B0604020202020204"/>
              </a:rPr>
              <a:t>Улучшение имиджа органов власти (готовность к использованию прогрессивных технологий, диалог и сотрудничество с жителями региона)</a:t>
            </a:r>
          </a:p>
        </p:txBody>
      </p:sp>
      <p:sp>
        <p:nvSpPr>
          <p:cNvPr id="31" name="Пятиугольник 40">
            <a:extLst>
              <a:ext uri="{FF2B5EF4-FFF2-40B4-BE49-F238E27FC236}">
                <a16:creationId xmlns:a16="http://schemas.microsoft.com/office/drawing/2014/main" id="{C8EA16CA-7E22-4300-A68F-D2BDB1CE304C}"/>
              </a:ext>
            </a:extLst>
          </p:cNvPr>
          <p:cNvSpPr/>
          <p:nvPr/>
        </p:nvSpPr>
        <p:spPr>
          <a:xfrm>
            <a:off x="5075104" y="1746915"/>
            <a:ext cx="3776646" cy="852752"/>
          </a:xfrm>
          <a:prstGeom prst="homePlate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r>
              <a:rPr lang="ru-RU" sz="1350" kern="0" dirty="0">
                <a:solidFill>
                  <a:srgbClr val="FFFFFF"/>
                </a:solidFill>
                <a:latin typeface="Arial" panose="020B0604020202020204"/>
              </a:rPr>
              <a:t>Снижение временных и финансовых затрат на предоставление государственных и муниципальных услуг</a:t>
            </a:r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F8554017-D8CF-47C3-AF09-66E11D0A1E4B}"/>
              </a:ext>
            </a:extLst>
          </p:cNvPr>
          <p:cNvGrpSpPr/>
          <p:nvPr/>
        </p:nvGrpSpPr>
        <p:grpSpPr>
          <a:xfrm>
            <a:off x="4481897" y="1936150"/>
            <a:ext cx="539999" cy="540000"/>
            <a:chOff x="10417378" y="1995531"/>
            <a:chExt cx="719999" cy="720000"/>
          </a:xfrm>
        </p:grpSpPr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A6F66338-F460-46CB-9A57-495EABA6BB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10417378" y="1995531"/>
              <a:ext cx="719999" cy="720000"/>
            </a:xfrm>
            <a:prstGeom prst="rect">
              <a:avLst/>
            </a:prstGeom>
          </p:spPr>
        </p:pic>
        <p:sp>
          <p:nvSpPr>
            <p:cNvPr id="35" name="Полилиния 57">
              <a:extLst>
                <a:ext uri="{FF2B5EF4-FFF2-40B4-BE49-F238E27FC236}">
                  <a16:creationId xmlns:a16="http://schemas.microsoft.com/office/drawing/2014/main" id="{9CE456F1-5C82-410E-9BA6-AAB153BE53B2}"/>
                </a:ext>
              </a:extLst>
            </p:cNvPr>
            <p:cNvSpPr/>
            <p:nvPr/>
          </p:nvSpPr>
          <p:spPr>
            <a:xfrm>
              <a:off x="10600054" y="2173039"/>
              <a:ext cx="353566" cy="360655"/>
            </a:xfrm>
            <a:custGeom>
              <a:avLst/>
              <a:gdLst>
                <a:gd name="connsiteX0" fmla="*/ 6356 w 353566"/>
                <a:gd name="connsiteY0" fmla="*/ 206068 h 360655"/>
                <a:gd name="connsiteX1" fmla="*/ 6353 w 353566"/>
                <a:gd name="connsiteY1" fmla="*/ 206077 h 360655"/>
                <a:gd name="connsiteX2" fmla="*/ 6342 w 353566"/>
                <a:gd name="connsiteY2" fmla="*/ 206081 h 360655"/>
                <a:gd name="connsiteX3" fmla="*/ 81084 w 353566"/>
                <a:gd name="connsiteY3" fmla="*/ 195385 h 360655"/>
                <a:gd name="connsiteX4" fmla="*/ 115330 w 353566"/>
                <a:gd name="connsiteY4" fmla="*/ 229236 h 360655"/>
                <a:gd name="connsiteX5" fmla="*/ 123763 w 353566"/>
                <a:gd name="connsiteY5" fmla="*/ 206423 h 360655"/>
                <a:gd name="connsiteX6" fmla="*/ 154904 w 353566"/>
                <a:gd name="connsiteY6" fmla="*/ 206252 h 360655"/>
                <a:gd name="connsiteX7" fmla="*/ 155654 w 353566"/>
                <a:gd name="connsiteY7" fmla="*/ 236775 h 360655"/>
                <a:gd name="connsiteX8" fmla="*/ 155075 w 353566"/>
                <a:gd name="connsiteY8" fmla="*/ 237380 h 360655"/>
                <a:gd name="connsiteX9" fmla="*/ 133051 w 353566"/>
                <a:gd name="connsiteY9" fmla="*/ 246761 h 360655"/>
                <a:gd name="connsiteX10" fmla="*/ 166613 w 353566"/>
                <a:gd name="connsiteY10" fmla="*/ 279941 h 360655"/>
                <a:gd name="connsiteX11" fmla="*/ 86833 w 353566"/>
                <a:gd name="connsiteY11" fmla="*/ 360655 h 360655"/>
                <a:gd name="connsiteX12" fmla="*/ 61533 w 353566"/>
                <a:gd name="connsiteY12" fmla="*/ 335356 h 360655"/>
                <a:gd name="connsiteX13" fmla="*/ 76755 w 353566"/>
                <a:gd name="connsiteY13" fmla="*/ 327501 h 360655"/>
                <a:gd name="connsiteX14" fmla="*/ 77768 w 353566"/>
                <a:gd name="connsiteY14" fmla="*/ 326422 h 360655"/>
                <a:gd name="connsiteX15" fmla="*/ 76729 w 353566"/>
                <a:gd name="connsiteY15" fmla="*/ 285822 h 360655"/>
                <a:gd name="connsiteX16" fmla="*/ 76611 w 353566"/>
                <a:gd name="connsiteY16" fmla="*/ 285703 h 360655"/>
                <a:gd name="connsiteX17" fmla="*/ 55705 w 353566"/>
                <a:gd name="connsiteY17" fmla="*/ 277178 h 360655"/>
                <a:gd name="connsiteX18" fmla="*/ 34905 w 353566"/>
                <a:gd name="connsiteY18" fmla="*/ 285940 h 360655"/>
                <a:gd name="connsiteX19" fmla="*/ 34076 w 353566"/>
                <a:gd name="connsiteY19" fmla="*/ 286940 h 360655"/>
                <a:gd name="connsiteX20" fmla="*/ 27498 w 353566"/>
                <a:gd name="connsiteY20" fmla="*/ 301307 h 360655"/>
                <a:gd name="connsiteX21" fmla="*/ 1790 w 353566"/>
                <a:gd name="connsiteY21" fmla="*/ 275599 h 360655"/>
                <a:gd name="connsiteX22" fmla="*/ 30826 w 353566"/>
                <a:gd name="connsiteY22" fmla="*/ 246221 h 360655"/>
                <a:gd name="connsiteX23" fmla="*/ 6540 w 353566"/>
                <a:gd name="connsiteY23" fmla="*/ 237209 h 360655"/>
                <a:gd name="connsiteX24" fmla="*/ 0 w 353566"/>
                <a:gd name="connsiteY24" fmla="*/ 221678 h 360655"/>
                <a:gd name="connsiteX25" fmla="*/ 6353 w 353566"/>
                <a:gd name="connsiteY25" fmla="*/ 206077 h 360655"/>
                <a:gd name="connsiteX26" fmla="*/ 21485 w 353566"/>
                <a:gd name="connsiteY26" fmla="*/ 199549 h 360655"/>
                <a:gd name="connsiteX27" fmla="*/ 36865 w 353566"/>
                <a:gd name="connsiteY27" fmla="*/ 205331 h 360655"/>
                <a:gd name="connsiteX28" fmla="*/ 37484 w 353566"/>
                <a:gd name="connsiteY28" fmla="*/ 205897 h 360655"/>
                <a:gd name="connsiteX29" fmla="*/ 47509 w 353566"/>
                <a:gd name="connsiteY29" fmla="*/ 229355 h 360655"/>
                <a:gd name="connsiteX30" fmla="*/ 327260 w 353566"/>
                <a:gd name="connsiteY30" fmla="*/ 192410 h 360655"/>
                <a:gd name="connsiteX31" fmla="*/ 342869 w 353566"/>
                <a:gd name="connsiteY31" fmla="*/ 198766 h 360655"/>
                <a:gd name="connsiteX32" fmla="*/ 343619 w 353566"/>
                <a:gd name="connsiteY32" fmla="*/ 229288 h 360655"/>
                <a:gd name="connsiteX33" fmla="*/ 343054 w 353566"/>
                <a:gd name="connsiteY33" fmla="*/ 229907 h 360655"/>
                <a:gd name="connsiteX34" fmla="*/ 319596 w 353566"/>
                <a:gd name="connsiteY34" fmla="*/ 239932 h 360655"/>
                <a:gd name="connsiteX35" fmla="*/ 353566 w 353566"/>
                <a:gd name="connsiteY35" fmla="*/ 273507 h 360655"/>
                <a:gd name="connsiteX36" fmla="*/ 319714 w 353566"/>
                <a:gd name="connsiteY36" fmla="*/ 307753 h 360655"/>
                <a:gd name="connsiteX37" fmla="*/ 342527 w 353566"/>
                <a:gd name="connsiteY37" fmla="*/ 316186 h 360655"/>
                <a:gd name="connsiteX38" fmla="*/ 342698 w 353566"/>
                <a:gd name="connsiteY38" fmla="*/ 347327 h 360655"/>
                <a:gd name="connsiteX39" fmla="*/ 342672 w 353566"/>
                <a:gd name="connsiteY39" fmla="*/ 347314 h 360655"/>
                <a:gd name="connsiteX40" fmla="*/ 312149 w 353566"/>
                <a:gd name="connsiteY40" fmla="*/ 348064 h 360655"/>
                <a:gd name="connsiteX41" fmla="*/ 311544 w 353566"/>
                <a:gd name="connsiteY41" fmla="*/ 347485 h 360655"/>
                <a:gd name="connsiteX42" fmla="*/ 302164 w 353566"/>
                <a:gd name="connsiteY42" fmla="*/ 325461 h 360655"/>
                <a:gd name="connsiteX43" fmla="*/ 268983 w 353566"/>
                <a:gd name="connsiteY43" fmla="*/ 359023 h 360655"/>
                <a:gd name="connsiteX44" fmla="*/ 188269 w 353566"/>
                <a:gd name="connsiteY44" fmla="*/ 279243 h 360655"/>
                <a:gd name="connsiteX45" fmla="*/ 213766 w 353566"/>
                <a:gd name="connsiteY45" fmla="*/ 253746 h 360655"/>
                <a:gd name="connsiteX46" fmla="*/ 221581 w 353566"/>
                <a:gd name="connsiteY46" fmla="*/ 268836 h 360655"/>
                <a:gd name="connsiteX47" fmla="*/ 221778 w 353566"/>
                <a:gd name="connsiteY47" fmla="*/ 269034 h 360655"/>
                <a:gd name="connsiteX48" fmla="*/ 222673 w 353566"/>
                <a:gd name="connsiteY48" fmla="*/ 269849 h 360655"/>
                <a:gd name="connsiteX49" fmla="*/ 243105 w 353566"/>
                <a:gd name="connsiteY49" fmla="*/ 277441 h 360655"/>
                <a:gd name="connsiteX50" fmla="*/ 263392 w 353566"/>
                <a:gd name="connsiteY50" fmla="*/ 268692 h 360655"/>
                <a:gd name="connsiteX51" fmla="*/ 263273 w 353566"/>
                <a:gd name="connsiteY51" fmla="*/ 227104 h 360655"/>
                <a:gd name="connsiteX52" fmla="*/ 263155 w 353566"/>
                <a:gd name="connsiteY52" fmla="*/ 226986 h 360655"/>
                <a:gd name="connsiteX53" fmla="*/ 262155 w 353566"/>
                <a:gd name="connsiteY53" fmla="*/ 226157 h 360655"/>
                <a:gd name="connsiteX54" fmla="*/ 247933 w 353566"/>
                <a:gd name="connsiteY54" fmla="*/ 219605 h 360655"/>
                <a:gd name="connsiteX55" fmla="*/ 273338 w 353566"/>
                <a:gd name="connsiteY55" fmla="*/ 194200 h 360655"/>
                <a:gd name="connsiteX56" fmla="*/ 302716 w 353566"/>
                <a:gd name="connsiteY56" fmla="*/ 223236 h 360655"/>
                <a:gd name="connsiteX57" fmla="*/ 311728 w 353566"/>
                <a:gd name="connsiteY57" fmla="*/ 198950 h 360655"/>
                <a:gd name="connsiteX58" fmla="*/ 327260 w 353566"/>
                <a:gd name="connsiteY58" fmla="*/ 192410 h 360655"/>
                <a:gd name="connsiteX59" fmla="*/ 187058 w 353566"/>
                <a:gd name="connsiteY59" fmla="*/ 5433 h 360655"/>
                <a:gd name="connsiteX60" fmla="*/ 223738 w 353566"/>
                <a:gd name="connsiteY60" fmla="*/ 5433 h 360655"/>
                <a:gd name="connsiteX61" fmla="*/ 218265 w 353566"/>
                <a:gd name="connsiteY61" fmla="*/ 22247 h 360655"/>
                <a:gd name="connsiteX62" fmla="*/ 218318 w 353566"/>
                <a:gd name="connsiteY62" fmla="*/ 23734 h 360655"/>
                <a:gd name="connsiteX63" fmla="*/ 247761 w 353566"/>
                <a:gd name="connsiteY63" fmla="*/ 51704 h 360655"/>
                <a:gd name="connsiteX64" fmla="*/ 247946 w 353566"/>
                <a:gd name="connsiteY64" fmla="*/ 51704 h 360655"/>
                <a:gd name="connsiteX65" fmla="*/ 268746 w 353566"/>
                <a:gd name="connsiteY65" fmla="*/ 42942 h 360655"/>
                <a:gd name="connsiteX66" fmla="*/ 277258 w 353566"/>
                <a:gd name="connsiteY66" fmla="*/ 22036 h 360655"/>
                <a:gd name="connsiteX67" fmla="*/ 277140 w 353566"/>
                <a:gd name="connsiteY67" fmla="*/ 20747 h 360655"/>
                <a:gd name="connsiteX68" fmla="*/ 271351 w 353566"/>
                <a:gd name="connsiteY68" fmla="*/ 5446 h 360655"/>
                <a:gd name="connsiteX69" fmla="*/ 307347 w 353566"/>
                <a:gd name="connsiteY69" fmla="*/ 5446 h 360655"/>
                <a:gd name="connsiteX70" fmla="*/ 307583 w 353566"/>
                <a:gd name="connsiteY70" fmla="*/ 46757 h 360655"/>
                <a:gd name="connsiteX71" fmla="*/ 331133 w 353566"/>
                <a:gd name="connsiteY71" fmla="*/ 35956 h 360655"/>
                <a:gd name="connsiteX72" fmla="*/ 353276 w 353566"/>
                <a:gd name="connsiteY72" fmla="*/ 57835 h 360655"/>
                <a:gd name="connsiteX73" fmla="*/ 332225 w 353566"/>
                <a:gd name="connsiteY73" fmla="*/ 79951 h 360655"/>
                <a:gd name="connsiteX74" fmla="*/ 331396 w 353566"/>
                <a:gd name="connsiteY74" fmla="*/ 79990 h 360655"/>
                <a:gd name="connsiteX75" fmla="*/ 307715 w 353566"/>
                <a:gd name="connsiteY75" fmla="*/ 70491 h 360655"/>
                <a:gd name="connsiteX76" fmla="*/ 307991 w 353566"/>
                <a:gd name="connsiteY76" fmla="*/ 118249 h 360655"/>
                <a:gd name="connsiteX77" fmla="*/ 259839 w 353566"/>
                <a:gd name="connsiteY77" fmla="*/ 118525 h 360655"/>
                <a:gd name="connsiteX78" fmla="*/ 270009 w 353566"/>
                <a:gd name="connsiteY78" fmla="*/ 140615 h 360655"/>
                <a:gd name="connsiteX79" fmla="*/ 248117 w 353566"/>
                <a:gd name="connsiteY79" fmla="*/ 162757 h 360655"/>
                <a:gd name="connsiteX80" fmla="*/ 226001 w 353566"/>
                <a:gd name="connsiteY80" fmla="*/ 141707 h 360655"/>
                <a:gd name="connsiteX81" fmla="*/ 225975 w 353566"/>
                <a:gd name="connsiteY81" fmla="*/ 140865 h 360655"/>
                <a:gd name="connsiteX82" fmla="*/ 234908 w 353566"/>
                <a:gd name="connsiteY82" fmla="*/ 118657 h 360655"/>
                <a:gd name="connsiteX83" fmla="*/ 187716 w 353566"/>
                <a:gd name="connsiteY83" fmla="*/ 118933 h 360655"/>
                <a:gd name="connsiteX84" fmla="*/ 76794 w 353566"/>
                <a:gd name="connsiteY84" fmla="*/ 0 h 360655"/>
                <a:gd name="connsiteX85" fmla="*/ 167166 w 353566"/>
                <a:gd name="connsiteY85" fmla="*/ 68663 h 360655"/>
                <a:gd name="connsiteX86" fmla="*/ 145458 w 353566"/>
                <a:gd name="connsiteY86" fmla="*/ 96897 h 360655"/>
                <a:gd name="connsiteX87" fmla="*/ 135524 w 353566"/>
                <a:gd name="connsiteY87" fmla="*/ 82464 h 360655"/>
                <a:gd name="connsiteX88" fmla="*/ 135314 w 353566"/>
                <a:gd name="connsiteY88" fmla="*/ 82293 h 360655"/>
                <a:gd name="connsiteX89" fmla="*/ 134327 w 353566"/>
                <a:gd name="connsiteY89" fmla="*/ 81609 h 360655"/>
                <a:gd name="connsiteX90" fmla="*/ 113080 w 353566"/>
                <a:gd name="connsiteY90" fmla="*/ 76728 h 360655"/>
                <a:gd name="connsiteX91" fmla="*/ 113080 w 353566"/>
                <a:gd name="connsiteY91" fmla="*/ 76741 h 360655"/>
                <a:gd name="connsiteX92" fmla="*/ 94095 w 353566"/>
                <a:gd name="connsiteY92" fmla="*/ 88042 h 360655"/>
                <a:gd name="connsiteX93" fmla="*/ 99608 w 353566"/>
                <a:gd name="connsiteY93" fmla="*/ 129261 h 360655"/>
                <a:gd name="connsiteX94" fmla="*/ 99739 w 353566"/>
                <a:gd name="connsiteY94" fmla="*/ 129367 h 360655"/>
                <a:gd name="connsiteX95" fmla="*/ 100844 w 353566"/>
                <a:gd name="connsiteY95" fmla="*/ 130064 h 360655"/>
                <a:gd name="connsiteX96" fmla="*/ 116329 w 353566"/>
                <a:gd name="connsiteY96" fmla="*/ 134787 h 360655"/>
                <a:gd name="connsiteX97" fmla="*/ 94187 w 353566"/>
                <a:gd name="connsiteY97" fmla="*/ 163573 h 360655"/>
                <a:gd name="connsiteX98" fmla="*/ 61296 w 353566"/>
                <a:gd name="connsiteY98" fmla="*/ 138589 h 360655"/>
                <a:gd name="connsiteX99" fmla="*/ 55507 w 353566"/>
                <a:gd name="connsiteY99" fmla="*/ 163836 h 360655"/>
                <a:gd name="connsiteX100" fmla="*/ 24656 w 353566"/>
                <a:gd name="connsiteY100" fmla="*/ 168059 h 360655"/>
                <a:gd name="connsiteX101" fmla="*/ 19959 w 353566"/>
                <a:gd name="connsiteY101" fmla="*/ 137892 h 360655"/>
                <a:gd name="connsiteX102" fmla="*/ 20446 w 353566"/>
                <a:gd name="connsiteY102" fmla="*/ 137208 h 360655"/>
                <a:gd name="connsiteX103" fmla="*/ 42404 w 353566"/>
                <a:gd name="connsiteY103" fmla="*/ 124236 h 360655"/>
                <a:gd name="connsiteX104" fmla="*/ 4382 w 353566"/>
                <a:gd name="connsiteY104" fmla="*/ 95344 h 360655"/>
                <a:gd name="connsiteX105" fmla="*/ 33510 w 353566"/>
                <a:gd name="connsiteY105" fmla="*/ 56993 h 360655"/>
                <a:gd name="connsiteX106" fmla="*/ 9802 w 353566"/>
                <a:gd name="connsiteY106" fmla="*/ 51586 h 360655"/>
                <a:gd name="connsiteX107" fmla="*/ 5592 w 353566"/>
                <a:gd name="connsiteY107" fmla="*/ 20734 h 360655"/>
                <a:gd name="connsiteX108" fmla="*/ 35760 w 353566"/>
                <a:gd name="connsiteY108" fmla="*/ 16024 h 360655"/>
                <a:gd name="connsiteX109" fmla="*/ 36444 w 353566"/>
                <a:gd name="connsiteY109" fmla="*/ 16511 h 360655"/>
                <a:gd name="connsiteX110" fmla="*/ 48600 w 353566"/>
                <a:gd name="connsiteY110" fmla="*/ 37127 h 360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353566" h="360655">
                  <a:moveTo>
                    <a:pt x="6356" y="206068"/>
                  </a:moveTo>
                  <a:lnTo>
                    <a:pt x="6353" y="206077"/>
                  </a:lnTo>
                  <a:lnTo>
                    <a:pt x="6342" y="206081"/>
                  </a:lnTo>
                  <a:close/>
                  <a:moveTo>
                    <a:pt x="81084" y="195385"/>
                  </a:moveTo>
                  <a:lnTo>
                    <a:pt x="115330" y="229236"/>
                  </a:lnTo>
                  <a:cubicBezTo>
                    <a:pt x="118369" y="221040"/>
                    <a:pt x="117501" y="215475"/>
                    <a:pt x="123763" y="206423"/>
                  </a:cubicBezTo>
                  <a:cubicBezTo>
                    <a:pt x="132315" y="197779"/>
                    <a:pt x="146247" y="197687"/>
                    <a:pt x="154904" y="206252"/>
                  </a:cubicBezTo>
                  <a:cubicBezTo>
                    <a:pt x="163350" y="214593"/>
                    <a:pt x="163614" y="228092"/>
                    <a:pt x="155654" y="236775"/>
                  </a:cubicBezTo>
                  <a:cubicBezTo>
                    <a:pt x="155470" y="236985"/>
                    <a:pt x="155286" y="237196"/>
                    <a:pt x="155075" y="237380"/>
                  </a:cubicBezTo>
                  <a:cubicBezTo>
                    <a:pt x="149918" y="242590"/>
                    <a:pt x="141471" y="243195"/>
                    <a:pt x="133051" y="246761"/>
                  </a:cubicBezTo>
                  <a:lnTo>
                    <a:pt x="166613" y="279941"/>
                  </a:lnTo>
                  <a:lnTo>
                    <a:pt x="86833" y="360655"/>
                  </a:lnTo>
                  <a:lnTo>
                    <a:pt x="61533" y="335356"/>
                  </a:lnTo>
                  <a:cubicBezTo>
                    <a:pt x="66927" y="333711"/>
                    <a:pt x="72401" y="331856"/>
                    <a:pt x="76755" y="327501"/>
                  </a:cubicBezTo>
                  <a:cubicBezTo>
                    <a:pt x="77111" y="327159"/>
                    <a:pt x="77453" y="326791"/>
                    <a:pt x="77768" y="326422"/>
                  </a:cubicBezTo>
                  <a:cubicBezTo>
                    <a:pt x="88307" y="314753"/>
                    <a:pt x="87872" y="296965"/>
                    <a:pt x="76729" y="285822"/>
                  </a:cubicBezTo>
                  <a:lnTo>
                    <a:pt x="76611" y="285703"/>
                  </a:lnTo>
                  <a:cubicBezTo>
                    <a:pt x="71006" y="280165"/>
                    <a:pt x="63586" y="277139"/>
                    <a:pt x="55705" y="277178"/>
                  </a:cubicBezTo>
                  <a:cubicBezTo>
                    <a:pt x="47824" y="277231"/>
                    <a:pt x="40444" y="280336"/>
                    <a:pt x="34905" y="285940"/>
                  </a:cubicBezTo>
                  <a:cubicBezTo>
                    <a:pt x="34602" y="286243"/>
                    <a:pt x="34326" y="286585"/>
                    <a:pt x="34076" y="286940"/>
                  </a:cubicBezTo>
                  <a:cubicBezTo>
                    <a:pt x="30208" y="292532"/>
                    <a:pt x="28564" y="297176"/>
                    <a:pt x="27498" y="301307"/>
                  </a:cubicBezTo>
                  <a:lnTo>
                    <a:pt x="1790" y="275599"/>
                  </a:lnTo>
                  <a:lnTo>
                    <a:pt x="30826" y="246221"/>
                  </a:lnTo>
                  <a:cubicBezTo>
                    <a:pt x="21775" y="242472"/>
                    <a:pt x="16104" y="243840"/>
                    <a:pt x="6540" y="237209"/>
                  </a:cubicBezTo>
                  <a:cubicBezTo>
                    <a:pt x="2218" y="232933"/>
                    <a:pt x="34" y="227312"/>
                    <a:pt x="0" y="221678"/>
                  </a:cubicBezTo>
                  <a:lnTo>
                    <a:pt x="6353" y="206077"/>
                  </a:lnTo>
                  <a:lnTo>
                    <a:pt x="21485" y="199549"/>
                  </a:lnTo>
                  <a:cubicBezTo>
                    <a:pt x="26988" y="199421"/>
                    <a:pt x="32530" y="201345"/>
                    <a:pt x="36865" y="205331"/>
                  </a:cubicBezTo>
                  <a:cubicBezTo>
                    <a:pt x="37076" y="205502"/>
                    <a:pt x="37286" y="205686"/>
                    <a:pt x="37484" y="205897"/>
                  </a:cubicBezTo>
                  <a:cubicBezTo>
                    <a:pt x="42996" y="211344"/>
                    <a:pt x="43351" y="220487"/>
                    <a:pt x="47509" y="229355"/>
                  </a:cubicBezTo>
                  <a:close/>
                  <a:moveTo>
                    <a:pt x="327260" y="192410"/>
                  </a:moveTo>
                  <a:cubicBezTo>
                    <a:pt x="332894" y="192375"/>
                    <a:pt x="338541" y="194490"/>
                    <a:pt x="342869" y="198766"/>
                  </a:cubicBezTo>
                  <a:cubicBezTo>
                    <a:pt x="351329" y="207120"/>
                    <a:pt x="351592" y="220618"/>
                    <a:pt x="343619" y="229288"/>
                  </a:cubicBezTo>
                  <a:cubicBezTo>
                    <a:pt x="343448" y="229499"/>
                    <a:pt x="343264" y="229709"/>
                    <a:pt x="343054" y="229907"/>
                  </a:cubicBezTo>
                  <a:cubicBezTo>
                    <a:pt x="337607" y="235419"/>
                    <a:pt x="328463" y="235774"/>
                    <a:pt x="319596" y="239932"/>
                  </a:cubicBezTo>
                  <a:lnTo>
                    <a:pt x="353566" y="273507"/>
                  </a:lnTo>
                  <a:lnTo>
                    <a:pt x="319714" y="307753"/>
                  </a:lnTo>
                  <a:cubicBezTo>
                    <a:pt x="327911" y="310792"/>
                    <a:pt x="333476" y="309924"/>
                    <a:pt x="342527" y="316186"/>
                  </a:cubicBezTo>
                  <a:cubicBezTo>
                    <a:pt x="351171" y="324738"/>
                    <a:pt x="351263" y="338670"/>
                    <a:pt x="342698" y="347327"/>
                  </a:cubicBezTo>
                  <a:lnTo>
                    <a:pt x="342672" y="347314"/>
                  </a:lnTo>
                  <a:cubicBezTo>
                    <a:pt x="334331" y="355760"/>
                    <a:pt x="320833" y="356024"/>
                    <a:pt x="312149" y="348064"/>
                  </a:cubicBezTo>
                  <a:cubicBezTo>
                    <a:pt x="311939" y="347880"/>
                    <a:pt x="311728" y="347696"/>
                    <a:pt x="311544" y="347485"/>
                  </a:cubicBezTo>
                  <a:cubicBezTo>
                    <a:pt x="306334" y="342328"/>
                    <a:pt x="305729" y="333881"/>
                    <a:pt x="302164" y="325461"/>
                  </a:cubicBezTo>
                  <a:lnTo>
                    <a:pt x="268983" y="359023"/>
                  </a:lnTo>
                  <a:lnTo>
                    <a:pt x="188269" y="279243"/>
                  </a:lnTo>
                  <a:lnTo>
                    <a:pt x="213766" y="253746"/>
                  </a:lnTo>
                  <a:cubicBezTo>
                    <a:pt x="215397" y="259101"/>
                    <a:pt x="217266" y="264508"/>
                    <a:pt x="221581" y="268836"/>
                  </a:cubicBezTo>
                  <a:lnTo>
                    <a:pt x="221778" y="269034"/>
                  </a:lnTo>
                  <a:cubicBezTo>
                    <a:pt x="222068" y="269323"/>
                    <a:pt x="222357" y="269586"/>
                    <a:pt x="222673" y="269849"/>
                  </a:cubicBezTo>
                  <a:cubicBezTo>
                    <a:pt x="228278" y="274915"/>
                    <a:pt x="235527" y="277612"/>
                    <a:pt x="243105" y="277441"/>
                  </a:cubicBezTo>
                  <a:cubicBezTo>
                    <a:pt x="250788" y="277270"/>
                    <a:pt x="257998" y="274152"/>
                    <a:pt x="263392" y="268692"/>
                  </a:cubicBezTo>
                  <a:cubicBezTo>
                    <a:pt x="274759" y="257193"/>
                    <a:pt x="274706" y="238537"/>
                    <a:pt x="263273" y="227104"/>
                  </a:cubicBezTo>
                  <a:lnTo>
                    <a:pt x="263155" y="226986"/>
                  </a:lnTo>
                  <a:cubicBezTo>
                    <a:pt x="262852" y="226683"/>
                    <a:pt x="262510" y="226407"/>
                    <a:pt x="262155" y="226157"/>
                  </a:cubicBezTo>
                  <a:cubicBezTo>
                    <a:pt x="256616" y="222329"/>
                    <a:pt x="252012" y="220684"/>
                    <a:pt x="247933" y="219605"/>
                  </a:cubicBezTo>
                  <a:lnTo>
                    <a:pt x="273338" y="194200"/>
                  </a:lnTo>
                  <a:lnTo>
                    <a:pt x="302716" y="223236"/>
                  </a:lnTo>
                  <a:cubicBezTo>
                    <a:pt x="306466" y="214185"/>
                    <a:pt x="305097" y="208528"/>
                    <a:pt x="311728" y="198950"/>
                  </a:cubicBezTo>
                  <a:cubicBezTo>
                    <a:pt x="316004" y="194628"/>
                    <a:pt x="321625" y="192444"/>
                    <a:pt x="327260" y="192410"/>
                  </a:cubicBezTo>
                  <a:close/>
                  <a:moveTo>
                    <a:pt x="187058" y="5433"/>
                  </a:moveTo>
                  <a:lnTo>
                    <a:pt x="223738" y="5433"/>
                  </a:lnTo>
                  <a:cubicBezTo>
                    <a:pt x="220988" y="10551"/>
                    <a:pt x="218265" y="15879"/>
                    <a:pt x="218265" y="22247"/>
                  </a:cubicBezTo>
                  <a:cubicBezTo>
                    <a:pt x="218265" y="22747"/>
                    <a:pt x="218265" y="23247"/>
                    <a:pt x="218318" y="23734"/>
                  </a:cubicBezTo>
                  <a:cubicBezTo>
                    <a:pt x="219120" y="39442"/>
                    <a:pt x="232000" y="51704"/>
                    <a:pt x="247761" y="51704"/>
                  </a:cubicBezTo>
                  <a:lnTo>
                    <a:pt x="247946" y="51704"/>
                  </a:lnTo>
                  <a:cubicBezTo>
                    <a:pt x="255826" y="51664"/>
                    <a:pt x="263207" y="48546"/>
                    <a:pt x="268746" y="42942"/>
                  </a:cubicBezTo>
                  <a:cubicBezTo>
                    <a:pt x="274285" y="37337"/>
                    <a:pt x="277311" y="29917"/>
                    <a:pt x="277258" y="22036"/>
                  </a:cubicBezTo>
                  <a:cubicBezTo>
                    <a:pt x="277258" y="21602"/>
                    <a:pt x="277219" y="21168"/>
                    <a:pt x="277140" y="20747"/>
                  </a:cubicBezTo>
                  <a:cubicBezTo>
                    <a:pt x="275863" y="13748"/>
                    <a:pt x="273601" y="9222"/>
                    <a:pt x="271351" y="5446"/>
                  </a:cubicBezTo>
                  <a:lnTo>
                    <a:pt x="307347" y="5446"/>
                  </a:lnTo>
                  <a:lnTo>
                    <a:pt x="307583" y="46757"/>
                  </a:lnTo>
                  <a:cubicBezTo>
                    <a:pt x="316635" y="43021"/>
                    <a:pt x="319674" y="38034"/>
                    <a:pt x="331133" y="35956"/>
                  </a:cubicBezTo>
                  <a:cubicBezTo>
                    <a:pt x="343303" y="35890"/>
                    <a:pt x="353223" y="45678"/>
                    <a:pt x="353276" y="57835"/>
                  </a:cubicBezTo>
                  <a:cubicBezTo>
                    <a:pt x="353354" y="69715"/>
                    <a:pt x="344000" y="79451"/>
                    <a:pt x="332225" y="79951"/>
                  </a:cubicBezTo>
                  <a:cubicBezTo>
                    <a:pt x="331962" y="79977"/>
                    <a:pt x="331673" y="79990"/>
                    <a:pt x="331396" y="79990"/>
                  </a:cubicBezTo>
                  <a:cubicBezTo>
                    <a:pt x="323647" y="80030"/>
                    <a:pt x="316938" y="73820"/>
                    <a:pt x="307715" y="70491"/>
                  </a:cubicBezTo>
                  <a:lnTo>
                    <a:pt x="307991" y="118249"/>
                  </a:lnTo>
                  <a:lnTo>
                    <a:pt x="259839" y="118525"/>
                  </a:lnTo>
                  <a:cubicBezTo>
                    <a:pt x="263483" y="126472"/>
                    <a:pt x="268035" y="129787"/>
                    <a:pt x="270009" y="140615"/>
                  </a:cubicBezTo>
                  <a:cubicBezTo>
                    <a:pt x="270075" y="152784"/>
                    <a:pt x="260273" y="162691"/>
                    <a:pt x="248117" y="162757"/>
                  </a:cubicBezTo>
                  <a:cubicBezTo>
                    <a:pt x="236250" y="162823"/>
                    <a:pt x="226514" y="153468"/>
                    <a:pt x="226001" y="141707"/>
                  </a:cubicBezTo>
                  <a:cubicBezTo>
                    <a:pt x="225975" y="141417"/>
                    <a:pt x="225961" y="141141"/>
                    <a:pt x="225975" y="140865"/>
                  </a:cubicBezTo>
                  <a:cubicBezTo>
                    <a:pt x="225935" y="133537"/>
                    <a:pt x="231487" y="127129"/>
                    <a:pt x="234908" y="118657"/>
                  </a:cubicBezTo>
                  <a:lnTo>
                    <a:pt x="187716" y="118933"/>
                  </a:lnTo>
                  <a:close/>
                  <a:moveTo>
                    <a:pt x="76794" y="0"/>
                  </a:moveTo>
                  <a:lnTo>
                    <a:pt x="167166" y="68663"/>
                  </a:lnTo>
                  <a:lnTo>
                    <a:pt x="145458" y="96897"/>
                  </a:lnTo>
                  <a:cubicBezTo>
                    <a:pt x="143089" y="91647"/>
                    <a:pt x="140524" y="86306"/>
                    <a:pt x="135524" y="82464"/>
                  </a:cubicBezTo>
                  <a:cubicBezTo>
                    <a:pt x="135446" y="82411"/>
                    <a:pt x="135380" y="82346"/>
                    <a:pt x="135314" y="82293"/>
                  </a:cubicBezTo>
                  <a:cubicBezTo>
                    <a:pt x="134998" y="82043"/>
                    <a:pt x="134656" y="81819"/>
                    <a:pt x="134327" y="81609"/>
                  </a:cubicBezTo>
                  <a:cubicBezTo>
                    <a:pt x="128104" y="77307"/>
                    <a:pt x="120579" y="75583"/>
                    <a:pt x="113080" y="76728"/>
                  </a:cubicBezTo>
                  <a:lnTo>
                    <a:pt x="113080" y="76741"/>
                  </a:lnTo>
                  <a:cubicBezTo>
                    <a:pt x="105488" y="77912"/>
                    <a:pt x="98739" y="81925"/>
                    <a:pt x="94095" y="88042"/>
                  </a:cubicBezTo>
                  <a:cubicBezTo>
                    <a:pt x="84307" y="100909"/>
                    <a:pt x="86780" y="119407"/>
                    <a:pt x="99608" y="129261"/>
                  </a:cubicBezTo>
                  <a:lnTo>
                    <a:pt x="99739" y="129367"/>
                  </a:lnTo>
                  <a:cubicBezTo>
                    <a:pt x="100081" y="129630"/>
                    <a:pt x="100450" y="129866"/>
                    <a:pt x="100844" y="130064"/>
                  </a:cubicBezTo>
                  <a:cubicBezTo>
                    <a:pt x="107080" y="133274"/>
                    <a:pt x="112014" y="134261"/>
                    <a:pt x="116329" y="134787"/>
                  </a:cubicBezTo>
                  <a:lnTo>
                    <a:pt x="94187" y="163573"/>
                  </a:lnTo>
                  <a:lnTo>
                    <a:pt x="61296" y="138589"/>
                  </a:lnTo>
                  <a:cubicBezTo>
                    <a:pt x="58744" y="148049"/>
                    <a:pt x="60836" y="153482"/>
                    <a:pt x="55507" y="163836"/>
                  </a:cubicBezTo>
                  <a:cubicBezTo>
                    <a:pt x="48153" y="173519"/>
                    <a:pt x="34339" y="175414"/>
                    <a:pt x="24656" y="168059"/>
                  </a:cubicBezTo>
                  <a:cubicBezTo>
                    <a:pt x="15196" y="160876"/>
                    <a:pt x="13183" y="147522"/>
                    <a:pt x="19959" y="137892"/>
                  </a:cubicBezTo>
                  <a:cubicBezTo>
                    <a:pt x="20104" y="137655"/>
                    <a:pt x="20262" y="137431"/>
                    <a:pt x="20446" y="137208"/>
                  </a:cubicBezTo>
                  <a:cubicBezTo>
                    <a:pt x="25129" y="131037"/>
                    <a:pt x="34142" y="129498"/>
                    <a:pt x="42404" y="124236"/>
                  </a:cubicBezTo>
                  <a:lnTo>
                    <a:pt x="4382" y="95344"/>
                  </a:lnTo>
                  <a:lnTo>
                    <a:pt x="33510" y="56993"/>
                  </a:lnTo>
                  <a:cubicBezTo>
                    <a:pt x="24985" y="55046"/>
                    <a:pt x="19577" y="56625"/>
                    <a:pt x="9802" y="51586"/>
                  </a:cubicBezTo>
                  <a:cubicBezTo>
                    <a:pt x="119" y="44232"/>
                    <a:pt x="-1762" y="30418"/>
                    <a:pt x="5592" y="20734"/>
                  </a:cubicBezTo>
                  <a:cubicBezTo>
                    <a:pt x="12776" y="11275"/>
                    <a:pt x="26129" y="9275"/>
                    <a:pt x="35760" y="16024"/>
                  </a:cubicBezTo>
                  <a:cubicBezTo>
                    <a:pt x="35997" y="16182"/>
                    <a:pt x="36233" y="16340"/>
                    <a:pt x="36444" y="16511"/>
                  </a:cubicBezTo>
                  <a:cubicBezTo>
                    <a:pt x="42285" y="20945"/>
                    <a:pt x="43969" y="29260"/>
                    <a:pt x="48600" y="37127"/>
                  </a:cubicBezTo>
                  <a:close/>
                </a:path>
              </a:pathLst>
            </a:custGeom>
            <a:solidFill>
              <a:srgbClr val="025EA1"/>
            </a:solidFill>
            <a:ln w="129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ru-RU" sz="1350" kern="0">
                <a:solidFill>
                  <a:srgbClr val="333333"/>
                </a:solidFill>
              </a:endParaRP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D6681FCB-F28F-42C3-9229-C75B81BF7121}"/>
              </a:ext>
            </a:extLst>
          </p:cNvPr>
          <p:cNvGrpSpPr/>
          <p:nvPr/>
        </p:nvGrpSpPr>
        <p:grpSpPr>
          <a:xfrm>
            <a:off x="4483753" y="3016155"/>
            <a:ext cx="539999" cy="540000"/>
            <a:chOff x="1046956" y="3293108"/>
            <a:chExt cx="719999" cy="720000"/>
          </a:xfrm>
        </p:grpSpPr>
        <p:pic>
          <p:nvPicPr>
            <p:cNvPr id="40" name="Рисунок 39">
              <a:extLst>
                <a:ext uri="{FF2B5EF4-FFF2-40B4-BE49-F238E27FC236}">
                  <a16:creationId xmlns:a16="http://schemas.microsoft.com/office/drawing/2014/main" id="{2F189CC1-7EEE-4764-ADBC-72BBA31C8D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1046956" y="3293108"/>
              <a:ext cx="719999" cy="720000"/>
            </a:xfrm>
            <a:prstGeom prst="rect">
              <a:avLst/>
            </a:prstGeom>
          </p:spPr>
        </p:pic>
        <p:sp>
          <p:nvSpPr>
            <p:cNvPr id="41" name="Полилиния 61">
              <a:extLst>
                <a:ext uri="{FF2B5EF4-FFF2-40B4-BE49-F238E27FC236}">
                  <a16:creationId xmlns:a16="http://schemas.microsoft.com/office/drawing/2014/main" id="{C2BAEA11-D2B0-4264-A819-C81E77414DE5}"/>
                </a:ext>
              </a:extLst>
            </p:cNvPr>
            <p:cNvSpPr/>
            <p:nvPr/>
          </p:nvSpPr>
          <p:spPr>
            <a:xfrm>
              <a:off x="1226790" y="3476193"/>
              <a:ext cx="359998" cy="354630"/>
            </a:xfrm>
            <a:custGeom>
              <a:avLst/>
              <a:gdLst>
                <a:gd name="connsiteX0" fmla="*/ 44837 w 359998"/>
                <a:gd name="connsiteY0" fmla="*/ 197319 h 354630"/>
                <a:gd name="connsiteX1" fmla="*/ 80609 w 359998"/>
                <a:gd name="connsiteY1" fmla="*/ 197319 h 354630"/>
                <a:gd name="connsiteX2" fmla="*/ 75399 w 359998"/>
                <a:gd name="connsiteY2" fmla="*/ 213646 h 354630"/>
                <a:gd name="connsiteX3" fmla="*/ 75452 w 359998"/>
                <a:gd name="connsiteY3" fmla="*/ 215133 h 354630"/>
                <a:gd name="connsiteX4" fmla="*/ 104896 w 359998"/>
                <a:gd name="connsiteY4" fmla="*/ 243103 h 354630"/>
                <a:gd name="connsiteX5" fmla="*/ 105067 w 359998"/>
                <a:gd name="connsiteY5" fmla="*/ 243103 h 354630"/>
                <a:gd name="connsiteX6" fmla="*/ 125880 w 359998"/>
                <a:gd name="connsiteY6" fmla="*/ 234341 h 354630"/>
                <a:gd name="connsiteX7" fmla="*/ 134392 w 359998"/>
                <a:gd name="connsiteY7" fmla="*/ 213436 h 354630"/>
                <a:gd name="connsiteX8" fmla="*/ 134274 w 359998"/>
                <a:gd name="connsiteY8" fmla="*/ 212146 h 354630"/>
                <a:gd name="connsiteX9" fmla="*/ 128775 w 359998"/>
                <a:gd name="connsiteY9" fmla="*/ 197332 h 354630"/>
                <a:gd name="connsiteX10" fmla="*/ 165126 w 359998"/>
                <a:gd name="connsiteY10" fmla="*/ 197332 h 354630"/>
                <a:gd name="connsiteX11" fmla="*/ 165362 w 359998"/>
                <a:gd name="connsiteY11" fmla="*/ 238630 h 354630"/>
                <a:gd name="connsiteX12" fmla="*/ 188912 w 359998"/>
                <a:gd name="connsiteY12" fmla="*/ 227829 h 354630"/>
                <a:gd name="connsiteX13" fmla="*/ 211055 w 359998"/>
                <a:gd name="connsiteY13" fmla="*/ 249721 h 354630"/>
                <a:gd name="connsiteX14" fmla="*/ 211041 w 359998"/>
                <a:gd name="connsiteY14" fmla="*/ 249708 h 354630"/>
                <a:gd name="connsiteX15" fmla="*/ 189991 w 359998"/>
                <a:gd name="connsiteY15" fmla="*/ 271823 h 354630"/>
                <a:gd name="connsiteX16" fmla="*/ 189162 w 359998"/>
                <a:gd name="connsiteY16" fmla="*/ 271863 h 354630"/>
                <a:gd name="connsiteX17" fmla="*/ 165494 w 359998"/>
                <a:gd name="connsiteY17" fmla="*/ 262364 h 354630"/>
                <a:gd name="connsiteX18" fmla="*/ 165770 w 359998"/>
                <a:gd name="connsiteY18" fmla="*/ 310122 h 354630"/>
                <a:gd name="connsiteX19" fmla="*/ 117618 w 359998"/>
                <a:gd name="connsiteY19" fmla="*/ 310398 h 354630"/>
                <a:gd name="connsiteX20" fmla="*/ 127788 w 359998"/>
                <a:gd name="connsiteY20" fmla="*/ 332487 h 354630"/>
                <a:gd name="connsiteX21" fmla="*/ 105896 w 359998"/>
                <a:gd name="connsiteY21" fmla="*/ 354630 h 354630"/>
                <a:gd name="connsiteX22" fmla="*/ 83780 w 359998"/>
                <a:gd name="connsiteY22" fmla="*/ 333579 h 354630"/>
                <a:gd name="connsiteX23" fmla="*/ 83754 w 359998"/>
                <a:gd name="connsiteY23" fmla="*/ 332737 h 354630"/>
                <a:gd name="connsiteX24" fmla="*/ 92687 w 359998"/>
                <a:gd name="connsiteY24" fmla="*/ 310529 h 354630"/>
                <a:gd name="connsiteX25" fmla="*/ 45495 w 359998"/>
                <a:gd name="connsiteY25" fmla="*/ 310806 h 354630"/>
                <a:gd name="connsiteX26" fmla="*/ 225027 w 359998"/>
                <a:gd name="connsiteY26" fmla="*/ 143969 h 354630"/>
                <a:gd name="connsiteX27" fmla="*/ 247142 w 359998"/>
                <a:gd name="connsiteY27" fmla="*/ 165020 h 354630"/>
                <a:gd name="connsiteX28" fmla="*/ 247182 w 359998"/>
                <a:gd name="connsiteY28" fmla="*/ 165849 h 354630"/>
                <a:gd name="connsiteX29" fmla="*/ 237683 w 359998"/>
                <a:gd name="connsiteY29" fmla="*/ 189530 h 354630"/>
                <a:gd name="connsiteX30" fmla="*/ 285441 w 359998"/>
                <a:gd name="connsiteY30" fmla="*/ 189254 h 354630"/>
                <a:gd name="connsiteX31" fmla="*/ 285717 w 359998"/>
                <a:gd name="connsiteY31" fmla="*/ 237406 h 354630"/>
                <a:gd name="connsiteX32" fmla="*/ 307806 w 359998"/>
                <a:gd name="connsiteY32" fmla="*/ 227236 h 354630"/>
                <a:gd name="connsiteX33" fmla="*/ 329949 w 359998"/>
                <a:gd name="connsiteY33" fmla="*/ 249128 h 354630"/>
                <a:gd name="connsiteX34" fmla="*/ 308898 w 359998"/>
                <a:gd name="connsiteY34" fmla="*/ 271244 h 354630"/>
                <a:gd name="connsiteX35" fmla="*/ 308056 w 359998"/>
                <a:gd name="connsiteY35" fmla="*/ 271270 h 354630"/>
                <a:gd name="connsiteX36" fmla="*/ 285848 w 359998"/>
                <a:gd name="connsiteY36" fmla="*/ 262337 h 354630"/>
                <a:gd name="connsiteX37" fmla="*/ 286125 w 359998"/>
                <a:gd name="connsiteY37" fmla="*/ 309529 h 354630"/>
                <a:gd name="connsiteX38" fmla="*/ 172638 w 359998"/>
                <a:gd name="connsiteY38" fmla="*/ 310187 h 354630"/>
                <a:gd name="connsiteX39" fmla="*/ 172638 w 359998"/>
                <a:gd name="connsiteY39" fmla="*/ 274139 h 354630"/>
                <a:gd name="connsiteX40" fmla="*/ 188833 w 359998"/>
                <a:gd name="connsiteY40" fmla="*/ 279283 h 354630"/>
                <a:gd name="connsiteX41" fmla="*/ 189110 w 359998"/>
                <a:gd name="connsiteY41" fmla="*/ 279283 h 354630"/>
                <a:gd name="connsiteX42" fmla="*/ 190320 w 359998"/>
                <a:gd name="connsiteY42" fmla="*/ 279230 h 354630"/>
                <a:gd name="connsiteX43" fmla="*/ 210134 w 359998"/>
                <a:gd name="connsiteY43" fmla="*/ 270139 h 354630"/>
                <a:gd name="connsiteX44" fmla="*/ 218291 w 359998"/>
                <a:gd name="connsiteY44" fmla="*/ 249602 h 354630"/>
                <a:gd name="connsiteX45" fmla="*/ 188794 w 359998"/>
                <a:gd name="connsiteY45" fmla="*/ 220276 h 354630"/>
                <a:gd name="connsiteX46" fmla="*/ 188623 w 359998"/>
                <a:gd name="connsiteY46" fmla="*/ 220276 h 354630"/>
                <a:gd name="connsiteX47" fmla="*/ 187334 w 359998"/>
                <a:gd name="connsiteY47" fmla="*/ 220395 h 354630"/>
                <a:gd name="connsiteX48" fmla="*/ 172651 w 359998"/>
                <a:gd name="connsiteY48" fmla="*/ 225828 h 354630"/>
                <a:gd name="connsiteX49" fmla="*/ 172651 w 359998"/>
                <a:gd name="connsiteY49" fmla="*/ 189898 h 354630"/>
                <a:gd name="connsiteX50" fmla="*/ 213949 w 359998"/>
                <a:gd name="connsiteY50" fmla="*/ 189662 h 354630"/>
                <a:gd name="connsiteX51" fmla="*/ 203148 w 359998"/>
                <a:gd name="connsiteY51" fmla="*/ 166112 h 354630"/>
                <a:gd name="connsiteX52" fmla="*/ 225027 w 359998"/>
                <a:gd name="connsiteY52" fmla="*/ 143969 h 354630"/>
                <a:gd name="connsiteX53" fmla="*/ 157311 w 359998"/>
                <a:gd name="connsiteY53" fmla="*/ 70123 h 354630"/>
                <a:gd name="connsiteX54" fmla="*/ 157311 w 359998"/>
                <a:gd name="connsiteY54" fmla="*/ 105737 h 354630"/>
                <a:gd name="connsiteX55" fmla="*/ 140642 w 359998"/>
                <a:gd name="connsiteY55" fmla="*/ 100343 h 354630"/>
                <a:gd name="connsiteX56" fmla="*/ 140366 w 359998"/>
                <a:gd name="connsiteY56" fmla="*/ 100343 h 354630"/>
                <a:gd name="connsiteX57" fmla="*/ 139155 w 359998"/>
                <a:gd name="connsiteY57" fmla="*/ 100396 h 354630"/>
                <a:gd name="connsiteX58" fmla="*/ 119342 w 359998"/>
                <a:gd name="connsiteY58" fmla="*/ 109487 h 354630"/>
                <a:gd name="connsiteX59" fmla="*/ 119342 w 359998"/>
                <a:gd name="connsiteY59" fmla="*/ 109447 h 354630"/>
                <a:gd name="connsiteX60" fmla="*/ 111185 w 359998"/>
                <a:gd name="connsiteY60" fmla="*/ 129984 h 354630"/>
                <a:gd name="connsiteX61" fmla="*/ 140681 w 359998"/>
                <a:gd name="connsiteY61" fmla="*/ 159310 h 354630"/>
                <a:gd name="connsiteX62" fmla="*/ 140852 w 359998"/>
                <a:gd name="connsiteY62" fmla="*/ 159310 h 354630"/>
                <a:gd name="connsiteX63" fmla="*/ 142142 w 359998"/>
                <a:gd name="connsiteY63" fmla="*/ 159192 h 354630"/>
                <a:gd name="connsiteX64" fmla="*/ 157298 w 359998"/>
                <a:gd name="connsiteY64" fmla="*/ 153495 h 354630"/>
                <a:gd name="connsiteX65" fmla="*/ 157298 w 359998"/>
                <a:gd name="connsiteY65" fmla="*/ 189820 h 354630"/>
                <a:gd name="connsiteX66" fmla="*/ 116000 w 359998"/>
                <a:gd name="connsiteY66" fmla="*/ 190056 h 354630"/>
                <a:gd name="connsiteX67" fmla="*/ 126801 w 359998"/>
                <a:gd name="connsiteY67" fmla="*/ 213606 h 354630"/>
                <a:gd name="connsiteX68" fmla="*/ 104922 w 359998"/>
                <a:gd name="connsiteY68" fmla="*/ 235748 h 354630"/>
                <a:gd name="connsiteX69" fmla="*/ 82807 w 359998"/>
                <a:gd name="connsiteY69" fmla="*/ 214698 h 354630"/>
                <a:gd name="connsiteX70" fmla="*/ 82767 w 359998"/>
                <a:gd name="connsiteY70" fmla="*/ 213869 h 354630"/>
                <a:gd name="connsiteX71" fmla="*/ 92266 w 359998"/>
                <a:gd name="connsiteY71" fmla="*/ 190201 h 354630"/>
                <a:gd name="connsiteX72" fmla="*/ 44508 w 359998"/>
                <a:gd name="connsiteY72" fmla="*/ 190477 h 354630"/>
                <a:gd name="connsiteX73" fmla="*/ 44232 w 359998"/>
                <a:gd name="connsiteY73" fmla="*/ 142325 h 354630"/>
                <a:gd name="connsiteX74" fmla="*/ 22143 w 359998"/>
                <a:gd name="connsiteY74" fmla="*/ 152495 h 354630"/>
                <a:gd name="connsiteX75" fmla="*/ 0 w 359998"/>
                <a:gd name="connsiteY75" fmla="*/ 130603 h 354630"/>
                <a:gd name="connsiteX76" fmla="*/ 21051 w 359998"/>
                <a:gd name="connsiteY76" fmla="*/ 108487 h 354630"/>
                <a:gd name="connsiteX77" fmla="*/ 21893 w 359998"/>
                <a:gd name="connsiteY77" fmla="*/ 108461 h 354630"/>
                <a:gd name="connsiteX78" fmla="*/ 44100 w 359998"/>
                <a:gd name="connsiteY78" fmla="*/ 117394 h 354630"/>
                <a:gd name="connsiteX79" fmla="*/ 43824 w 359998"/>
                <a:gd name="connsiteY79" fmla="*/ 70781 h 354630"/>
                <a:gd name="connsiteX80" fmla="*/ 274469 w 359998"/>
                <a:gd name="connsiteY80" fmla="*/ 0 h 354630"/>
                <a:gd name="connsiteX81" fmla="*/ 308715 w 359998"/>
                <a:gd name="connsiteY81" fmla="*/ 33851 h 354630"/>
                <a:gd name="connsiteX82" fmla="*/ 317148 w 359998"/>
                <a:gd name="connsiteY82" fmla="*/ 11038 h 354630"/>
                <a:gd name="connsiteX83" fmla="*/ 348289 w 359998"/>
                <a:gd name="connsiteY83" fmla="*/ 10867 h 354630"/>
                <a:gd name="connsiteX84" fmla="*/ 349039 w 359998"/>
                <a:gd name="connsiteY84" fmla="*/ 41390 h 354630"/>
                <a:gd name="connsiteX85" fmla="*/ 348460 w 359998"/>
                <a:gd name="connsiteY85" fmla="*/ 41995 h 354630"/>
                <a:gd name="connsiteX86" fmla="*/ 326436 w 359998"/>
                <a:gd name="connsiteY86" fmla="*/ 51389 h 354630"/>
                <a:gd name="connsiteX87" fmla="*/ 359998 w 359998"/>
                <a:gd name="connsiteY87" fmla="*/ 84556 h 354630"/>
                <a:gd name="connsiteX88" fmla="*/ 280205 w 359998"/>
                <a:gd name="connsiteY88" fmla="*/ 165270 h 354630"/>
                <a:gd name="connsiteX89" fmla="*/ 254274 w 359998"/>
                <a:gd name="connsiteY89" fmla="*/ 139339 h 354630"/>
                <a:gd name="connsiteX90" fmla="*/ 254313 w 359998"/>
                <a:gd name="connsiteY90" fmla="*/ 139352 h 354630"/>
                <a:gd name="connsiteX91" fmla="*/ 270061 w 359998"/>
                <a:gd name="connsiteY91" fmla="*/ 131327 h 354630"/>
                <a:gd name="connsiteX92" fmla="*/ 271074 w 359998"/>
                <a:gd name="connsiteY92" fmla="*/ 130248 h 354630"/>
                <a:gd name="connsiteX93" fmla="*/ 270035 w 359998"/>
                <a:gd name="connsiteY93" fmla="*/ 89647 h 354630"/>
                <a:gd name="connsiteX94" fmla="*/ 269903 w 359998"/>
                <a:gd name="connsiteY94" fmla="*/ 89529 h 354630"/>
                <a:gd name="connsiteX95" fmla="*/ 248998 w 359998"/>
                <a:gd name="connsiteY95" fmla="*/ 81004 h 354630"/>
                <a:gd name="connsiteX96" fmla="*/ 228185 w 359998"/>
                <a:gd name="connsiteY96" fmla="*/ 89766 h 354630"/>
                <a:gd name="connsiteX97" fmla="*/ 227356 w 359998"/>
                <a:gd name="connsiteY97" fmla="*/ 90766 h 354630"/>
                <a:gd name="connsiteX98" fmla="*/ 220633 w 359998"/>
                <a:gd name="connsiteY98" fmla="*/ 105685 h 354630"/>
                <a:gd name="connsiteX99" fmla="*/ 195175 w 359998"/>
                <a:gd name="connsiteY99" fmla="*/ 80228 h 354630"/>
                <a:gd name="connsiteX100" fmla="*/ 224211 w 359998"/>
                <a:gd name="connsiteY100" fmla="*/ 50849 h 354630"/>
                <a:gd name="connsiteX101" fmla="*/ 199925 w 359998"/>
                <a:gd name="connsiteY101" fmla="*/ 41837 h 354630"/>
                <a:gd name="connsiteX102" fmla="*/ 199740 w 359998"/>
                <a:gd name="connsiteY102" fmla="*/ 10696 h 354630"/>
                <a:gd name="connsiteX103" fmla="*/ 230263 w 359998"/>
                <a:gd name="connsiteY103" fmla="*/ 9946 h 354630"/>
                <a:gd name="connsiteX104" fmla="*/ 230882 w 359998"/>
                <a:gd name="connsiteY104" fmla="*/ 10512 h 354630"/>
                <a:gd name="connsiteX105" fmla="*/ 240907 w 359998"/>
                <a:gd name="connsiteY105" fmla="*/ 33970 h 35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359998" h="354630">
                  <a:moveTo>
                    <a:pt x="44837" y="197319"/>
                  </a:moveTo>
                  <a:lnTo>
                    <a:pt x="80609" y="197319"/>
                  </a:lnTo>
                  <a:cubicBezTo>
                    <a:pt x="77952" y="202292"/>
                    <a:pt x="75399" y="207476"/>
                    <a:pt x="75399" y="213646"/>
                  </a:cubicBezTo>
                  <a:cubicBezTo>
                    <a:pt x="75399" y="214146"/>
                    <a:pt x="75399" y="214646"/>
                    <a:pt x="75452" y="215133"/>
                  </a:cubicBezTo>
                  <a:cubicBezTo>
                    <a:pt x="76254" y="230828"/>
                    <a:pt x="89134" y="243103"/>
                    <a:pt x="104896" y="243103"/>
                  </a:cubicBezTo>
                  <a:lnTo>
                    <a:pt x="105067" y="243103"/>
                  </a:lnTo>
                  <a:cubicBezTo>
                    <a:pt x="112948" y="243064"/>
                    <a:pt x="120341" y="239946"/>
                    <a:pt x="125880" y="234341"/>
                  </a:cubicBezTo>
                  <a:cubicBezTo>
                    <a:pt x="131419" y="228736"/>
                    <a:pt x="134445" y="221316"/>
                    <a:pt x="134392" y="213436"/>
                  </a:cubicBezTo>
                  <a:cubicBezTo>
                    <a:pt x="134392" y="213001"/>
                    <a:pt x="134353" y="212567"/>
                    <a:pt x="134274" y="212146"/>
                  </a:cubicBezTo>
                  <a:cubicBezTo>
                    <a:pt x="133050" y="205450"/>
                    <a:pt x="130932" y="201016"/>
                    <a:pt x="128775" y="197332"/>
                  </a:cubicBezTo>
                  <a:lnTo>
                    <a:pt x="165126" y="197332"/>
                  </a:lnTo>
                  <a:lnTo>
                    <a:pt x="165362" y="238630"/>
                  </a:lnTo>
                  <a:cubicBezTo>
                    <a:pt x="174414" y="234894"/>
                    <a:pt x="177453" y="229907"/>
                    <a:pt x="188912" y="227829"/>
                  </a:cubicBezTo>
                  <a:cubicBezTo>
                    <a:pt x="201082" y="227763"/>
                    <a:pt x="210989" y="237551"/>
                    <a:pt x="211055" y="249721"/>
                  </a:cubicBezTo>
                  <a:lnTo>
                    <a:pt x="211041" y="249708"/>
                  </a:lnTo>
                  <a:cubicBezTo>
                    <a:pt x="211107" y="261588"/>
                    <a:pt x="201753" y="271324"/>
                    <a:pt x="189991" y="271823"/>
                  </a:cubicBezTo>
                  <a:cubicBezTo>
                    <a:pt x="189728" y="271863"/>
                    <a:pt x="189439" y="271863"/>
                    <a:pt x="189162" y="271863"/>
                  </a:cubicBezTo>
                  <a:cubicBezTo>
                    <a:pt x="181413" y="271902"/>
                    <a:pt x="174703" y="265693"/>
                    <a:pt x="165494" y="262364"/>
                  </a:cubicBezTo>
                  <a:lnTo>
                    <a:pt x="165770" y="310122"/>
                  </a:lnTo>
                  <a:lnTo>
                    <a:pt x="117618" y="310398"/>
                  </a:lnTo>
                  <a:cubicBezTo>
                    <a:pt x="121262" y="318344"/>
                    <a:pt x="125814" y="321660"/>
                    <a:pt x="127788" y="332487"/>
                  </a:cubicBezTo>
                  <a:cubicBezTo>
                    <a:pt x="127854" y="344644"/>
                    <a:pt x="118052" y="354564"/>
                    <a:pt x="105896" y="354630"/>
                  </a:cubicBezTo>
                  <a:cubicBezTo>
                    <a:pt x="94029" y="354695"/>
                    <a:pt x="84293" y="345341"/>
                    <a:pt x="83780" y="333579"/>
                  </a:cubicBezTo>
                  <a:cubicBezTo>
                    <a:pt x="83754" y="333303"/>
                    <a:pt x="83740" y="333027"/>
                    <a:pt x="83754" y="332737"/>
                  </a:cubicBezTo>
                  <a:cubicBezTo>
                    <a:pt x="83714" y="325409"/>
                    <a:pt x="89266" y="319002"/>
                    <a:pt x="92687" y="310529"/>
                  </a:cubicBezTo>
                  <a:lnTo>
                    <a:pt x="45495" y="310806"/>
                  </a:lnTo>
                  <a:close/>
                  <a:moveTo>
                    <a:pt x="225027" y="143969"/>
                  </a:moveTo>
                  <a:cubicBezTo>
                    <a:pt x="236907" y="143891"/>
                    <a:pt x="246643" y="153245"/>
                    <a:pt x="247142" y="165020"/>
                  </a:cubicBezTo>
                  <a:cubicBezTo>
                    <a:pt x="247182" y="165283"/>
                    <a:pt x="247182" y="165572"/>
                    <a:pt x="247182" y="165849"/>
                  </a:cubicBezTo>
                  <a:cubicBezTo>
                    <a:pt x="247221" y="173598"/>
                    <a:pt x="241012" y="180307"/>
                    <a:pt x="237683" y="189530"/>
                  </a:cubicBezTo>
                  <a:lnTo>
                    <a:pt x="285441" y="189254"/>
                  </a:lnTo>
                  <a:lnTo>
                    <a:pt x="285717" y="237406"/>
                  </a:lnTo>
                  <a:cubicBezTo>
                    <a:pt x="293663" y="233762"/>
                    <a:pt x="296979" y="229210"/>
                    <a:pt x="307806" y="227236"/>
                  </a:cubicBezTo>
                  <a:cubicBezTo>
                    <a:pt x="319963" y="227170"/>
                    <a:pt x="329883" y="236972"/>
                    <a:pt x="329949" y="249128"/>
                  </a:cubicBezTo>
                  <a:cubicBezTo>
                    <a:pt x="330014" y="260995"/>
                    <a:pt x="320660" y="270731"/>
                    <a:pt x="308898" y="271244"/>
                  </a:cubicBezTo>
                  <a:cubicBezTo>
                    <a:pt x="308622" y="271270"/>
                    <a:pt x="308346" y="271284"/>
                    <a:pt x="308056" y="271270"/>
                  </a:cubicBezTo>
                  <a:cubicBezTo>
                    <a:pt x="300728" y="271310"/>
                    <a:pt x="294321" y="265758"/>
                    <a:pt x="285848" y="262337"/>
                  </a:cubicBezTo>
                  <a:lnTo>
                    <a:pt x="286125" y="309529"/>
                  </a:lnTo>
                  <a:lnTo>
                    <a:pt x="172638" y="310187"/>
                  </a:lnTo>
                  <a:lnTo>
                    <a:pt x="172638" y="274139"/>
                  </a:lnTo>
                  <a:cubicBezTo>
                    <a:pt x="177572" y="276770"/>
                    <a:pt x="182729" y="279283"/>
                    <a:pt x="188833" y="279283"/>
                  </a:cubicBezTo>
                  <a:lnTo>
                    <a:pt x="189110" y="279283"/>
                  </a:lnTo>
                  <a:cubicBezTo>
                    <a:pt x="189518" y="279283"/>
                    <a:pt x="189912" y="279270"/>
                    <a:pt x="190320" y="279230"/>
                  </a:cubicBezTo>
                  <a:cubicBezTo>
                    <a:pt x="197872" y="278849"/>
                    <a:pt x="204897" y="275625"/>
                    <a:pt x="210134" y="270139"/>
                  </a:cubicBezTo>
                  <a:cubicBezTo>
                    <a:pt x="215436" y="264587"/>
                    <a:pt x="218343" y="257285"/>
                    <a:pt x="218291" y="249602"/>
                  </a:cubicBezTo>
                  <a:cubicBezTo>
                    <a:pt x="218198" y="233433"/>
                    <a:pt x="204976" y="220276"/>
                    <a:pt x="188794" y="220276"/>
                  </a:cubicBezTo>
                  <a:lnTo>
                    <a:pt x="188623" y="220276"/>
                  </a:lnTo>
                  <a:cubicBezTo>
                    <a:pt x="188189" y="220276"/>
                    <a:pt x="187755" y="220316"/>
                    <a:pt x="187334" y="220395"/>
                  </a:cubicBezTo>
                  <a:cubicBezTo>
                    <a:pt x="180716" y="221605"/>
                    <a:pt x="176295" y="223697"/>
                    <a:pt x="172651" y="225828"/>
                  </a:cubicBezTo>
                  <a:lnTo>
                    <a:pt x="172651" y="189898"/>
                  </a:lnTo>
                  <a:lnTo>
                    <a:pt x="213949" y="189662"/>
                  </a:lnTo>
                  <a:cubicBezTo>
                    <a:pt x="210213" y="180610"/>
                    <a:pt x="205226" y="177571"/>
                    <a:pt x="203148" y="166112"/>
                  </a:cubicBezTo>
                  <a:cubicBezTo>
                    <a:pt x="203082" y="153942"/>
                    <a:pt x="212870" y="144035"/>
                    <a:pt x="225027" y="143969"/>
                  </a:cubicBezTo>
                  <a:close/>
                  <a:moveTo>
                    <a:pt x="157311" y="70123"/>
                  </a:moveTo>
                  <a:lnTo>
                    <a:pt x="157311" y="105737"/>
                  </a:lnTo>
                  <a:cubicBezTo>
                    <a:pt x="152233" y="103014"/>
                    <a:pt x="146944" y="100343"/>
                    <a:pt x="140642" y="100343"/>
                  </a:cubicBezTo>
                  <a:cubicBezTo>
                    <a:pt x="140550" y="100343"/>
                    <a:pt x="140458" y="100343"/>
                    <a:pt x="140366" y="100343"/>
                  </a:cubicBezTo>
                  <a:cubicBezTo>
                    <a:pt x="139958" y="100343"/>
                    <a:pt x="139563" y="100356"/>
                    <a:pt x="139155" y="100396"/>
                  </a:cubicBezTo>
                  <a:cubicBezTo>
                    <a:pt x="131603" y="100777"/>
                    <a:pt x="124578" y="104001"/>
                    <a:pt x="119342" y="109487"/>
                  </a:cubicBezTo>
                  <a:lnTo>
                    <a:pt x="119342" y="109447"/>
                  </a:lnTo>
                  <a:cubicBezTo>
                    <a:pt x="114040" y="114999"/>
                    <a:pt x="111132" y="122301"/>
                    <a:pt x="111185" y="129984"/>
                  </a:cubicBezTo>
                  <a:cubicBezTo>
                    <a:pt x="111277" y="146154"/>
                    <a:pt x="124499" y="159310"/>
                    <a:pt x="140681" y="159310"/>
                  </a:cubicBezTo>
                  <a:lnTo>
                    <a:pt x="140852" y="159310"/>
                  </a:lnTo>
                  <a:cubicBezTo>
                    <a:pt x="141287" y="159310"/>
                    <a:pt x="141721" y="159271"/>
                    <a:pt x="142142" y="159192"/>
                  </a:cubicBezTo>
                  <a:cubicBezTo>
                    <a:pt x="149049" y="157942"/>
                    <a:pt x="153548" y="155705"/>
                    <a:pt x="157298" y="153495"/>
                  </a:cubicBezTo>
                  <a:lnTo>
                    <a:pt x="157298" y="189820"/>
                  </a:lnTo>
                  <a:lnTo>
                    <a:pt x="116000" y="190056"/>
                  </a:lnTo>
                  <a:cubicBezTo>
                    <a:pt x="119736" y="199108"/>
                    <a:pt x="124723" y="202147"/>
                    <a:pt x="126801" y="213606"/>
                  </a:cubicBezTo>
                  <a:cubicBezTo>
                    <a:pt x="126867" y="225776"/>
                    <a:pt x="117079" y="235683"/>
                    <a:pt x="104922" y="235748"/>
                  </a:cubicBezTo>
                  <a:cubicBezTo>
                    <a:pt x="93042" y="235814"/>
                    <a:pt x="83306" y="226460"/>
                    <a:pt x="82807" y="214698"/>
                  </a:cubicBezTo>
                  <a:cubicBezTo>
                    <a:pt x="82780" y="214435"/>
                    <a:pt x="82767" y="214146"/>
                    <a:pt x="82767" y="213869"/>
                  </a:cubicBezTo>
                  <a:cubicBezTo>
                    <a:pt x="82728" y="206120"/>
                    <a:pt x="88937" y="199411"/>
                    <a:pt x="92266" y="190201"/>
                  </a:cubicBezTo>
                  <a:lnTo>
                    <a:pt x="44508" y="190477"/>
                  </a:lnTo>
                  <a:lnTo>
                    <a:pt x="44232" y="142325"/>
                  </a:lnTo>
                  <a:cubicBezTo>
                    <a:pt x="36286" y="145969"/>
                    <a:pt x="32970" y="150522"/>
                    <a:pt x="22143" y="152495"/>
                  </a:cubicBezTo>
                  <a:cubicBezTo>
                    <a:pt x="9986" y="152561"/>
                    <a:pt x="66" y="142759"/>
                    <a:pt x="0" y="130603"/>
                  </a:cubicBezTo>
                  <a:cubicBezTo>
                    <a:pt x="-65" y="118723"/>
                    <a:pt x="9289" y="109000"/>
                    <a:pt x="21051" y="108487"/>
                  </a:cubicBezTo>
                  <a:cubicBezTo>
                    <a:pt x="21340" y="108461"/>
                    <a:pt x="21616" y="108447"/>
                    <a:pt x="21893" y="108461"/>
                  </a:cubicBezTo>
                  <a:cubicBezTo>
                    <a:pt x="29221" y="108421"/>
                    <a:pt x="35628" y="113973"/>
                    <a:pt x="44100" y="117394"/>
                  </a:cubicBezTo>
                  <a:lnTo>
                    <a:pt x="43824" y="70781"/>
                  </a:lnTo>
                  <a:close/>
                  <a:moveTo>
                    <a:pt x="274469" y="0"/>
                  </a:moveTo>
                  <a:lnTo>
                    <a:pt x="308715" y="33851"/>
                  </a:lnTo>
                  <a:cubicBezTo>
                    <a:pt x="311754" y="25655"/>
                    <a:pt x="310885" y="20090"/>
                    <a:pt x="317148" y="11038"/>
                  </a:cubicBezTo>
                  <a:cubicBezTo>
                    <a:pt x="325700" y="2381"/>
                    <a:pt x="339632" y="2302"/>
                    <a:pt x="348289" y="10867"/>
                  </a:cubicBezTo>
                  <a:cubicBezTo>
                    <a:pt x="356735" y="19208"/>
                    <a:pt x="356999" y="32707"/>
                    <a:pt x="349039" y="41390"/>
                  </a:cubicBezTo>
                  <a:cubicBezTo>
                    <a:pt x="348855" y="41600"/>
                    <a:pt x="348671" y="41811"/>
                    <a:pt x="348460" y="41995"/>
                  </a:cubicBezTo>
                  <a:cubicBezTo>
                    <a:pt x="343303" y="47205"/>
                    <a:pt x="334843" y="47810"/>
                    <a:pt x="326436" y="51389"/>
                  </a:cubicBezTo>
                  <a:lnTo>
                    <a:pt x="359998" y="84556"/>
                  </a:lnTo>
                  <a:lnTo>
                    <a:pt x="280205" y="165270"/>
                  </a:lnTo>
                  <a:lnTo>
                    <a:pt x="254274" y="139339"/>
                  </a:lnTo>
                  <a:lnTo>
                    <a:pt x="254313" y="139352"/>
                  </a:lnTo>
                  <a:cubicBezTo>
                    <a:pt x="259878" y="137668"/>
                    <a:pt x="265562" y="135826"/>
                    <a:pt x="270061" y="131327"/>
                  </a:cubicBezTo>
                  <a:cubicBezTo>
                    <a:pt x="270416" y="130985"/>
                    <a:pt x="270759" y="130616"/>
                    <a:pt x="271074" y="130248"/>
                  </a:cubicBezTo>
                  <a:cubicBezTo>
                    <a:pt x="281613" y="118578"/>
                    <a:pt x="281178" y="100791"/>
                    <a:pt x="270035" y="89647"/>
                  </a:cubicBezTo>
                  <a:lnTo>
                    <a:pt x="269903" y="89529"/>
                  </a:lnTo>
                  <a:cubicBezTo>
                    <a:pt x="264299" y="83990"/>
                    <a:pt x="256879" y="80964"/>
                    <a:pt x="248998" y="81004"/>
                  </a:cubicBezTo>
                  <a:cubicBezTo>
                    <a:pt x="241117" y="81056"/>
                    <a:pt x="233723" y="84161"/>
                    <a:pt x="228185" y="89766"/>
                  </a:cubicBezTo>
                  <a:cubicBezTo>
                    <a:pt x="227882" y="90082"/>
                    <a:pt x="227606" y="90411"/>
                    <a:pt x="227356" y="90766"/>
                  </a:cubicBezTo>
                  <a:cubicBezTo>
                    <a:pt x="223304" y="96607"/>
                    <a:pt x="221712" y="101422"/>
                    <a:pt x="220633" y="105685"/>
                  </a:cubicBezTo>
                  <a:lnTo>
                    <a:pt x="195175" y="80228"/>
                  </a:lnTo>
                  <a:lnTo>
                    <a:pt x="224211" y="50849"/>
                  </a:lnTo>
                  <a:cubicBezTo>
                    <a:pt x="215160" y="47100"/>
                    <a:pt x="209502" y="48468"/>
                    <a:pt x="199925" y="41837"/>
                  </a:cubicBezTo>
                  <a:cubicBezTo>
                    <a:pt x="191268" y="33286"/>
                    <a:pt x="191189" y="19340"/>
                    <a:pt x="199740" y="10696"/>
                  </a:cubicBezTo>
                  <a:cubicBezTo>
                    <a:pt x="208095" y="2237"/>
                    <a:pt x="221593" y="1973"/>
                    <a:pt x="230263" y="9946"/>
                  </a:cubicBezTo>
                  <a:cubicBezTo>
                    <a:pt x="230474" y="10117"/>
                    <a:pt x="230684" y="10301"/>
                    <a:pt x="230882" y="10512"/>
                  </a:cubicBezTo>
                  <a:cubicBezTo>
                    <a:pt x="236394" y="15959"/>
                    <a:pt x="236749" y="25102"/>
                    <a:pt x="240907" y="33970"/>
                  </a:cubicBezTo>
                  <a:close/>
                </a:path>
              </a:pathLst>
            </a:custGeom>
            <a:solidFill>
              <a:srgbClr val="025EA1"/>
            </a:solidFill>
            <a:ln w="129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ru-RU" sz="1350" kern="0">
                <a:solidFill>
                  <a:srgbClr val="333333"/>
                </a:solidFill>
              </a:endParaRP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8AB9711E-3C27-4C8C-8FB1-7F53105A1113}"/>
              </a:ext>
            </a:extLst>
          </p:cNvPr>
          <p:cNvGrpSpPr/>
          <p:nvPr/>
        </p:nvGrpSpPr>
        <p:grpSpPr>
          <a:xfrm>
            <a:off x="4471712" y="4096159"/>
            <a:ext cx="539999" cy="540000"/>
            <a:chOff x="2928007" y="3293108"/>
            <a:chExt cx="719999" cy="720000"/>
          </a:xfrm>
        </p:grpSpPr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0F45B4E1-68F2-4ED3-B123-F9CFA2C3B5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2928007" y="3293108"/>
              <a:ext cx="719999" cy="720000"/>
            </a:xfrm>
            <a:prstGeom prst="rect">
              <a:avLst/>
            </a:prstGeom>
          </p:spPr>
        </p:pic>
        <p:sp>
          <p:nvSpPr>
            <p:cNvPr id="47" name="Полилиния 66">
              <a:extLst>
                <a:ext uri="{FF2B5EF4-FFF2-40B4-BE49-F238E27FC236}">
                  <a16:creationId xmlns:a16="http://schemas.microsoft.com/office/drawing/2014/main" id="{6EE1C549-351E-4526-BD0E-E26A1C50F22C}"/>
                </a:ext>
              </a:extLst>
            </p:cNvPr>
            <p:cNvSpPr/>
            <p:nvPr/>
          </p:nvSpPr>
          <p:spPr>
            <a:xfrm>
              <a:off x="3123024" y="3488770"/>
              <a:ext cx="329950" cy="329212"/>
            </a:xfrm>
            <a:custGeom>
              <a:avLst/>
              <a:gdLst>
                <a:gd name="connsiteX0" fmla="*/ 44838 w 329950"/>
                <a:gd name="connsiteY0" fmla="*/ 171901 h 329212"/>
                <a:gd name="connsiteX1" fmla="*/ 80610 w 329950"/>
                <a:gd name="connsiteY1" fmla="*/ 171901 h 329212"/>
                <a:gd name="connsiteX2" fmla="*/ 75400 w 329950"/>
                <a:gd name="connsiteY2" fmla="*/ 188228 h 329212"/>
                <a:gd name="connsiteX3" fmla="*/ 75453 w 329950"/>
                <a:gd name="connsiteY3" fmla="*/ 189715 h 329212"/>
                <a:gd name="connsiteX4" fmla="*/ 104897 w 329950"/>
                <a:gd name="connsiteY4" fmla="*/ 217685 h 329212"/>
                <a:gd name="connsiteX5" fmla="*/ 105068 w 329950"/>
                <a:gd name="connsiteY5" fmla="*/ 217685 h 329212"/>
                <a:gd name="connsiteX6" fmla="*/ 125881 w 329950"/>
                <a:gd name="connsiteY6" fmla="*/ 208923 h 329212"/>
                <a:gd name="connsiteX7" fmla="*/ 134393 w 329950"/>
                <a:gd name="connsiteY7" fmla="*/ 188018 h 329212"/>
                <a:gd name="connsiteX8" fmla="*/ 134275 w 329950"/>
                <a:gd name="connsiteY8" fmla="*/ 186728 h 329212"/>
                <a:gd name="connsiteX9" fmla="*/ 128776 w 329950"/>
                <a:gd name="connsiteY9" fmla="*/ 171914 h 329212"/>
                <a:gd name="connsiteX10" fmla="*/ 165127 w 329950"/>
                <a:gd name="connsiteY10" fmla="*/ 171914 h 329212"/>
                <a:gd name="connsiteX11" fmla="*/ 165363 w 329950"/>
                <a:gd name="connsiteY11" fmla="*/ 213212 h 329212"/>
                <a:gd name="connsiteX12" fmla="*/ 188913 w 329950"/>
                <a:gd name="connsiteY12" fmla="*/ 202411 h 329212"/>
                <a:gd name="connsiteX13" fmla="*/ 211056 w 329950"/>
                <a:gd name="connsiteY13" fmla="*/ 224303 h 329212"/>
                <a:gd name="connsiteX14" fmla="*/ 211042 w 329950"/>
                <a:gd name="connsiteY14" fmla="*/ 224290 h 329212"/>
                <a:gd name="connsiteX15" fmla="*/ 189992 w 329950"/>
                <a:gd name="connsiteY15" fmla="*/ 246405 h 329212"/>
                <a:gd name="connsiteX16" fmla="*/ 189163 w 329950"/>
                <a:gd name="connsiteY16" fmla="*/ 246445 h 329212"/>
                <a:gd name="connsiteX17" fmla="*/ 165495 w 329950"/>
                <a:gd name="connsiteY17" fmla="*/ 236946 h 329212"/>
                <a:gd name="connsiteX18" fmla="*/ 165771 w 329950"/>
                <a:gd name="connsiteY18" fmla="*/ 284704 h 329212"/>
                <a:gd name="connsiteX19" fmla="*/ 117619 w 329950"/>
                <a:gd name="connsiteY19" fmla="*/ 284980 h 329212"/>
                <a:gd name="connsiteX20" fmla="*/ 127789 w 329950"/>
                <a:gd name="connsiteY20" fmla="*/ 307069 h 329212"/>
                <a:gd name="connsiteX21" fmla="*/ 105897 w 329950"/>
                <a:gd name="connsiteY21" fmla="*/ 329212 h 329212"/>
                <a:gd name="connsiteX22" fmla="*/ 83781 w 329950"/>
                <a:gd name="connsiteY22" fmla="*/ 308161 h 329212"/>
                <a:gd name="connsiteX23" fmla="*/ 83755 w 329950"/>
                <a:gd name="connsiteY23" fmla="*/ 307319 h 329212"/>
                <a:gd name="connsiteX24" fmla="*/ 92688 w 329950"/>
                <a:gd name="connsiteY24" fmla="*/ 285111 h 329212"/>
                <a:gd name="connsiteX25" fmla="*/ 45496 w 329950"/>
                <a:gd name="connsiteY25" fmla="*/ 285388 h 329212"/>
                <a:gd name="connsiteX26" fmla="*/ 225028 w 329950"/>
                <a:gd name="connsiteY26" fmla="*/ 118539 h 329212"/>
                <a:gd name="connsiteX27" fmla="*/ 247143 w 329950"/>
                <a:gd name="connsiteY27" fmla="*/ 139590 h 329212"/>
                <a:gd name="connsiteX28" fmla="*/ 247183 w 329950"/>
                <a:gd name="connsiteY28" fmla="*/ 140419 h 329212"/>
                <a:gd name="connsiteX29" fmla="*/ 237684 w 329950"/>
                <a:gd name="connsiteY29" fmla="*/ 164100 h 329212"/>
                <a:gd name="connsiteX30" fmla="*/ 285442 w 329950"/>
                <a:gd name="connsiteY30" fmla="*/ 163824 h 329212"/>
                <a:gd name="connsiteX31" fmla="*/ 285718 w 329950"/>
                <a:gd name="connsiteY31" fmla="*/ 211976 h 329212"/>
                <a:gd name="connsiteX32" fmla="*/ 307807 w 329950"/>
                <a:gd name="connsiteY32" fmla="*/ 201806 h 329212"/>
                <a:gd name="connsiteX33" fmla="*/ 329950 w 329950"/>
                <a:gd name="connsiteY33" fmla="*/ 223698 h 329212"/>
                <a:gd name="connsiteX34" fmla="*/ 308899 w 329950"/>
                <a:gd name="connsiteY34" fmla="*/ 245814 h 329212"/>
                <a:gd name="connsiteX35" fmla="*/ 308057 w 329950"/>
                <a:gd name="connsiteY35" fmla="*/ 245840 h 329212"/>
                <a:gd name="connsiteX36" fmla="*/ 285849 w 329950"/>
                <a:gd name="connsiteY36" fmla="*/ 236907 h 329212"/>
                <a:gd name="connsiteX37" fmla="*/ 286126 w 329950"/>
                <a:gd name="connsiteY37" fmla="*/ 284099 h 329212"/>
                <a:gd name="connsiteX38" fmla="*/ 172639 w 329950"/>
                <a:gd name="connsiteY38" fmla="*/ 284757 h 329212"/>
                <a:gd name="connsiteX39" fmla="*/ 172639 w 329950"/>
                <a:gd name="connsiteY39" fmla="*/ 248709 h 329212"/>
                <a:gd name="connsiteX40" fmla="*/ 188834 w 329950"/>
                <a:gd name="connsiteY40" fmla="*/ 253853 h 329212"/>
                <a:gd name="connsiteX41" fmla="*/ 189111 w 329950"/>
                <a:gd name="connsiteY41" fmla="*/ 253853 h 329212"/>
                <a:gd name="connsiteX42" fmla="*/ 190321 w 329950"/>
                <a:gd name="connsiteY42" fmla="*/ 253800 h 329212"/>
                <a:gd name="connsiteX43" fmla="*/ 210135 w 329950"/>
                <a:gd name="connsiteY43" fmla="*/ 244709 h 329212"/>
                <a:gd name="connsiteX44" fmla="*/ 218292 w 329950"/>
                <a:gd name="connsiteY44" fmla="*/ 224172 h 329212"/>
                <a:gd name="connsiteX45" fmla="*/ 188795 w 329950"/>
                <a:gd name="connsiteY45" fmla="*/ 194846 h 329212"/>
                <a:gd name="connsiteX46" fmla="*/ 188624 w 329950"/>
                <a:gd name="connsiteY46" fmla="*/ 194846 h 329212"/>
                <a:gd name="connsiteX47" fmla="*/ 187335 w 329950"/>
                <a:gd name="connsiteY47" fmla="*/ 194965 h 329212"/>
                <a:gd name="connsiteX48" fmla="*/ 172652 w 329950"/>
                <a:gd name="connsiteY48" fmla="*/ 200398 h 329212"/>
                <a:gd name="connsiteX49" fmla="*/ 172652 w 329950"/>
                <a:gd name="connsiteY49" fmla="*/ 164468 h 329212"/>
                <a:gd name="connsiteX50" fmla="*/ 213950 w 329950"/>
                <a:gd name="connsiteY50" fmla="*/ 164232 h 329212"/>
                <a:gd name="connsiteX51" fmla="*/ 203149 w 329950"/>
                <a:gd name="connsiteY51" fmla="*/ 140682 h 329212"/>
                <a:gd name="connsiteX52" fmla="*/ 225028 w 329950"/>
                <a:gd name="connsiteY52" fmla="*/ 118539 h 329212"/>
                <a:gd name="connsiteX53" fmla="*/ 157311 w 329950"/>
                <a:gd name="connsiteY53" fmla="*/ 44693 h 329212"/>
                <a:gd name="connsiteX54" fmla="*/ 157311 w 329950"/>
                <a:gd name="connsiteY54" fmla="*/ 80307 h 329212"/>
                <a:gd name="connsiteX55" fmla="*/ 140642 w 329950"/>
                <a:gd name="connsiteY55" fmla="*/ 74913 h 329212"/>
                <a:gd name="connsiteX56" fmla="*/ 140366 w 329950"/>
                <a:gd name="connsiteY56" fmla="*/ 74913 h 329212"/>
                <a:gd name="connsiteX57" fmla="*/ 139155 w 329950"/>
                <a:gd name="connsiteY57" fmla="*/ 74966 h 329212"/>
                <a:gd name="connsiteX58" fmla="*/ 119342 w 329950"/>
                <a:gd name="connsiteY58" fmla="*/ 84057 h 329212"/>
                <a:gd name="connsiteX59" fmla="*/ 119342 w 329950"/>
                <a:gd name="connsiteY59" fmla="*/ 84017 h 329212"/>
                <a:gd name="connsiteX60" fmla="*/ 111185 w 329950"/>
                <a:gd name="connsiteY60" fmla="*/ 104554 h 329212"/>
                <a:gd name="connsiteX61" fmla="*/ 140681 w 329950"/>
                <a:gd name="connsiteY61" fmla="*/ 133880 h 329212"/>
                <a:gd name="connsiteX62" fmla="*/ 140852 w 329950"/>
                <a:gd name="connsiteY62" fmla="*/ 133880 h 329212"/>
                <a:gd name="connsiteX63" fmla="*/ 142142 w 329950"/>
                <a:gd name="connsiteY63" fmla="*/ 133762 h 329212"/>
                <a:gd name="connsiteX64" fmla="*/ 157298 w 329950"/>
                <a:gd name="connsiteY64" fmla="*/ 128065 h 329212"/>
                <a:gd name="connsiteX65" fmla="*/ 157298 w 329950"/>
                <a:gd name="connsiteY65" fmla="*/ 164390 h 329212"/>
                <a:gd name="connsiteX66" fmla="*/ 116000 w 329950"/>
                <a:gd name="connsiteY66" fmla="*/ 164626 h 329212"/>
                <a:gd name="connsiteX67" fmla="*/ 126801 w 329950"/>
                <a:gd name="connsiteY67" fmla="*/ 188176 h 329212"/>
                <a:gd name="connsiteX68" fmla="*/ 104922 w 329950"/>
                <a:gd name="connsiteY68" fmla="*/ 210318 h 329212"/>
                <a:gd name="connsiteX69" fmla="*/ 82806 w 329950"/>
                <a:gd name="connsiteY69" fmla="*/ 189268 h 329212"/>
                <a:gd name="connsiteX70" fmla="*/ 82767 w 329950"/>
                <a:gd name="connsiteY70" fmla="*/ 188439 h 329212"/>
                <a:gd name="connsiteX71" fmla="*/ 92266 w 329950"/>
                <a:gd name="connsiteY71" fmla="*/ 164771 h 329212"/>
                <a:gd name="connsiteX72" fmla="*/ 44508 w 329950"/>
                <a:gd name="connsiteY72" fmla="*/ 165047 h 329212"/>
                <a:gd name="connsiteX73" fmla="*/ 44232 w 329950"/>
                <a:gd name="connsiteY73" fmla="*/ 116895 h 329212"/>
                <a:gd name="connsiteX74" fmla="*/ 22142 w 329950"/>
                <a:gd name="connsiteY74" fmla="*/ 127065 h 329212"/>
                <a:gd name="connsiteX75" fmla="*/ 0 w 329950"/>
                <a:gd name="connsiteY75" fmla="*/ 105173 h 329212"/>
                <a:gd name="connsiteX76" fmla="*/ 21051 w 329950"/>
                <a:gd name="connsiteY76" fmla="*/ 83057 h 329212"/>
                <a:gd name="connsiteX77" fmla="*/ 21893 w 329950"/>
                <a:gd name="connsiteY77" fmla="*/ 83031 h 329212"/>
                <a:gd name="connsiteX78" fmla="*/ 44100 w 329950"/>
                <a:gd name="connsiteY78" fmla="*/ 91964 h 329212"/>
                <a:gd name="connsiteX79" fmla="*/ 43824 w 329950"/>
                <a:gd name="connsiteY79" fmla="*/ 45351 h 329212"/>
                <a:gd name="connsiteX80" fmla="*/ 224053 w 329950"/>
                <a:gd name="connsiteY80" fmla="*/ 0 h 329212"/>
                <a:gd name="connsiteX81" fmla="*/ 246169 w 329950"/>
                <a:gd name="connsiteY81" fmla="*/ 21051 h 329212"/>
                <a:gd name="connsiteX82" fmla="*/ 246195 w 329950"/>
                <a:gd name="connsiteY82" fmla="*/ 21893 h 329212"/>
                <a:gd name="connsiteX83" fmla="*/ 237262 w 329950"/>
                <a:gd name="connsiteY83" fmla="*/ 44100 h 329212"/>
                <a:gd name="connsiteX84" fmla="*/ 284454 w 329950"/>
                <a:gd name="connsiteY84" fmla="*/ 43824 h 329212"/>
                <a:gd name="connsiteX85" fmla="*/ 285112 w 329950"/>
                <a:gd name="connsiteY85" fmla="*/ 157324 h 329212"/>
                <a:gd name="connsiteX86" fmla="*/ 248432 w 329950"/>
                <a:gd name="connsiteY86" fmla="*/ 157324 h 329212"/>
                <a:gd name="connsiteX87" fmla="*/ 253905 w 329950"/>
                <a:gd name="connsiteY87" fmla="*/ 140510 h 329212"/>
                <a:gd name="connsiteX88" fmla="*/ 253852 w 329950"/>
                <a:gd name="connsiteY88" fmla="*/ 139024 h 329212"/>
                <a:gd name="connsiteX89" fmla="*/ 224409 w 329950"/>
                <a:gd name="connsiteY89" fmla="*/ 111053 h 329212"/>
                <a:gd name="connsiteX90" fmla="*/ 224224 w 329950"/>
                <a:gd name="connsiteY90" fmla="*/ 111053 h 329212"/>
                <a:gd name="connsiteX91" fmla="*/ 203424 w 329950"/>
                <a:gd name="connsiteY91" fmla="*/ 119815 h 329212"/>
                <a:gd name="connsiteX92" fmla="*/ 194912 w 329950"/>
                <a:gd name="connsiteY92" fmla="*/ 140721 h 329212"/>
                <a:gd name="connsiteX93" fmla="*/ 195030 w 329950"/>
                <a:gd name="connsiteY93" fmla="*/ 142010 h 329212"/>
                <a:gd name="connsiteX94" fmla="*/ 200819 w 329950"/>
                <a:gd name="connsiteY94" fmla="*/ 157311 h 329212"/>
                <a:gd name="connsiteX95" fmla="*/ 164823 w 329950"/>
                <a:gd name="connsiteY95" fmla="*/ 157311 h 329212"/>
                <a:gd name="connsiteX96" fmla="*/ 164587 w 329950"/>
                <a:gd name="connsiteY96" fmla="*/ 116000 h 329212"/>
                <a:gd name="connsiteX97" fmla="*/ 141037 w 329950"/>
                <a:gd name="connsiteY97" fmla="*/ 126801 h 329212"/>
                <a:gd name="connsiteX98" fmla="*/ 118894 w 329950"/>
                <a:gd name="connsiteY98" fmla="*/ 104922 h 329212"/>
                <a:gd name="connsiteX99" fmla="*/ 139945 w 329950"/>
                <a:gd name="connsiteY99" fmla="*/ 82807 h 329212"/>
                <a:gd name="connsiteX100" fmla="*/ 140774 w 329950"/>
                <a:gd name="connsiteY100" fmla="*/ 82767 h 329212"/>
                <a:gd name="connsiteX101" fmla="*/ 164455 w 329950"/>
                <a:gd name="connsiteY101" fmla="*/ 92266 h 329212"/>
                <a:gd name="connsiteX102" fmla="*/ 164179 w 329950"/>
                <a:gd name="connsiteY102" fmla="*/ 44508 h 329212"/>
                <a:gd name="connsiteX103" fmla="*/ 212331 w 329950"/>
                <a:gd name="connsiteY103" fmla="*/ 44232 h 329212"/>
                <a:gd name="connsiteX104" fmla="*/ 202161 w 329950"/>
                <a:gd name="connsiteY104" fmla="*/ 22143 h 329212"/>
                <a:gd name="connsiteX105" fmla="*/ 224053 w 329950"/>
                <a:gd name="connsiteY105" fmla="*/ 0 h 329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329950" h="329212">
                  <a:moveTo>
                    <a:pt x="44838" y="171901"/>
                  </a:moveTo>
                  <a:lnTo>
                    <a:pt x="80610" y="171901"/>
                  </a:lnTo>
                  <a:cubicBezTo>
                    <a:pt x="77953" y="176874"/>
                    <a:pt x="75400" y="182058"/>
                    <a:pt x="75400" y="188228"/>
                  </a:cubicBezTo>
                  <a:cubicBezTo>
                    <a:pt x="75400" y="188728"/>
                    <a:pt x="75400" y="189228"/>
                    <a:pt x="75453" y="189715"/>
                  </a:cubicBezTo>
                  <a:cubicBezTo>
                    <a:pt x="76255" y="205410"/>
                    <a:pt x="89135" y="217685"/>
                    <a:pt x="104897" y="217685"/>
                  </a:cubicBezTo>
                  <a:lnTo>
                    <a:pt x="105068" y="217685"/>
                  </a:lnTo>
                  <a:cubicBezTo>
                    <a:pt x="112949" y="217646"/>
                    <a:pt x="120342" y="214528"/>
                    <a:pt x="125881" y="208923"/>
                  </a:cubicBezTo>
                  <a:cubicBezTo>
                    <a:pt x="131420" y="203318"/>
                    <a:pt x="134446" y="195898"/>
                    <a:pt x="134393" y="188018"/>
                  </a:cubicBezTo>
                  <a:cubicBezTo>
                    <a:pt x="134393" y="187583"/>
                    <a:pt x="134354" y="187149"/>
                    <a:pt x="134275" y="186728"/>
                  </a:cubicBezTo>
                  <a:cubicBezTo>
                    <a:pt x="133051" y="180032"/>
                    <a:pt x="130933" y="175598"/>
                    <a:pt x="128776" y="171914"/>
                  </a:cubicBezTo>
                  <a:lnTo>
                    <a:pt x="165127" y="171914"/>
                  </a:lnTo>
                  <a:lnTo>
                    <a:pt x="165363" y="213212"/>
                  </a:lnTo>
                  <a:cubicBezTo>
                    <a:pt x="174415" y="209476"/>
                    <a:pt x="177454" y="204489"/>
                    <a:pt x="188913" y="202411"/>
                  </a:cubicBezTo>
                  <a:cubicBezTo>
                    <a:pt x="201083" y="202345"/>
                    <a:pt x="210990" y="212133"/>
                    <a:pt x="211056" y="224303"/>
                  </a:cubicBezTo>
                  <a:lnTo>
                    <a:pt x="211042" y="224290"/>
                  </a:lnTo>
                  <a:cubicBezTo>
                    <a:pt x="211108" y="236170"/>
                    <a:pt x="201754" y="245906"/>
                    <a:pt x="189992" y="246405"/>
                  </a:cubicBezTo>
                  <a:cubicBezTo>
                    <a:pt x="189729" y="246445"/>
                    <a:pt x="189440" y="246445"/>
                    <a:pt x="189163" y="246445"/>
                  </a:cubicBezTo>
                  <a:cubicBezTo>
                    <a:pt x="181414" y="246484"/>
                    <a:pt x="174704" y="240275"/>
                    <a:pt x="165495" y="236946"/>
                  </a:cubicBezTo>
                  <a:lnTo>
                    <a:pt x="165771" y="284704"/>
                  </a:lnTo>
                  <a:lnTo>
                    <a:pt x="117619" y="284980"/>
                  </a:lnTo>
                  <a:cubicBezTo>
                    <a:pt x="121263" y="292926"/>
                    <a:pt x="125815" y="296242"/>
                    <a:pt x="127789" y="307069"/>
                  </a:cubicBezTo>
                  <a:cubicBezTo>
                    <a:pt x="127855" y="319226"/>
                    <a:pt x="118053" y="329146"/>
                    <a:pt x="105897" y="329212"/>
                  </a:cubicBezTo>
                  <a:cubicBezTo>
                    <a:pt x="94030" y="329277"/>
                    <a:pt x="84294" y="319923"/>
                    <a:pt x="83781" y="308161"/>
                  </a:cubicBezTo>
                  <a:cubicBezTo>
                    <a:pt x="83755" y="307885"/>
                    <a:pt x="83741" y="307609"/>
                    <a:pt x="83755" y="307319"/>
                  </a:cubicBezTo>
                  <a:cubicBezTo>
                    <a:pt x="83715" y="299991"/>
                    <a:pt x="89267" y="293584"/>
                    <a:pt x="92688" y="285111"/>
                  </a:cubicBezTo>
                  <a:lnTo>
                    <a:pt x="45496" y="285388"/>
                  </a:lnTo>
                  <a:close/>
                  <a:moveTo>
                    <a:pt x="225028" y="118539"/>
                  </a:moveTo>
                  <a:cubicBezTo>
                    <a:pt x="236908" y="118461"/>
                    <a:pt x="246644" y="127815"/>
                    <a:pt x="247143" y="139590"/>
                  </a:cubicBezTo>
                  <a:cubicBezTo>
                    <a:pt x="247183" y="139853"/>
                    <a:pt x="247183" y="140142"/>
                    <a:pt x="247183" y="140419"/>
                  </a:cubicBezTo>
                  <a:cubicBezTo>
                    <a:pt x="247222" y="148168"/>
                    <a:pt x="241013" y="154877"/>
                    <a:pt x="237684" y="164100"/>
                  </a:cubicBezTo>
                  <a:lnTo>
                    <a:pt x="285442" y="163824"/>
                  </a:lnTo>
                  <a:lnTo>
                    <a:pt x="285718" y="211976"/>
                  </a:lnTo>
                  <a:cubicBezTo>
                    <a:pt x="293664" y="208332"/>
                    <a:pt x="296980" y="203780"/>
                    <a:pt x="307807" y="201806"/>
                  </a:cubicBezTo>
                  <a:cubicBezTo>
                    <a:pt x="319964" y="201740"/>
                    <a:pt x="329884" y="211542"/>
                    <a:pt x="329950" y="223698"/>
                  </a:cubicBezTo>
                  <a:cubicBezTo>
                    <a:pt x="330015" y="235565"/>
                    <a:pt x="320661" y="245301"/>
                    <a:pt x="308899" y="245814"/>
                  </a:cubicBezTo>
                  <a:cubicBezTo>
                    <a:pt x="308623" y="245840"/>
                    <a:pt x="308347" y="245854"/>
                    <a:pt x="308057" y="245840"/>
                  </a:cubicBezTo>
                  <a:cubicBezTo>
                    <a:pt x="300729" y="245880"/>
                    <a:pt x="294322" y="240328"/>
                    <a:pt x="285849" y="236907"/>
                  </a:cubicBezTo>
                  <a:lnTo>
                    <a:pt x="286126" y="284099"/>
                  </a:lnTo>
                  <a:lnTo>
                    <a:pt x="172639" y="284757"/>
                  </a:lnTo>
                  <a:lnTo>
                    <a:pt x="172639" y="248709"/>
                  </a:lnTo>
                  <a:cubicBezTo>
                    <a:pt x="177573" y="251340"/>
                    <a:pt x="182730" y="253853"/>
                    <a:pt x="188834" y="253853"/>
                  </a:cubicBezTo>
                  <a:lnTo>
                    <a:pt x="189111" y="253853"/>
                  </a:lnTo>
                  <a:cubicBezTo>
                    <a:pt x="189519" y="253853"/>
                    <a:pt x="189913" y="253840"/>
                    <a:pt x="190321" y="253800"/>
                  </a:cubicBezTo>
                  <a:cubicBezTo>
                    <a:pt x="197873" y="253419"/>
                    <a:pt x="204898" y="250195"/>
                    <a:pt x="210135" y="244709"/>
                  </a:cubicBezTo>
                  <a:cubicBezTo>
                    <a:pt x="215437" y="239157"/>
                    <a:pt x="218344" y="231855"/>
                    <a:pt x="218292" y="224172"/>
                  </a:cubicBezTo>
                  <a:cubicBezTo>
                    <a:pt x="218199" y="208003"/>
                    <a:pt x="204977" y="194846"/>
                    <a:pt x="188795" y="194846"/>
                  </a:cubicBezTo>
                  <a:lnTo>
                    <a:pt x="188624" y="194846"/>
                  </a:lnTo>
                  <a:cubicBezTo>
                    <a:pt x="188190" y="194846"/>
                    <a:pt x="187756" y="194886"/>
                    <a:pt x="187335" y="194965"/>
                  </a:cubicBezTo>
                  <a:cubicBezTo>
                    <a:pt x="180717" y="196175"/>
                    <a:pt x="176296" y="198267"/>
                    <a:pt x="172652" y="200398"/>
                  </a:cubicBezTo>
                  <a:lnTo>
                    <a:pt x="172652" y="164468"/>
                  </a:lnTo>
                  <a:lnTo>
                    <a:pt x="213950" y="164232"/>
                  </a:lnTo>
                  <a:cubicBezTo>
                    <a:pt x="210214" y="155180"/>
                    <a:pt x="205227" y="152141"/>
                    <a:pt x="203149" y="140682"/>
                  </a:cubicBezTo>
                  <a:cubicBezTo>
                    <a:pt x="203083" y="128512"/>
                    <a:pt x="212871" y="118605"/>
                    <a:pt x="225028" y="118539"/>
                  </a:cubicBezTo>
                  <a:close/>
                  <a:moveTo>
                    <a:pt x="157311" y="44693"/>
                  </a:moveTo>
                  <a:lnTo>
                    <a:pt x="157311" y="80307"/>
                  </a:lnTo>
                  <a:cubicBezTo>
                    <a:pt x="152233" y="77584"/>
                    <a:pt x="146944" y="74913"/>
                    <a:pt x="140642" y="74913"/>
                  </a:cubicBezTo>
                  <a:cubicBezTo>
                    <a:pt x="140550" y="74913"/>
                    <a:pt x="140458" y="74913"/>
                    <a:pt x="140366" y="74913"/>
                  </a:cubicBezTo>
                  <a:cubicBezTo>
                    <a:pt x="139958" y="74913"/>
                    <a:pt x="139563" y="74926"/>
                    <a:pt x="139155" y="74966"/>
                  </a:cubicBezTo>
                  <a:cubicBezTo>
                    <a:pt x="131603" y="75347"/>
                    <a:pt x="124578" y="78571"/>
                    <a:pt x="119342" y="84057"/>
                  </a:cubicBezTo>
                  <a:lnTo>
                    <a:pt x="119342" y="84017"/>
                  </a:lnTo>
                  <a:cubicBezTo>
                    <a:pt x="114040" y="89569"/>
                    <a:pt x="111132" y="96871"/>
                    <a:pt x="111185" y="104554"/>
                  </a:cubicBezTo>
                  <a:cubicBezTo>
                    <a:pt x="111277" y="120724"/>
                    <a:pt x="124499" y="133880"/>
                    <a:pt x="140681" y="133880"/>
                  </a:cubicBezTo>
                  <a:lnTo>
                    <a:pt x="140852" y="133880"/>
                  </a:lnTo>
                  <a:cubicBezTo>
                    <a:pt x="141287" y="133880"/>
                    <a:pt x="141721" y="133841"/>
                    <a:pt x="142142" y="133762"/>
                  </a:cubicBezTo>
                  <a:cubicBezTo>
                    <a:pt x="149049" y="132512"/>
                    <a:pt x="153548" y="130275"/>
                    <a:pt x="157298" y="128065"/>
                  </a:cubicBezTo>
                  <a:lnTo>
                    <a:pt x="157298" y="164390"/>
                  </a:lnTo>
                  <a:lnTo>
                    <a:pt x="116000" y="164626"/>
                  </a:lnTo>
                  <a:cubicBezTo>
                    <a:pt x="119736" y="173678"/>
                    <a:pt x="124723" y="176717"/>
                    <a:pt x="126801" y="188176"/>
                  </a:cubicBezTo>
                  <a:cubicBezTo>
                    <a:pt x="126867" y="200346"/>
                    <a:pt x="117079" y="210253"/>
                    <a:pt x="104922" y="210318"/>
                  </a:cubicBezTo>
                  <a:cubicBezTo>
                    <a:pt x="93042" y="210384"/>
                    <a:pt x="83306" y="201030"/>
                    <a:pt x="82806" y="189268"/>
                  </a:cubicBezTo>
                  <a:cubicBezTo>
                    <a:pt x="82780" y="189005"/>
                    <a:pt x="82767" y="188716"/>
                    <a:pt x="82767" y="188439"/>
                  </a:cubicBezTo>
                  <a:cubicBezTo>
                    <a:pt x="82728" y="180690"/>
                    <a:pt x="88937" y="173981"/>
                    <a:pt x="92266" y="164771"/>
                  </a:cubicBezTo>
                  <a:lnTo>
                    <a:pt x="44508" y="165047"/>
                  </a:lnTo>
                  <a:lnTo>
                    <a:pt x="44232" y="116895"/>
                  </a:lnTo>
                  <a:cubicBezTo>
                    <a:pt x="36286" y="120539"/>
                    <a:pt x="32970" y="125092"/>
                    <a:pt x="22142" y="127065"/>
                  </a:cubicBezTo>
                  <a:cubicBezTo>
                    <a:pt x="9986" y="127131"/>
                    <a:pt x="66" y="117329"/>
                    <a:pt x="0" y="105173"/>
                  </a:cubicBezTo>
                  <a:cubicBezTo>
                    <a:pt x="-65" y="93293"/>
                    <a:pt x="9289" y="83570"/>
                    <a:pt x="21051" y="83057"/>
                  </a:cubicBezTo>
                  <a:cubicBezTo>
                    <a:pt x="21340" y="83031"/>
                    <a:pt x="21616" y="83017"/>
                    <a:pt x="21893" y="83031"/>
                  </a:cubicBezTo>
                  <a:cubicBezTo>
                    <a:pt x="29221" y="82991"/>
                    <a:pt x="35628" y="88543"/>
                    <a:pt x="44100" y="91964"/>
                  </a:cubicBezTo>
                  <a:lnTo>
                    <a:pt x="43824" y="45351"/>
                  </a:lnTo>
                  <a:close/>
                  <a:moveTo>
                    <a:pt x="224053" y="0"/>
                  </a:moveTo>
                  <a:cubicBezTo>
                    <a:pt x="235920" y="-65"/>
                    <a:pt x="245656" y="9289"/>
                    <a:pt x="246169" y="21051"/>
                  </a:cubicBezTo>
                  <a:cubicBezTo>
                    <a:pt x="246195" y="21340"/>
                    <a:pt x="246209" y="21616"/>
                    <a:pt x="246195" y="21893"/>
                  </a:cubicBezTo>
                  <a:cubicBezTo>
                    <a:pt x="246235" y="29221"/>
                    <a:pt x="240683" y="35628"/>
                    <a:pt x="237262" y="44100"/>
                  </a:cubicBezTo>
                  <a:lnTo>
                    <a:pt x="284454" y="43824"/>
                  </a:lnTo>
                  <a:lnTo>
                    <a:pt x="285112" y="157324"/>
                  </a:lnTo>
                  <a:lnTo>
                    <a:pt x="248432" y="157324"/>
                  </a:lnTo>
                  <a:cubicBezTo>
                    <a:pt x="251182" y="152206"/>
                    <a:pt x="253905" y="146878"/>
                    <a:pt x="253905" y="140510"/>
                  </a:cubicBezTo>
                  <a:cubicBezTo>
                    <a:pt x="253905" y="140010"/>
                    <a:pt x="253905" y="139510"/>
                    <a:pt x="253852" y="139024"/>
                  </a:cubicBezTo>
                  <a:cubicBezTo>
                    <a:pt x="253050" y="123315"/>
                    <a:pt x="240170" y="111053"/>
                    <a:pt x="224409" y="111053"/>
                  </a:cubicBezTo>
                  <a:lnTo>
                    <a:pt x="224224" y="111053"/>
                  </a:lnTo>
                  <a:cubicBezTo>
                    <a:pt x="216344" y="111093"/>
                    <a:pt x="208963" y="114211"/>
                    <a:pt x="203424" y="119815"/>
                  </a:cubicBezTo>
                  <a:cubicBezTo>
                    <a:pt x="197885" y="125420"/>
                    <a:pt x="194859" y="132840"/>
                    <a:pt x="194912" y="140721"/>
                  </a:cubicBezTo>
                  <a:cubicBezTo>
                    <a:pt x="194912" y="141155"/>
                    <a:pt x="194951" y="141589"/>
                    <a:pt x="195030" y="142010"/>
                  </a:cubicBezTo>
                  <a:cubicBezTo>
                    <a:pt x="196307" y="149009"/>
                    <a:pt x="198569" y="153535"/>
                    <a:pt x="200819" y="157311"/>
                  </a:cubicBezTo>
                  <a:lnTo>
                    <a:pt x="164823" y="157311"/>
                  </a:lnTo>
                  <a:lnTo>
                    <a:pt x="164587" y="116000"/>
                  </a:lnTo>
                  <a:cubicBezTo>
                    <a:pt x="155535" y="119736"/>
                    <a:pt x="152496" y="124723"/>
                    <a:pt x="141037" y="126801"/>
                  </a:cubicBezTo>
                  <a:cubicBezTo>
                    <a:pt x="128867" y="126867"/>
                    <a:pt x="118947" y="117079"/>
                    <a:pt x="118894" y="104922"/>
                  </a:cubicBezTo>
                  <a:cubicBezTo>
                    <a:pt x="118816" y="93042"/>
                    <a:pt x="128170" y="83306"/>
                    <a:pt x="139945" y="82807"/>
                  </a:cubicBezTo>
                  <a:cubicBezTo>
                    <a:pt x="140208" y="82780"/>
                    <a:pt x="140497" y="82767"/>
                    <a:pt x="140774" y="82767"/>
                  </a:cubicBezTo>
                  <a:cubicBezTo>
                    <a:pt x="148523" y="82728"/>
                    <a:pt x="155232" y="88937"/>
                    <a:pt x="164455" y="92266"/>
                  </a:cubicBezTo>
                  <a:lnTo>
                    <a:pt x="164179" y="44508"/>
                  </a:lnTo>
                  <a:lnTo>
                    <a:pt x="212331" y="44232"/>
                  </a:lnTo>
                  <a:cubicBezTo>
                    <a:pt x="208687" y="36286"/>
                    <a:pt x="204135" y="32970"/>
                    <a:pt x="202161" y="22143"/>
                  </a:cubicBezTo>
                  <a:cubicBezTo>
                    <a:pt x="202095" y="9973"/>
                    <a:pt x="211897" y="66"/>
                    <a:pt x="224053" y="0"/>
                  </a:cubicBezTo>
                  <a:close/>
                </a:path>
              </a:pathLst>
            </a:custGeom>
            <a:solidFill>
              <a:srgbClr val="025EA1"/>
            </a:solidFill>
            <a:ln w="129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ru-RU" sz="1350" kern="0">
                <a:solidFill>
                  <a:srgbClr val="333333"/>
                </a:solidFill>
              </a:endParaRPr>
            </a:p>
          </p:txBody>
        </p:sp>
      </p:grp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3D394A14-5FFC-43B3-BF06-F9CD88AEEF03}"/>
              </a:ext>
            </a:extLst>
          </p:cNvPr>
          <p:cNvGrpSpPr/>
          <p:nvPr/>
        </p:nvGrpSpPr>
        <p:grpSpPr>
          <a:xfrm>
            <a:off x="8587771" y="988557"/>
            <a:ext cx="539999" cy="540000"/>
            <a:chOff x="8540053" y="3286998"/>
            <a:chExt cx="719999" cy="720000"/>
          </a:xfrm>
        </p:grpSpPr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1EB2241C-3F3A-4519-8594-73B4138D19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8540053" y="3286998"/>
              <a:ext cx="719999" cy="720000"/>
            </a:xfrm>
            <a:prstGeom prst="rect">
              <a:avLst/>
            </a:prstGeom>
          </p:spPr>
        </p:pic>
        <p:sp>
          <p:nvSpPr>
            <p:cNvPr id="53" name="Полилиния 117">
              <a:extLst>
                <a:ext uri="{FF2B5EF4-FFF2-40B4-BE49-F238E27FC236}">
                  <a16:creationId xmlns:a16="http://schemas.microsoft.com/office/drawing/2014/main" id="{C1867C8E-E2A5-4363-A54F-0C29C5CF55B0}"/>
                </a:ext>
              </a:extLst>
            </p:cNvPr>
            <p:cNvSpPr/>
            <p:nvPr/>
          </p:nvSpPr>
          <p:spPr>
            <a:xfrm>
              <a:off x="8724351" y="3402240"/>
              <a:ext cx="347933" cy="489462"/>
            </a:xfrm>
            <a:custGeom>
              <a:avLst/>
              <a:gdLst>
                <a:gd name="connsiteX0" fmla="*/ 161078 w 347933"/>
                <a:gd name="connsiteY0" fmla="*/ 366490 h 489462"/>
                <a:gd name="connsiteX1" fmla="*/ 154256 w 347933"/>
                <a:gd name="connsiteY1" fmla="*/ 372203 h 489462"/>
                <a:gd name="connsiteX2" fmla="*/ 141154 w 347933"/>
                <a:gd name="connsiteY2" fmla="*/ 445708 h 489462"/>
                <a:gd name="connsiteX3" fmla="*/ 143462 w 347933"/>
                <a:gd name="connsiteY3" fmla="*/ 452155 h 489462"/>
                <a:gd name="connsiteX4" fmla="*/ 166997 w 347933"/>
                <a:gd name="connsiteY4" fmla="*/ 472350 h 489462"/>
                <a:gd name="connsiteX5" fmla="*/ 176024 w 347933"/>
                <a:gd name="connsiteY5" fmla="*/ 472350 h 489462"/>
                <a:gd name="connsiteX6" fmla="*/ 199455 w 347933"/>
                <a:gd name="connsiteY6" fmla="*/ 452155 h 489462"/>
                <a:gd name="connsiteX7" fmla="*/ 199468 w 347933"/>
                <a:gd name="connsiteY7" fmla="*/ 452155 h 489462"/>
                <a:gd name="connsiteX8" fmla="*/ 201724 w 347933"/>
                <a:gd name="connsiteY8" fmla="*/ 445708 h 489462"/>
                <a:gd name="connsiteX9" fmla="*/ 188610 w 347933"/>
                <a:gd name="connsiteY9" fmla="*/ 372203 h 489462"/>
                <a:gd name="connsiteX10" fmla="*/ 181788 w 347933"/>
                <a:gd name="connsiteY10" fmla="*/ 366490 h 489462"/>
                <a:gd name="connsiteX11" fmla="*/ 155765 w 347933"/>
                <a:gd name="connsiteY11" fmla="*/ 307107 h 489462"/>
                <a:gd name="connsiteX12" fmla="*/ 153926 w 347933"/>
                <a:gd name="connsiteY12" fmla="*/ 307359 h 489462"/>
                <a:gd name="connsiteX13" fmla="*/ 149098 w 347933"/>
                <a:gd name="connsiteY13" fmla="*/ 315901 h 489462"/>
                <a:gd name="connsiteX14" fmla="*/ 154565 w 347933"/>
                <a:gd name="connsiteY14" fmla="*/ 335025 h 489462"/>
                <a:gd name="connsiteX15" fmla="*/ 161220 w 347933"/>
                <a:gd name="connsiteY15" fmla="*/ 340055 h 489462"/>
                <a:gd name="connsiteX16" fmla="*/ 181749 w 347933"/>
                <a:gd name="connsiteY16" fmla="*/ 340055 h 489462"/>
                <a:gd name="connsiteX17" fmla="*/ 188403 w 347933"/>
                <a:gd name="connsiteY17" fmla="*/ 335025 h 489462"/>
                <a:gd name="connsiteX18" fmla="*/ 193858 w 347933"/>
                <a:gd name="connsiteY18" fmla="*/ 315953 h 489462"/>
                <a:gd name="connsiteX19" fmla="*/ 194126 w 347933"/>
                <a:gd name="connsiteY19" fmla="*/ 314047 h 489462"/>
                <a:gd name="connsiteX20" fmla="*/ 187191 w 347933"/>
                <a:gd name="connsiteY20" fmla="*/ 307107 h 489462"/>
                <a:gd name="connsiteX21" fmla="*/ 132424 w 347933"/>
                <a:gd name="connsiteY21" fmla="*/ 256569 h 489462"/>
                <a:gd name="connsiteX22" fmla="*/ 171420 w 347933"/>
                <a:gd name="connsiteY22" fmla="*/ 268755 h 489462"/>
                <a:gd name="connsiteX23" fmla="*/ 210571 w 347933"/>
                <a:gd name="connsiteY23" fmla="*/ 258439 h 489462"/>
                <a:gd name="connsiteX24" fmla="*/ 210571 w 347933"/>
                <a:gd name="connsiteY24" fmla="*/ 270935 h 489462"/>
                <a:gd name="connsiteX25" fmla="*/ 214117 w 347933"/>
                <a:gd name="connsiteY25" fmla="*/ 276995 h 489462"/>
                <a:gd name="connsiteX26" fmla="*/ 315411 w 347933"/>
                <a:gd name="connsiteY26" fmla="*/ 333658 h 489462"/>
                <a:gd name="connsiteX27" fmla="*/ 318545 w 347933"/>
                <a:gd name="connsiteY27" fmla="*/ 337334 h 489462"/>
                <a:gd name="connsiteX28" fmla="*/ 347933 w 347933"/>
                <a:gd name="connsiteY28" fmla="*/ 418021 h 489462"/>
                <a:gd name="connsiteX29" fmla="*/ 347211 w 347933"/>
                <a:gd name="connsiteY29" fmla="*/ 418756 h 489462"/>
                <a:gd name="connsiteX30" fmla="*/ 319525 w 347933"/>
                <a:gd name="connsiteY30" fmla="*/ 442381 h 489462"/>
                <a:gd name="connsiteX31" fmla="*/ 175701 w 347933"/>
                <a:gd name="connsiteY31" fmla="*/ 489462 h 489462"/>
                <a:gd name="connsiteX32" fmla="*/ 0 w 347933"/>
                <a:gd name="connsiteY32" fmla="*/ 415042 h 489462"/>
                <a:gd name="connsiteX33" fmla="*/ 24501 w 347933"/>
                <a:gd name="connsiteY33" fmla="*/ 337463 h 489462"/>
                <a:gd name="connsiteX34" fmla="*/ 27725 w 347933"/>
                <a:gd name="connsiteY34" fmla="*/ 333504 h 489462"/>
                <a:gd name="connsiteX35" fmla="*/ 128878 w 347933"/>
                <a:gd name="connsiteY35" fmla="*/ 276970 h 489462"/>
                <a:gd name="connsiteX36" fmla="*/ 132424 w 347933"/>
                <a:gd name="connsiteY36" fmla="*/ 270909 h 489462"/>
                <a:gd name="connsiteX37" fmla="*/ 214388 w 347933"/>
                <a:gd name="connsiteY37" fmla="*/ 101139 h 489462"/>
                <a:gd name="connsiteX38" fmla="*/ 214826 w 347933"/>
                <a:gd name="connsiteY38" fmla="*/ 101139 h 489462"/>
                <a:gd name="connsiteX39" fmla="*/ 218785 w 347933"/>
                <a:gd name="connsiteY39" fmla="*/ 103125 h 489462"/>
                <a:gd name="connsiteX40" fmla="*/ 230017 w 347933"/>
                <a:gd name="connsiteY40" fmla="*/ 115324 h 489462"/>
                <a:gd name="connsiteX41" fmla="*/ 261430 w 347933"/>
                <a:gd name="connsiteY41" fmla="*/ 136421 h 489462"/>
                <a:gd name="connsiteX42" fmla="*/ 262372 w 347933"/>
                <a:gd name="connsiteY42" fmla="*/ 136421 h 489462"/>
                <a:gd name="connsiteX43" fmla="*/ 262823 w 347933"/>
                <a:gd name="connsiteY43" fmla="*/ 136421 h 489462"/>
                <a:gd name="connsiteX44" fmla="*/ 266460 w 347933"/>
                <a:gd name="connsiteY44" fmla="*/ 136292 h 489462"/>
                <a:gd name="connsiteX45" fmla="*/ 273152 w 347933"/>
                <a:gd name="connsiteY45" fmla="*/ 134074 h 489462"/>
                <a:gd name="connsiteX46" fmla="*/ 276789 w 347933"/>
                <a:gd name="connsiteY46" fmla="*/ 154488 h 489462"/>
                <a:gd name="connsiteX47" fmla="*/ 255176 w 347933"/>
                <a:gd name="connsiteY47" fmla="*/ 182071 h 489462"/>
                <a:gd name="connsiteX48" fmla="*/ 254467 w 347933"/>
                <a:gd name="connsiteY48" fmla="*/ 182071 h 489462"/>
                <a:gd name="connsiteX49" fmla="*/ 251295 w 347933"/>
                <a:gd name="connsiteY49" fmla="*/ 181401 h 489462"/>
                <a:gd name="connsiteX50" fmla="*/ 171420 w 347933"/>
                <a:gd name="connsiteY50" fmla="*/ 262462 h 489462"/>
                <a:gd name="connsiteX51" fmla="*/ 91816 w 347933"/>
                <a:gd name="connsiteY51" fmla="*/ 181530 h 489462"/>
                <a:gd name="connsiteX52" fmla="*/ 89095 w 347933"/>
                <a:gd name="connsiteY52" fmla="*/ 182071 h 489462"/>
                <a:gd name="connsiteX53" fmla="*/ 88386 w 347933"/>
                <a:gd name="connsiteY53" fmla="*/ 182071 h 489462"/>
                <a:gd name="connsiteX54" fmla="*/ 66786 w 347933"/>
                <a:gd name="connsiteY54" fmla="*/ 154488 h 489462"/>
                <a:gd name="connsiteX55" fmla="*/ 70280 w 347933"/>
                <a:gd name="connsiteY55" fmla="*/ 134384 h 489462"/>
                <a:gd name="connsiteX56" fmla="*/ 73440 w 347933"/>
                <a:gd name="connsiteY56" fmla="*/ 135905 h 489462"/>
                <a:gd name="connsiteX57" fmla="*/ 78985 w 347933"/>
                <a:gd name="connsiteY57" fmla="*/ 136872 h 489462"/>
                <a:gd name="connsiteX58" fmla="*/ 79423 w 347933"/>
                <a:gd name="connsiteY58" fmla="*/ 136872 h 489462"/>
                <a:gd name="connsiteX59" fmla="*/ 181091 w 347933"/>
                <a:gd name="connsiteY59" fmla="*/ 116498 h 489462"/>
                <a:gd name="connsiteX60" fmla="*/ 211473 w 347933"/>
                <a:gd name="connsiteY60" fmla="*/ 101939 h 489462"/>
                <a:gd name="connsiteX61" fmla="*/ 214388 w 347933"/>
                <a:gd name="connsiteY61" fmla="*/ 101139 h 489462"/>
                <a:gd name="connsiteX62" fmla="*/ 176591 w 347933"/>
                <a:gd name="connsiteY62" fmla="*/ 0 h 489462"/>
                <a:gd name="connsiteX63" fmla="*/ 234376 w 347933"/>
                <a:gd name="connsiteY63" fmla="*/ 29028 h 489462"/>
                <a:gd name="connsiteX64" fmla="*/ 234634 w 347933"/>
                <a:gd name="connsiteY64" fmla="*/ 29028 h 489462"/>
                <a:gd name="connsiteX65" fmla="*/ 256350 w 347933"/>
                <a:gd name="connsiteY65" fmla="*/ 41356 h 489462"/>
                <a:gd name="connsiteX66" fmla="*/ 272817 w 347933"/>
                <a:gd name="connsiteY66" fmla="*/ 126299 h 489462"/>
                <a:gd name="connsiteX67" fmla="*/ 269426 w 347933"/>
                <a:gd name="connsiteY67" fmla="*/ 128659 h 489462"/>
                <a:gd name="connsiteX68" fmla="*/ 266215 w 347933"/>
                <a:gd name="connsiteY68" fmla="*/ 129716 h 489462"/>
                <a:gd name="connsiteX69" fmla="*/ 262565 w 347933"/>
                <a:gd name="connsiteY69" fmla="*/ 129845 h 489462"/>
                <a:gd name="connsiteX70" fmla="*/ 262346 w 347933"/>
                <a:gd name="connsiteY70" fmla="*/ 129845 h 489462"/>
                <a:gd name="connsiteX71" fmla="*/ 261934 w 347933"/>
                <a:gd name="connsiteY71" fmla="*/ 129845 h 489462"/>
                <a:gd name="connsiteX72" fmla="*/ 234582 w 347933"/>
                <a:gd name="connsiteY72" fmla="*/ 110644 h 489462"/>
                <a:gd name="connsiteX73" fmla="*/ 223634 w 347933"/>
                <a:gd name="connsiteY73" fmla="*/ 98754 h 489462"/>
                <a:gd name="connsiteX74" fmla="*/ 215291 w 347933"/>
                <a:gd name="connsiteY74" fmla="*/ 94550 h 489462"/>
                <a:gd name="connsiteX75" fmla="*/ 214362 w 347933"/>
                <a:gd name="connsiteY75" fmla="*/ 94550 h 489462"/>
                <a:gd name="connsiteX76" fmla="*/ 208224 w 347933"/>
                <a:gd name="connsiteY76" fmla="*/ 96213 h 489462"/>
                <a:gd name="connsiteX77" fmla="*/ 178680 w 347933"/>
                <a:gd name="connsiteY77" fmla="*/ 110399 h 489462"/>
                <a:gd name="connsiteX78" fmla="*/ 79243 w 347933"/>
                <a:gd name="connsiteY78" fmla="*/ 130309 h 489462"/>
                <a:gd name="connsiteX79" fmla="*/ 79011 w 347933"/>
                <a:gd name="connsiteY79" fmla="*/ 130309 h 489462"/>
                <a:gd name="connsiteX80" fmla="*/ 75813 w 347933"/>
                <a:gd name="connsiteY80" fmla="*/ 129781 h 489462"/>
                <a:gd name="connsiteX81" fmla="*/ 75581 w 347933"/>
                <a:gd name="connsiteY81" fmla="*/ 129703 h 489462"/>
                <a:gd name="connsiteX82" fmla="*/ 73685 w 347933"/>
                <a:gd name="connsiteY82" fmla="*/ 128788 h 489462"/>
                <a:gd name="connsiteX83" fmla="*/ 70384 w 347933"/>
                <a:gd name="connsiteY83" fmla="*/ 126737 h 489462"/>
                <a:gd name="connsiteX84" fmla="*/ 70113 w 347933"/>
                <a:gd name="connsiteY84" fmla="*/ 125409 h 489462"/>
                <a:gd name="connsiteX85" fmla="*/ 76664 w 347933"/>
                <a:gd name="connsiteY85" fmla="*/ 67701 h 489462"/>
                <a:gd name="connsiteX86" fmla="*/ 131367 w 347933"/>
                <a:gd name="connsiteY86" fmla="*/ 10162 h 489462"/>
                <a:gd name="connsiteX87" fmla="*/ 176591 w 347933"/>
                <a:gd name="connsiteY87" fmla="*/ 0 h 489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347933" h="489462">
                  <a:moveTo>
                    <a:pt x="161078" y="366490"/>
                  </a:moveTo>
                  <a:cubicBezTo>
                    <a:pt x="157721" y="366494"/>
                    <a:pt x="154849" y="368899"/>
                    <a:pt x="154256" y="372203"/>
                  </a:cubicBezTo>
                  <a:lnTo>
                    <a:pt x="141154" y="445708"/>
                  </a:lnTo>
                  <a:cubicBezTo>
                    <a:pt x="140738" y="448113"/>
                    <a:pt x="141615" y="450560"/>
                    <a:pt x="143462" y="452155"/>
                  </a:cubicBezTo>
                  <a:lnTo>
                    <a:pt x="166997" y="472350"/>
                  </a:lnTo>
                  <a:cubicBezTo>
                    <a:pt x="169593" y="474581"/>
                    <a:pt x="173428" y="474581"/>
                    <a:pt x="176024" y="472350"/>
                  </a:cubicBezTo>
                  <a:lnTo>
                    <a:pt x="199455" y="452155"/>
                  </a:lnTo>
                  <a:lnTo>
                    <a:pt x="199468" y="452155"/>
                  </a:lnTo>
                  <a:cubicBezTo>
                    <a:pt x="201297" y="450550"/>
                    <a:pt x="202152" y="448104"/>
                    <a:pt x="201724" y="445708"/>
                  </a:cubicBezTo>
                  <a:lnTo>
                    <a:pt x="188610" y="372203"/>
                  </a:lnTo>
                  <a:cubicBezTo>
                    <a:pt x="188022" y="368897"/>
                    <a:pt x="185146" y="366489"/>
                    <a:pt x="181788" y="366490"/>
                  </a:cubicBezTo>
                  <a:close/>
                  <a:moveTo>
                    <a:pt x="155765" y="307107"/>
                  </a:moveTo>
                  <a:cubicBezTo>
                    <a:pt x="155143" y="307108"/>
                    <a:pt x="154524" y="307193"/>
                    <a:pt x="153926" y="307359"/>
                  </a:cubicBezTo>
                  <a:cubicBezTo>
                    <a:pt x="150234" y="308386"/>
                    <a:pt x="148073" y="312209"/>
                    <a:pt x="149098" y="315901"/>
                  </a:cubicBezTo>
                  <a:lnTo>
                    <a:pt x="154565" y="335025"/>
                  </a:lnTo>
                  <a:cubicBezTo>
                    <a:pt x="155419" y="337994"/>
                    <a:pt x="158130" y="340043"/>
                    <a:pt x="161220" y="340055"/>
                  </a:cubicBezTo>
                  <a:lnTo>
                    <a:pt x="181749" y="340055"/>
                  </a:lnTo>
                  <a:cubicBezTo>
                    <a:pt x="184840" y="340047"/>
                    <a:pt x="187553" y="337996"/>
                    <a:pt x="188403" y="335025"/>
                  </a:cubicBezTo>
                  <a:lnTo>
                    <a:pt x="193858" y="315953"/>
                  </a:lnTo>
                  <a:cubicBezTo>
                    <a:pt x="194035" y="315333"/>
                    <a:pt x="194125" y="314692"/>
                    <a:pt x="194126" y="314047"/>
                  </a:cubicBezTo>
                  <a:cubicBezTo>
                    <a:pt x="194128" y="310216"/>
                    <a:pt x="191022" y="307108"/>
                    <a:pt x="187191" y="307107"/>
                  </a:cubicBezTo>
                  <a:close/>
                  <a:moveTo>
                    <a:pt x="132424" y="256569"/>
                  </a:moveTo>
                  <a:cubicBezTo>
                    <a:pt x="143922" y="264419"/>
                    <a:pt x="157499" y="268661"/>
                    <a:pt x="171420" y="268755"/>
                  </a:cubicBezTo>
                  <a:cubicBezTo>
                    <a:pt x="185159" y="268884"/>
                    <a:pt x="198680" y="265321"/>
                    <a:pt x="210571" y="258439"/>
                  </a:cubicBezTo>
                  <a:lnTo>
                    <a:pt x="210571" y="270935"/>
                  </a:lnTo>
                  <a:cubicBezTo>
                    <a:pt x="210564" y="273449"/>
                    <a:pt x="211922" y="275769"/>
                    <a:pt x="214117" y="276995"/>
                  </a:cubicBezTo>
                  <a:lnTo>
                    <a:pt x="315411" y="333658"/>
                  </a:lnTo>
                  <a:cubicBezTo>
                    <a:pt x="316863" y="334467"/>
                    <a:pt x="317976" y="335772"/>
                    <a:pt x="318545" y="337334"/>
                  </a:cubicBezTo>
                  <a:lnTo>
                    <a:pt x="347933" y="418021"/>
                  </a:lnTo>
                  <a:lnTo>
                    <a:pt x="347211" y="418756"/>
                  </a:lnTo>
                  <a:cubicBezTo>
                    <a:pt x="338614" y="427342"/>
                    <a:pt x="329356" y="435242"/>
                    <a:pt x="319525" y="442381"/>
                  </a:cubicBezTo>
                  <a:cubicBezTo>
                    <a:pt x="277690" y="472735"/>
                    <a:pt x="227388" y="489202"/>
                    <a:pt x="175701" y="489462"/>
                  </a:cubicBezTo>
                  <a:cubicBezTo>
                    <a:pt x="109466" y="489505"/>
                    <a:pt x="46054" y="462646"/>
                    <a:pt x="0" y="415042"/>
                  </a:cubicBezTo>
                  <a:lnTo>
                    <a:pt x="24501" y="337463"/>
                  </a:lnTo>
                  <a:cubicBezTo>
                    <a:pt x="25033" y="335781"/>
                    <a:pt x="26186" y="334365"/>
                    <a:pt x="27725" y="333504"/>
                  </a:cubicBezTo>
                  <a:lnTo>
                    <a:pt x="128878" y="276970"/>
                  </a:lnTo>
                  <a:cubicBezTo>
                    <a:pt x="131072" y="275743"/>
                    <a:pt x="132430" y="273423"/>
                    <a:pt x="132424" y="270909"/>
                  </a:cubicBezTo>
                  <a:close/>
                  <a:moveTo>
                    <a:pt x="214388" y="101139"/>
                  </a:moveTo>
                  <a:lnTo>
                    <a:pt x="214826" y="101139"/>
                  </a:lnTo>
                  <a:cubicBezTo>
                    <a:pt x="216357" y="101251"/>
                    <a:pt x="217780" y="101966"/>
                    <a:pt x="218785" y="103125"/>
                  </a:cubicBezTo>
                  <a:cubicBezTo>
                    <a:pt x="222563" y="107496"/>
                    <a:pt x="226342" y="111597"/>
                    <a:pt x="230017" y="115324"/>
                  </a:cubicBezTo>
                  <a:cubicBezTo>
                    <a:pt x="243377" y="128916"/>
                    <a:pt x="253693" y="135828"/>
                    <a:pt x="261430" y="136421"/>
                  </a:cubicBezTo>
                  <a:cubicBezTo>
                    <a:pt x="261740" y="136421"/>
                    <a:pt x="262062" y="136421"/>
                    <a:pt x="262372" y="136421"/>
                  </a:cubicBezTo>
                  <a:lnTo>
                    <a:pt x="262823" y="136421"/>
                  </a:lnTo>
                  <a:lnTo>
                    <a:pt x="266460" y="136292"/>
                  </a:lnTo>
                  <a:cubicBezTo>
                    <a:pt x="268857" y="136208"/>
                    <a:pt x="271179" y="135438"/>
                    <a:pt x="273152" y="134074"/>
                  </a:cubicBezTo>
                  <a:cubicBezTo>
                    <a:pt x="276139" y="140441"/>
                    <a:pt x="277394" y="147482"/>
                    <a:pt x="276789" y="154488"/>
                  </a:cubicBezTo>
                  <a:cubicBezTo>
                    <a:pt x="275719" y="169666"/>
                    <a:pt x="262784" y="182033"/>
                    <a:pt x="255176" y="182071"/>
                  </a:cubicBezTo>
                  <a:cubicBezTo>
                    <a:pt x="254940" y="182084"/>
                    <a:pt x="254703" y="182084"/>
                    <a:pt x="254467" y="182071"/>
                  </a:cubicBezTo>
                  <a:cubicBezTo>
                    <a:pt x="253388" y="181964"/>
                    <a:pt x="252325" y="181740"/>
                    <a:pt x="251295" y="181401"/>
                  </a:cubicBezTo>
                  <a:cubicBezTo>
                    <a:pt x="243054" y="224781"/>
                    <a:pt x="216760" y="262462"/>
                    <a:pt x="171420" y="262462"/>
                  </a:cubicBezTo>
                  <a:cubicBezTo>
                    <a:pt x="132978" y="262462"/>
                    <a:pt x="101333" y="225284"/>
                    <a:pt x="91816" y="181530"/>
                  </a:cubicBezTo>
                  <a:cubicBezTo>
                    <a:pt x="90927" y="181795"/>
                    <a:pt x="90017" y="181977"/>
                    <a:pt x="89095" y="182071"/>
                  </a:cubicBezTo>
                  <a:cubicBezTo>
                    <a:pt x="88859" y="182084"/>
                    <a:pt x="88622" y="182084"/>
                    <a:pt x="88386" y="182071"/>
                  </a:cubicBezTo>
                  <a:cubicBezTo>
                    <a:pt x="80777" y="182071"/>
                    <a:pt x="67843" y="169704"/>
                    <a:pt x="66786" y="154488"/>
                  </a:cubicBezTo>
                  <a:cubicBezTo>
                    <a:pt x="66196" y="147598"/>
                    <a:pt x="67401" y="140671"/>
                    <a:pt x="70280" y="134384"/>
                  </a:cubicBezTo>
                  <a:cubicBezTo>
                    <a:pt x="71277" y="135001"/>
                    <a:pt x="72336" y="135511"/>
                    <a:pt x="73440" y="135905"/>
                  </a:cubicBezTo>
                  <a:cubicBezTo>
                    <a:pt x="75218" y="136545"/>
                    <a:pt x="77094" y="136872"/>
                    <a:pt x="78985" y="136872"/>
                  </a:cubicBezTo>
                  <a:lnTo>
                    <a:pt x="79423" y="136872"/>
                  </a:lnTo>
                  <a:cubicBezTo>
                    <a:pt x="114245" y="136099"/>
                    <a:pt x="148661" y="129202"/>
                    <a:pt x="181091" y="116498"/>
                  </a:cubicBezTo>
                  <a:cubicBezTo>
                    <a:pt x="191554" y="112376"/>
                    <a:pt x="201706" y="107511"/>
                    <a:pt x="211473" y="101939"/>
                  </a:cubicBezTo>
                  <a:cubicBezTo>
                    <a:pt x="212358" y="101420"/>
                    <a:pt x="213362" y="101144"/>
                    <a:pt x="214388" y="101139"/>
                  </a:cubicBezTo>
                  <a:close/>
                  <a:moveTo>
                    <a:pt x="176591" y="0"/>
                  </a:moveTo>
                  <a:cubicBezTo>
                    <a:pt x="212776" y="0"/>
                    <a:pt x="230056" y="22412"/>
                    <a:pt x="234376" y="29028"/>
                  </a:cubicBezTo>
                  <a:lnTo>
                    <a:pt x="234634" y="29028"/>
                  </a:lnTo>
                  <a:cubicBezTo>
                    <a:pt x="242874" y="29028"/>
                    <a:pt x="250186" y="33180"/>
                    <a:pt x="256350" y="41356"/>
                  </a:cubicBezTo>
                  <a:cubicBezTo>
                    <a:pt x="272817" y="63240"/>
                    <a:pt x="276609" y="107239"/>
                    <a:pt x="272817" y="126299"/>
                  </a:cubicBezTo>
                  <a:lnTo>
                    <a:pt x="269426" y="128659"/>
                  </a:lnTo>
                  <a:cubicBezTo>
                    <a:pt x="268479" y="129311"/>
                    <a:pt x="267364" y="129679"/>
                    <a:pt x="266215" y="129716"/>
                  </a:cubicBezTo>
                  <a:lnTo>
                    <a:pt x="262565" y="129845"/>
                  </a:lnTo>
                  <a:lnTo>
                    <a:pt x="262346" y="129845"/>
                  </a:lnTo>
                  <a:lnTo>
                    <a:pt x="261934" y="129845"/>
                  </a:lnTo>
                  <a:cubicBezTo>
                    <a:pt x="257794" y="129523"/>
                    <a:pt x="249657" y="125925"/>
                    <a:pt x="234582" y="110644"/>
                  </a:cubicBezTo>
                  <a:cubicBezTo>
                    <a:pt x="231023" y="107033"/>
                    <a:pt x="227335" y="103035"/>
                    <a:pt x="223634" y="98754"/>
                  </a:cubicBezTo>
                  <a:cubicBezTo>
                    <a:pt x="221518" y="96305"/>
                    <a:pt x="218518" y="94794"/>
                    <a:pt x="215291" y="94550"/>
                  </a:cubicBezTo>
                  <a:lnTo>
                    <a:pt x="214362" y="94550"/>
                  </a:lnTo>
                  <a:cubicBezTo>
                    <a:pt x="212205" y="94554"/>
                    <a:pt x="210087" y="95128"/>
                    <a:pt x="208224" y="96213"/>
                  </a:cubicBezTo>
                  <a:cubicBezTo>
                    <a:pt x="198729" y="101644"/>
                    <a:pt x="188856" y="106384"/>
                    <a:pt x="178680" y="110399"/>
                  </a:cubicBezTo>
                  <a:cubicBezTo>
                    <a:pt x="146957" y="122809"/>
                    <a:pt x="113299" y="129550"/>
                    <a:pt x="79243" y="130309"/>
                  </a:cubicBezTo>
                  <a:lnTo>
                    <a:pt x="79011" y="130309"/>
                  </a:lnTo>
                  <a:cubicBezTo>
                    <a:pt x="77924" y="130304"/>
                    <a:pt x="76844" y="130126"/>
                    <a:pt x="75813" y="129781"/>
                  </a:cubicBezTo>
                  <a:lnTo>
                    <a:pt x="75581" y="129703"/>
                  </a:lnTo>
                  <a:cubicBezTo>
                    <a:pt x="74919" y="129463"/>
                    <a:pt x="74285" y="129156"/>
                    <a:pt x="73685" y="128788"/>
                  </a:cubicBezTo>
                  <a:lnTo>
                    <a:pt x="70384" y="126737"/>
                  </a:lnTo>
                  <a:cubicBezTo>
                    <a:pt x="70281" y="126337"/>
                    <a:pt x="70203" y="125925"/>
                    <a:pt x="70113" y="125409"/>
                  </a:cubicBezTo>
                  <a:cubicBezTo>
                    <a:pt x="67962" y="105925"/>
                    <a:pt x="70201" y="86208"/>
                    <a:pt x="76664" y="67701"/>
                  </a:cubicBezTo>
                  <a:cubicBezTo>
                    <a:pt x="86452" y="40634"/>
                    <a:pt x="104866" y="21265"/>
                    <a:pt x="131367" y="10162"/>
                  </a:cubicBezTo>
                  <a:cubicBezTo>
                    <a:pt x="147447" y="3417"/>
                    <a:pt x="162664" y="0"/>
                    <a:pt x="176591" y="0"/>
                  </a:cubicBezTo>
                  <a:close/>
                </a:path>
              </a:pathLst>
            </a:custGeom>
            <a:solidFill>
              <a:srgbClr val="025EA1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</p:grp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39BAC3B7-1C18-4776-8E40-DC030833887B}"/>
              </a:ext>
            </a:extLst>
          </p:cNvPr>
          <p:cNvGrpSpPr/>
          <p:nvPr/>
        </p:nvGrpSpPr>
        <p:grpSpPr>
          <a:xfrm>
            <a:off x="260551" y="1002438"/>
            <a:ext cx="539999" cy="540000"/>
            <a:chOff x="8540406" y="4583641"/>
            <a:chExt cx="719999" cy="720000"/>
          </a:xfrm>
        </p:grpSpPr>
        <p:pic>
          <p:nvPicPr>
            <p:cNvPr id="55" name="Рисунок 54">
              <a:extLst>
                <a:ext uri="{FF2B5EF4-FFF2-40B4-BE49-F238E27FC236}">
                  <a16:creationId xmlns:a16="http://schemas.microsoft.com/office/drawing/2014/main" id="{18C5BF12-087A-4F3F-A20B-23D84193BE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8540406" y="4583641"/>
              <a:ext cx="719999" cy="720000"/>
            </a:xfrm>
            <a:prstGeom prst="rect">
              <a:avLst/>
            </a:prstGeom>
          </p:spPr>
        </p:pic>
        <p:sp>
          <p:nvSpPr>
            <p:cNvPr id="56" name="Полилиния 217">
              <a:extLst>
                <a:ext uri="{FF2B5EF4-FFF2-40B4-BE49-F238E27FC236}">
                  <a16:creationId xmlns:a16="http://schemas.microsoft.com/office/drawing/2014/main" id="{EC87BA37-CCE0-4691-893D-1BCB1AE486E3}"/>
                </a:ext>
              </a:extLst>
            </p:cNvPr>
            <p:cNvSpPr/>
            <p:nvPr/>
          </p:nvSpPr>
          <p:spPr>
            <a:xfrm>
              <a:off x="8674903" y="4736848"/>
              <a:ext cx="455398" cy="450157"/>
            </a:xfrm>
            <a:custGeom>
              <a:avLst/>
              <a:gdLst>
                <a:gd name="connsiteX0" fmla="*/ 245442 w 455398"/>
                <a:gd name="connsiteY0" fmla="*/ 419117 h 450157"/>
                <a:gd name="connsiteX1" fmla="*/ 277117 w 455398"/>
                <a:gd name="connsiteY1" fmla="*/ 445579 h 450157"/>
                <a:gd name="connsiteX2" fmla="*/ 247231 w 455398"/>
                <a:gd name="connsiteY2" fmla="*/ 450157 h 450157"/>
                <a:gd name="connsiteX3" fmla="*/ 407701 w 455398"/>
                <a:gd name="connsiteY3" fmla="*/ 286268 h 450157"/>
                <a:gd name="connsiteX4" fmla="*/ 416670 w 455398"/>
                <a:gd name="connsiteY4" fmla="*/ 295385 h 450157"/>
                <a:gd name="connsiteX5" fmla="*/ 328050 w 455398"/>
                <a:gd name="connsiteY5" fmla="*/ 385473 h 450157"/>
                <a:gd name="connsiteX6" fmla="*/ 269126 w 455398"/>
                <a:gd name="connsiteY6" fmla="*/ 325574 h 450157"/>
                <a:gd name="connsiteX7" fmla="*/ 278095 w 455398"/>
                <a:gd name="connsiteY7" fmla="*/ 316456 h 450157"/>
                <a:gd name="connsiteX8" fmla="*/ 328050 w 455398"/>
                <a:gd name="connsiteY8" fmla="*/ 367239 h 450157"/>
                <a:gd name="connsiteX9" fmla="*/ 117675 w 455398"/>
                <a:gd name="connsiteY9" fmla="*/ 223337 h 450157"/>
                <a:gd name="connsiteX10" fmla="*/ 155477 w 455398"/>
                <a:gd name="connsiteY10" fmla="*/ 223337 h 450157"/>
                <a:gd name="connsiteX11" fmla="*/ 158674 w 455398"/>
                <a:gd name="connsiteY11" fmla="*/ 240720 h 450157"/>
                <a:gd name="connsiteX12" fmla="*/ 161110 w 455398"/>
                <a:gd name="connsiteY12" fmla="*/ 242797 h 450157"/>
                <a:gd name="connsiteX13" fmla="*/ 176890 w 455398"/>
                <a:gd name="connsiteY13" fmla="*/ 242797 h 450157"/>
                <a:gd name="connsiteX14" fmla="*/ 179339 w 455398"/>
                <a:gd name="connsiteY14" fmla="*/ 240720 h 450157"/>
                <a:gd name="connsiteX15" fmla="*/ 182523 w 455398"/>
                <a:gd name="connsiteY15" fmla="*/ 223337 h 450157"/>
                <a:gd name="connsiteX16" fmla="*/ 220059 w 455398"/>
                <a:gd name="connsiteY16" fmla="*/ 223337 h 450157"/>
                <a:gd name="connsiteX17" fmla="*/ 220485 w 455398"/>
                <a:gd name="connsiteY17" fmla="*/ 223344 h 450157"/>
                <a:gd name="connsiteX18" fmla="*/ 230042 w 455398"/>
                <a:gd name="connsiteY18" fmla="*/ 233809 h 450157"/>
                <a:gd name="connsiteX19" fmla="*/ 229027 w 455398"/>
                <a:gd name="connsiteY19" fmla="*/ 262101 h 450157"/>
                <a:gd name="connsiteX20" fmla="*/ 213475 w 455398"/>
                <a:gd name="connsiteY20" fmla="*/ 351648 h 450157"/>
                <a:gd name="connsiteX21" fmla="*/ 209010 w 455398"/>
                <a:gd name="connsiteY21" fmla="*/ 352254 h 450157"/>
                <a:gd name="connsiteX22" fmla="*/ 208325 w 455398"/>
                <a:gd name="connsiteY22" fmla="*/ 352254 h 450157"/>
                <a:gd name="connsiteX23" fmla="*/ 205788 w 455398"/>
                <a:gd name="connsiteY23" fmla="*/ 354614 h 450157"/>
                <a:gd name="connsiteX24" fmla="*/ 199724 w 455398"/>
                <a:gd name="connsiteY24" fmla="*/ 449615 h 450157"/>
                <a:gd name="connsiteX25" fmla="*/ 137705 w 455398"/>
                <a:gd name="connsiteY25" fmla="*/ 434011 h 450157"/>
                <a:gd name="connsiteX26" fmla="*/ 132174 w 455398"/>
                <a:gd name="connsiteY26" fmla="*/ 354601 h 450157"/>
                <a:gd name="connsiteX27" fmla="*/ 129637 w 455398"/>
                <a:gd name="connsiteY27" fmla="*/ 352254 h 450157"/>
                <a:gd name="connsiteX28" fmla="*/ 128711 w 455398"/>
                <a:gd name="connsiteY28" fmla="*/ 352254 h 450157"/>
                <a:gd name="connsiteX29" fmla="*/ 111332 w 455398"/>
                <a:gd name="connsiteY29" fmla="*/ 335219 h 450157"/>
                <a:gd name="connsiteX30" fmla="*/ 107742 w 455398"/>
                <a:gd name="connsiteY30" fmla="*/ 233809 h 450157"/>
                <a:gd name="connsiteX31" fmla="*/ 107736 w 455398"/>
                <a:gd name="connsiteY31" fmla="*/ 233454 h 450157"/>
                <a:gd name="connsiteX32" fmla="*/ 117675 w 455398"/>
                <a:gd name="connsiteY32" fmla="*/ 223337 h 450157"/>
                <a:gd name="connsiteX33" fmla="*/ 344744 w 455398"/>
                <a:gd name="connsiteY33" fmla="*/ 206483 h 450157"/>
                <a:gd name="connsiteX34" fmla="*/ 455398 w 455398"/>
                <a:gd name="connsiteY34" fmla="*/ 280400 h 450157"/>
                <a:gd name="connsiteX35" fmla="*/ 448574 w 455398"/>
                <a:gd name="connsiteY35" fmla="*/ 299511 h 450157"/>
                <a:gd name="connsiteX36" fmla="*/ 375100 w 455398"/>
                <a:gd name="connsiteY36" fmla="*/ 223790 h 450157"/>
                <a:gd name="connsiteX37" fmla="*/ 241256 w 455398"/>
                <a:gd name="connsiteY37" fmla="*/ 298068 h 450157"/>
                <a:gd name="connsiteX38" fmla="*/ 314324 w 455398"/>
                <a:gd name="connsiteY38" fmla="*/ 434128 h 450157"/>
                <a:gd name="connsiteX39" fmla="*/ 295398 w 455398"/>
                <a:gd name="connsiteY39" fmla="*/ 440782 h 450157"/>
                <a:gd name="connsiteX40" fmla="*/ 224178 w 455398"/>
                <a:gd name="connsiteY40" fmla="*/ 328935 h 450157"/>
                <a:gd name="connsiteX41" fmla="*/ 344744 w 455398"/>
                <a:gd name="connsiteY41" fmla="*/ 206483 h 450157"/>
                <a:gd name="connsiteX42" fmla="*/ 224397 w 455398"/>
                <a:gd name="connsiteY42" fmla="*/ 174734 h 450157"/>
                <a:gd name="connsiteX43" fmla="*/ 262288 w 455398"/>
                <a:gd name="connsiteY43" fmla="*/ 174734 h 450157"/>
                <a:gd name="connsiteX44" fmla="*/ 265447 w 455398"/>
                <a:gd name="connsiteY44" fmla="*/ 192169 h 450157"/>
                <a:gd name="connsiteX45" fmla="*/ 267895 w 455398"/>
                <a:gd name="connsiteY45" fmla="*/ 194232 h 450157"/>
                <a:gd name="connsiteX46" fmla="*/ 283663 w 455398"/>
                <a:gd name="connsiteY46" fmla="*/ 194232 h 450157"/>
                <a:gd name="connsiteX47" fmla="*/ 286111 w 455398"/>
                <a:gd name="connsiteY47" fmla="*/ 192169 h 450157"/>
                <a:gd name="connsiteX48" fmla="*/ 289295 w 455398"/>
                <a:gd name="connsiteY48" fmla="*/ 174773 h 450157"/>
                <a:gd name="connsiteX49" fmla="*/ 326831 w 455398"/>
                <a:gd name="connsiteY49" fmla="*/ 174773 h 450157"/>
                <a:gd name="connsiteX50" fmla="*/ 327180 w 455398"/>
                <a:gd name="connsiteY50" fmla="*/ 174779 h 450157"/>
                <a:gd name="connsiteX51" fmla="*/ 336764 w 455398"/>
                <a:gd name="connsiteY51" fmla="*/ 185244 h 450157"/>
                <a:gd name="connsiteX52" fmla="*/ 336460 w 455398"/>
                <a:gd name="connsiteY52" fmla="*/ 193897 h 450157"/>
                <a:gd name="connsiteX53" fmla="*/ 238440 w 455398"/>
                <a:gd name="connsiteY53" fmla="*/ 247503 h 450157"/>
                <a:gd name="connsiteX54" fmla="*/ 238922 w 455398"/>
                <a:gd name="connsiteY54" fmla="*/ 234131 h 450157"/>
                <a:gd name="connsiteX55" fmla="*/ 238934 w 455398"/>
                <a:gd name="connsiteY55" fmla="*/ 233434 h 450157"/>
                <a:gd name="connsiteX56" fmla="*/ 220059 w 455398"/>
                <a:gd name="connsiteY56" fmla="*/ 214246 h 450157"/>
                <a:gd name="connsiteX57" fmla="*/ 215505 w 455398"/>
                <a:gd name="connsiteY57" fmla="*/ 214246 h 450157"/>
                <a:gd name="connsiteX58" fmla="*/ 214464 w 455398"/>
                <a:gd name="connsiteY58" fmla="*/ 185205 h 450157"/>
                <a:gd name="connsiteX59" fmla="*/ 214458 w 455398"/>
                <a:gd name="connsiteY59" fmla="*/ 184851 h 450157"/>
                <a:gd name="connsiteX60" fmla="*/ 224397 w 455398"/>
                <a:gd name="connsiteY60" fmla="*/ 174734 h 450157"/>
                <a:gd name="connsiteX61" fmla="*/ 9939 w 455398"/>
                <a:gd name="connsiteY61" fmla="*/ 174734 h 450157"/>
                <a:gd name="connsiteX62" fmla="*/ 47804 w 455398"/>
                <a:gd name="connsiteY62" fmla="*/ 174734 h 450157"/>
                <a:gd name="connsiteX63" fmla="*/ 51001 w 455398"/>
                <a:gd name="connsiteY63" fmla="*/ 192130 h 450157"/>
                <a:gd name="connsiteX64" fmla="*/ 53437 w 455398"/>
                <a:gd name="connsiteY64" fmla="*/ 194194 h 450157"/>
                <a:gd name="connsiteX65" fmla="*/ 69217 w 455398"/>
                <a:gd name="connsiteY65" fmla="*/ 194194 h 450157"/>
                <a:gd name="connsiteX66" fmla="*/ 71666 w 455398"/>
                <a:gd name="connsiteY66" fmla="*/ 192130 h 450157"/>
                <a:gd name="connsiteX67" fmla="*/ 74850 w 455398"/>
                <a:gd name="connsiteY67" fmla="*/ 174734 h 450157"/>
                <a:gd name="connsiteX68" fmla="*/ 112386 w 455398"/>
                <a:gd name="connsiteY68" fmla="*/ 174734 h 450157"/>
                <a:gd name="connsiteX69" fmla="*/ 112798 w 455398"/>
                <a:gd name="connsiteY69" fmla="*/ 174741 h 450157"/>
                <a:gd name="connsiteX70" fmla="*/ 122382 w 455398"/>
                <a:gd name="connsiteY70" fmla="*/ 185205 h 450157"/>
                <a:gd name="connsiteX71" fmla="*/ 121329 w 455398"/>
                <a:gd name="connsiteY71" fmla="*/ 214246 h 450157"/>
                <a:gd name="connsiteX72" fmla="*/ 117675 w 455398"/>
                <a:gd name="connsiteY72" fmla="*/ 214246 h 450157"/>
                <a:gd name="connsiteX73" fmla="*/ 116834 w 455398"/>
                <a:gd name="connsiteY73" fmla="*/ 214262 h 450157"/>
                <a:gd name="connsiteX74" fmla="*/ 98774 w 455398"/>
                <a:gd name="connsiteY74" fmla="*/ 234196 h 450157"/>
                <a:gd name="connsiteX75" fmla="*/ 101311 w 455398"/>
                <a:gd name="connsiteY75" fmla="*/ 303728 h 450157"/>
                <a:gd name="connsiteX76" fmla="*/ 100601 w 455398"/>
                <a:gd name="connsiteY76" fmla="*/ 303728 h 450157"/>
                <a:gd name="connsiteX77" fmla="*/ 98064 w 455398"/>
                <a:gd name="connsiteY77" fmla="*/ 306088 h 450157"/>
                <a:gd name="connsiteX78" fmla="*/ 91480 w 455398"/>
                <a:gd name="connsiteY78" fmla="*/ 409252 h 450157"/>
                <a:gd name="connsiteX79" fmla="*/ 27127 w 455398"/>
                <a:gd name="connsiteY79" fmla="*/ 343769 h 450157"/>
                <a:gd name="connsiteX80" fmla="*/ 24501 w 455398"/>
                <a:gd name="connsiteY80" fmla="*/ 306011 h 450157"/>
                <a:gd name="connsiteX81" fmla="*/ 21964 w 455398"/>
                <a:gd name="connsiteY81" fmla="*/ 303664 h 450157"/>
                <a:gd name="connsiteX82" fmla="*/ 21038 w 455398"/>
                <a:gd name="connsiteY82" fmla="*/ 303664 h 450157"/>
                <a:gd name="connsiteX83" fmla="*/ 3659 w 455398"/>
                <a:gd name="connsiteY83" fmla="*/ 286629 h 450157"/>
                <a:gd name="connsiteX84" fmla="*/ 6 w 455398"/>
                <a:gd name="connsiteY84" fmla="*/ 185205 h 450157"/>
                <a:gd name="connsiteX85" fmla="*/ 0 w 455398"/>
                <a:gd name="connsiteY85" fmla="*/ 184877 h 450157"/>
                <a:gd name="connsiteX86" fmla="*/ 9939 w 455398"/>
                <a:gd name="connsiteY86" fmla="*/ 174734 h 450157"/>
                <a:gd name="connsiteX87" fmla="*/ 168760 w 455398"/>
                <a:gd name="connsiteY87" fmla="*/ 145242 h 450157"/>
                <a:gd name="connsiteX88" fmla="*/ 194131 w 455398"/>
                <a:gd name="connsiteY88" fmla="*/ 171033 h 450157"/>
                <a:gd name="connsiteX89" fmla="*/ 168760 w 455398"/>
                <a:gd name="connsiteY89" fmla="*/ 196824 h 450157"/>
                <a:gd name="connsiteX90" fmla="*/ 143389 w 455398"/>
                <a:gd name="connsiteY90" fmla="*/ 171033 h 450157"/>
                <a:gd name="connsiteX91" fmla="*/ 168760 w 455398"/>
                <a:gd name="connsiteY91" fmla="*/ 145242 h 450157"/>
                <a:gd name="connsiteX92" fmla="*/ 59817 w 455398"/>
                <a:gd name="connsiteY92" fmla="*/ 106633 h 450157"/>
                <a:gd name="connsiteX93" fmla="*/ 85188 w 455398"/>
                <a:gd name="connsiteY93" fmla="*/ 132424 h 450157"/>
                <a:gd name="connsiteX94" fmla="*/ 59817 w 455398"/>
                <a:gd name="connsiteY94" fmla="*/ 158215 h 450157"/>
                <a:gd name="connsiteX95" fmla="*/ 34446 w 455398"/>
                <a:gd name="connsiteY95" fmla="*/ 132424 h 450157"/>
                <a:gd name="connsiteX96" fmla="*/ 59817 w 455398"/>
                <a:gd name="connsiteY96" fmla="*/ 106633 h 450157"/>
                <a:gd name="connsiteX97" fmla="*/ 275786 w 455398"/>
                <a:gd name="connsiteY97" fmla="*/ 104815 h 450157"/>
                <a:gd name="connsiteX98" fmla="*/ 301157 w 455398"/>
                <a:gd name="connsiteY98" fmla="*/ 130606 h 450157"/>
                <a:gd name="connsiteX99" fmla="*/ 275786 w 455398"/>
                <a:gd name="connsiteY99" fmla="*/ 156397 h 450157"/>
                <a:gd name="connsiteX100" fmla="*/ 250415 w 455398"/>
                <a:gd name="connsiteY100" fmla="*/ 130606 h 450157"/>
                <a:gd name="connsiteX101" fmla="*/ 275786 w 455398"/>
                <a:gd name="connsiteY101" fmla="*/ 104815 h 450157"/>
                <a:gd name="connsiteX102" fmla="*/ 181685 w 455398"/>
                <a:gd name="connsiteY102" fmla="*/ 78082 h 450157"/>
                <a:gd name="connsiteX103" fmla="*/ 219551 w 455398"/>
                <a:gd name="connsiteY103" fmla="*/ 78082 h 450157"/>
                <a:gd name="connsiteX104" fmla="*/ 222735 w 455398"/>
                <a:gd name="connsiteY104" fmla="*/ 95478 h 450157"/>
                <a:gd name="connsiteX105" fmla="*/ 225183 w 455398"/>
                <a:gd name="connsiteY105" fmla="*/ 97541 h 450157"/>
                <a:gd name="connsiteX106" fmla="*/ 240951 w 455398"/>
                <a:gd name="connsiteY106" fmla="*/ 97541 h 450157"/>
                <a:gd name="connsiteX107" fmla="*/ 243400 w 455398"/>
                <a:gd name="connsiteY107" fmla="*/ 95478 h 450157"/>
                <a:gd name="connsiteX108" fmla="*/ 246584 w 455398"/>
                <a:gd name="connsiteY108" fmla="*/ 78082 h 450157"/>
                <a:gd name="connsiteX109" fmla="*/ 284158 w 455398"/>
                <a:gd name="connsiteY109" fmla="*/ 78082 h 450157"/>
                <a:gd name="connsiteX110" fmla="*/ 284507 w 455398"/>
                <a:gd name="connsiteY110" fmla="*/ 78088 h 450157"/>
                <a:gd name="connsiteX111" fmla="*/ 294090 w 455398"/>
                <a:gd name="connsiteY111" fmla="*/ 88553 h 450157"/>
                <a:gd name="connsiteX112" fmla="*/ 293545 w 455398"/>
                <a:gd name="connsiteY112" fmla="*/ 103886 h 450157"/>
                <a:gd name="connsiteX113" fmla="*/ 275785 w 455398"/>
                <a:gd name="connsiteY113" fmla="*/ 98367 h 450157"/>
                <a:gd name="connsiteX114" fmla="*/ 275785 w 455398"/>
                <a:gd name="connsiteY114" fmla="*/ 98405 h 450157"/>
                <a:gd name="connsiteX115" fmla="*/ 259957 w 455398"/>
                <a:gd name="connsiteY115" fmla="*/ 102687 h 450157"/>
                <a:gd name="connsiteX116" fmla="*/ 248247 w 455398"/>
                <a:gd name="connsiteY116" fmla="*/ 146698 h 450157"/>
                <a:gd name="connsiteX117" fmla="*/ 291541 w 455398"/>
                <a:gd name="connsiteY117" fmla="*/ 158602 h 450157"/>
                <a:gd name="connsiteX118" fmla="*/ 291185 w 455398"/>
                <a:gd name="connsiteY118" fmla="*/ 168325 h 450157"/>
                <a:gd name="connsiteX119" fmla="*/ 284031 w 455398"/>
                <a:gd name="connsiteY119" fmla="*/ 168325 h 450157"/>
                <a:gd name="connsiteX120" fmla="*/ 283067 w 455398"/>
                <a:gd name="connsiteY120" fmla="*/ 173599 h 450157"/>
                <a:gd name="connsiteX121" fmla="*/ 280466 w 455398"/>
                <a:gd name="connsiteY121" fmla="*/ 187784 h 450157"/>
                <a:gd name="connsiteX122" fmla="*/ 271092 w 455398"/>
                <a:gd name="connsiteY122" fmla="*/ 187784 h 450157"/>
                <a:gd name="connsiteX123" fmla="*/ 268491 w 455398"/>
                <a:gd name="connsiteY123" fmla="*/ 173599 h 450157"/>
                <a:gd name="connsiteX124" fmla="*/ 267527 w 455398"/>
                <a:gd name="connsiteY124" fmla="*/ 168325 h 450157"/>
                <a:gd name="connsiteX125" fmla="*/ 224397 w 455398"/>
                <a:gd name="connsiteY125" fmla="*/ 168325 h 450157"/>
                <a:gd name="connsiteX126" fmla="*/ 223841 w 455398"/>
                <a:gd name="connsiteY126" fmla="*/ 168335 h 450157"/>
                <a:gd name="connsiteX127" fmla="*/ 208122 w 455398"/>
                <a:gd name="connsiteY127" fmla="*/ 185476 h 450157"/>
                <a:gd name="connsiteX128" fmla="*/ 209175 w 455398"/>
                <a:gd name="connsiteY128" fmla="*/ 214530 h 450157"/>
                <a:gd name="connsiteX129" fmla="*/ 209251 w 455398"/>
                <a:gd name="connsiteY129" fmla="*/ 216928 h 450157"/>
                <a:gd name="connsiteX130" fmla="*/ 196705 w 455398"/>
                <a:gd name="connsiteY130" fmla="*/ 216928 h 450157"/>
                <a:gd name="connsiteX131" fmla="*/ 177093 w 455398"/>
                <a:gd name="connsiteY131" fmla="*/ 216928 h 450157"/>
                <a:gd name="connsiteX132" fmla="*/ 176180 w 455398"/>
                <a:gd name="connsiteY132" fmla="*/ 221944 h 450157"/>
                <a:gd name="connsiteX133" fmla="*/ 173567 w 455398"/>
                <a:gd name="connsiteY133" fmla="*/ 236129 h 450157"/>
                <a:gd name="connsiteX134" fmla="*/ 164205 w 455398"/>
                <a:gd name="connsiteY134" fmla="*/ 236129 h 450157"/>
                <a:gd name="connsiteX135" fmla="*/ 161604 w 455398"/>
                <a:gd name="connsiteY135" fmla="*/ 221944 h 450157"/>
                <a:gd name="connsiteX136" fmla="*/ 160678 w 455398"/>
                <a:gd name="connsiteY136" fmla="*/ 216928 h 450157"/>
                <a:gd name="connsiteX137" fmla="*/ 141105 w 455398"/>
                <a:gd name="connsiteY137" fmla="*/ 216928 h 450157"/>
                <a:gd name="connsiteX138" fmla="*/ 127519 w 455398"/>
                <a:gd name="connsiteY138" fmla="*/ 216928 h 450157"/>
                <a:gd name="connsiteX139" fmla="*/ 127608 w 455398"/>
                <a:gd name="connsiteY139" fmla="*/ 214530 h 450157"/>
                <a:gd name="connsiteX140" fmla="*/ 128584 w 455398"/>
                <a:gd name="connsiteY140" fmla="*/ 185540 h 450157"/>
                <a:gd name="connsiteX141" fmla="*/ 128596 w 455398"/>
                <a:gd name="connsiteY141" fmla="*/ 184936 h 450157"/>
                <a:gd name="connsiteX142" fmla="*/ 112322 w 455398"/>
                <a:gd name="connsiteY142" fmla="*/ 168389 h 450157"/>
                <a:gd name="connsiteX143" fmla="*/ 69521 w 455398"/>
                <a:gd name="connsiteY143" fmla="*/ 168389 h 450157"/>
                <a:gd name="connsiteX144" fmla="*/ 68557 w 455398"/>
                <a:gd name="connsiteY144" fmla="*/ 173664 h 450157"/>
                <a:gd name="connsiteX145" fmla="*/ 65944 w 455398"/>
                <a:gd name="connsiteY145" fmla="*/ 187849 h 450157"/>
                <a:gd name="connsiteX146" fmla="*/ 56582 w 455398"/>
                <a:gd name="connsiteY146" fmla="*/ 187849 h 450157"/>
                <a:gd name="connsiteX147" fmla="*/ 54045 w 455398"/>
                <a:gd name="connsiteY147" fmla="*/ 173664 h 450157"/>
                <a:gd name="connsiteX148" fmla="*/ 53081 w 455398"/>
                <a:gd name="connsiteY148" fmla="*/ 168389 h 450157"/>
                <a:gd name="connsiteX149" fmla="*/ 46535 w 455398"/>
                <a:gd name="connsiteY149" fmla="*/ 168389 h 450157"/>
                <a:gd name="connsiteX150" fmla="*/ 46282 w 455398"/>
                <a:gd name="connsiteY150" fmla="*/ 161684 h 450157"/>
                <a:gd name="connsiteX151" fmla="*/ 75430 w 455398"/>
                <a:gd name="connsiteY151" fmla="*/ 160602 h 450157"/>
                <a:gd name="connsiteX152" fmla="*/ 87438 w 455398"/>
                <a:gd name="connsiteY152" fmla="*/ 116674 h 450157"/>
                <a:gd name="connsiteX153" fmla="*/ 44227 w 455398"/>
                <a:gd name="connsiteY153" fmla="*/ 104466 h 450157"/>
                <a:gd name="connsiteX154" fmla="*/ 43668 w 455398"/>
                <a:gd name="connsiteY154" fmla="*/ 88656 h 450157"/>
                <a:gd name="connsiteX155" fmla="*/ 43662 w 455398"/>
                <a:gd name="connsiteY155" fmla="*/ 88289 h 450157"/>
                <a:gd name="connsiteX156" fmla="*/ 53588 w 455398"/>
                <a:gd name="connsiteY156" fmla="*/ 78185 h 450157"/>
                <a:gd name="connsiteX157" fmla="*/ 91454 w 455398"/>
                <a:gd name="connsiteY157" fmla="*/ 78185 h 450157"/>
                <a:gd name="connsiteX158" fmla="*/ 94651 w 455398"/>
                <a:gd name="connsiteY158" fmla="*/ 95581 h 450157"/>
                <a:gd name="connsiteX159" fmla="*/ 97086 w 455398"/>
                <a:gd name="connsiteY159" fmla="*/ 97645 h 450157"/>
                <a:gd name="connsiteX160" fmla="*/ 112867 w 455398"/>
                <a:gd name="connsiteY160" fmla="*/ 97645 h 450157"/>
                <a:gd name="connsiteX161" fmla="*/ 115315 w 455398"/>
                <a:gd name="connsiteY161" fmla="*/ 95581 h 450157"/>
                <a:gd name="connsiteX162" fmla="*/ 118499 w 455398"/>
                <a:gd name="connsiteY162" fmla="*/ 78185 h 450157"/>
                <a:gd name="connsiteX163" fmla="*/ 156061 w 455398"/>
                <a:gd name="connsiteY163" fmla="*/ 78185 h 450157"/>
                <a:gd name="connsiteX164" fmla="*/ 156410 w 455398"/>
                <a:gd name="connsiteY164" fmla="*/ 78192 h 450157"/>
                <a:gd name="connsiteX165" fmla="*/ 165993 w 455398"/>
                <a:gd name="connsiteY165" fmla="*/ 88656 h 450157"/>
                <a:gd name="connsiteX166" fmla="*/ 164179 w 455398"/>
                <a:gd name="connsiteY166" fmla="*/ 139245 h 450157"/>
                <a:gd name="connsiteX167" fmla="*/ 140656 w 455398"/>
                <a:gd name="connsiteY167" fmla="*/ 156337 h 450157"/>
                <a:gd name="connsiteX168" fmla="*/ 154272 w 455398"/>
                <a:gd name="connsiteY168" fmla="*/ 199777 h 450157"/>
                <a:gd name="connsiteX169" fmla="*/ 185415 w 455398"/>
                <a:gd name="connsiteY169" fmla="*/ 198487 h 450157"/>
                <a:gd name="connsiteX170" fmla="*/ 200134 w 455398"/>
                <a:gd name="connsiteY170" fmla="*/ 175901 h 450157"/>
                <a:gd name="connsiteX171" fmla="*/ 173567 w 455398"/>
                <a:gd name="connsiteY171" fmla="*/ 139168 h 450157"/>
                <a:gd name="connsiteX172" fmla="*/ 171753 w 455398"/>
                <a:gd name="connsiteY172" fmla="*/ 88553 h 450157"/>
                <a:gd name="connsiteX173" fmla="*/ 171746 w 455398"/>
                <a:gd name="connsiteY173" fmla="*/ 88199 h 450157"/>
                <a:gd name="connsiteX174" fmla="*/ 181685 w 455398"/>
                <a:gd name="connsiteY174" fmla="*/ 78082 h 450157"/>
                <a:gd name="connsiteX175" fmla="*/ 232821 w 455398"/>
                <a:gd name="connsiteY175" fmla="*/ 0 h 450157"/>
                <a:gd name="connsiteX176" fmla="*/ 258192 w 455398"/>
                <a:gd name="connsiteY176" fmla="*/ 25791 h 450157"/>
                <a:gd name="connsiteX177" fmla="*/ 232821 w 455398"/>
                <a:gd name="connsiteY177" fmla="*/ 51582 h 450157"/>
                <a:gd name="connsiteX178" fmla="*/ 207450 w 455398"/>
                <a:gd name="connsiteY178" fmla="*/ 25791 h 450157"/>
                <a:gd name="connsiteX179" fmla="*/ 232821 w 455398"/>
                <a:gd name="connsiteY179" fmla="*/ 0 h 450157"/>
                <a:gd name="connsiteX180" fmla="*/ 104736 w 455398"/>
                <a:gd name="connsiteY180" fmla="*/ 0 h 450157"/>
                <a:gd name="connsiteX181" fmla="*/ 130107 w 455398"/>
                <a:gd name="connsiteY181" fmla="*/ 25791 h 450157"/>
                <a:gd name="connsiteX182" fmla="*/ 104736 w 455398"/>
                <a:gd name="connsiteY182" fmla="*/ 51582 h 450157"/>
                <a:gd name="connsiteX183" fmla="*/ 79365 w 455398"/>
                <a:gd name="connsiteY183" fmla="*/ 25791 h 450157"/>
                <a:gd name="connsiteX184" fmla="*/ 104736 w 455398"/>
                <a:gd name="connsiteY184" fmla="*/ 0 h 4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455398" h="450157">
                  <a:moveTo>
                    <a:pt x="245442" y="419117"/>
                  </a:moveTo>
                  <a:cubicBezTo>
                    <a:pt x="254598" y="429542"/>
                    <a:pt x="265282" y="438468"/>
                    <a:pt x="277117" y="445579"/>
                  </a:cubicBezTo>
                  <a:cubicBezTo>
                    <a:pt x="267260" y="447739"/>
                    <a:pt x="257277" y="449268"/>
                    <a:pt x="247231" y="450157"/>
                  </a:cubicBezTo>
                  <a:close/>
                  <a:moveTo>
                    <a:pt x="407701" y="286268"/>
                  </a:moveTo>
                  <a:lnTo>
                    <a:pt x="416670" y="295385"/>
                  </a:lnTo>
                  <a:lnTo>
                    <a:pt x="328050" y="385473"/>
                  </a:lnTo>
                  <a:lnTo>
                    <a:pt x="269126" y="325574"/>
                  </a:lnTo>
                  <a:lnTo>
                    <a:pt x="278095" y="316456"/>
                  </a:lnTo>
                  <a:lnTo>
                    <a:pt x="328050" y="367239"/>
                  </a:lnTo>
                  <a:close/>
                  <a:moveTo>
                    <a:pt x="117675" y="223337"/>
                  </a:moveTo>
                  <a:lnTo>
                    <a:pt x="155477" y="223337"/>
                  </a:lnTo>
                  <a:lnTo>
                    <a:pt x="158674" y="240720"/>
                  </a:lnTo>
                  <a:cubicBezTo>
                    <a:pt x="158906" y="241908"/>
                    <a:pt x="159919" y="242771"/>
                    <a:pt x="161110" y="242797"/>
                  </a:cubicBezTo>
                  <a:lnTo>
                    <a:pt x="176890" y="242797"/>
                  </a:lnTo>
                  <a:cubicBezTo>
                    <a:pt x="178085" y="242777"/>
                    <a:pt x="179105" y="241912"/>
                    <a:pt x="179339" y="240720"/>
                  </a:cubicBezTo>
                  <a:lnTo>
                    <a:pt x="182523" y="223337"/>
                  </a:lnTo>
                  <a:lnTo>
                    <a:pt x="220059" y="223337"/>
                  </a:lnTo>
                  <a:cubicBezTo>
                    <a:pt x="220201" y="223336"/>
                    <a:pt x="220343" y="223339"/>
                    <a:pt x="220485" y="223344"/>
                  </a:cubicBezTo>
                  <a:cubicBezTo>
                    <a:pt x="225966" y="223550"/>
                    <a:pt x="230245" y="228236"/>
                    <a:pt x="230042" y="233809"/>
                  </a:cubicBezTo>
                  <a:lnTo>
                    <a:pt x="229027" y="262101"/>
                  </a:lnTo>
                  <a:cubicBezTo>
                    <a:pt x="213828" y="289230"/>
                    <a:pt x="208334" y="320869"/>
                    <a:pt x="213475" y="351648"/>
                  </a:cubicBezTo>
                  <a:cubicBezTo>
                    <a:pt x="212019" y="352046"/>
                    <a:pt x="210518" y="352250"/>
                    <a:pt x="209010" y="352254"/>
                  </a:cubicBezTo>
                  <a:lnTo>
                    <a:pt x="208325" y="352254"/>
                  </a:lnTo>
                  <a:cubicBezTo>
                    <a:pt x="207004" y="352249"/>
                    <a:pt x="205901" y="353275"/>
                    <a:pt x="205788" y="354614"/>
                  </a:cubicBezTo>
                  <a:lnTo>
                    <a:pt x="199724" y="449615"/>
                  </a:lnTo>
                  <a:cubicBezTo>
                    <a:pt x="178457" y="447259"/>
                    <a:pt x="157598" y="442011"/>
                    <a:pt x="137705" y="434011"/>
                  </a:cubicBezTo>
                  <a:lnTo>
                    <a:pt x="132174" y="354601"/>
                  </a:lnTo>
                  <a:cubicBezTo>
                    <a:pt x="132056" y="353267"/>
                    <a:pt x="130954" y="352249"/>
                    <a:pt x="129637" y="352254"/>
                  </a:cubicBezTo>
                  <a:lnTo>
                    <a:pt x="128711" y="352254"/>
                  </a:lnTo>
                  <a:cubicBezTo>
                    <a:pt x="119351" y="352260"/>
                    <a:pt x="111667" y="344728"/>
                    <a:pt x="111332" y="335219"/>
                  </a:cubicBezTo>
                  <a:lnTo>
                    <a:pt x="107742" y="233809"/>
                  </a:lnTo>
                  <a:cubicBezTo>
                    <a:pt x="107739" y="233690"/>
                    <a:pt x="107736" y="233573"/>
                    <a:pt x="107736" y="233454"/>
                  </a:cubicBezTo>
                  <a:cubicBezTo>
                    <a:pt x="107732" y="227870"/>
                    <a:pt x="112182" y="223341"/>
                    <a:pt x="117675" y="223337"/>
                  </a:cubicBezTo>
                  <a:close/>
                  <a:moveTo>
                    <a:pt x="344744" y="206483"/>
                  </a:moveTo>
                  <a:cubicBezTo>
                    <a:pt x="392833" y="206471"/>
                    <a:pt x="436325" y="235525"/>
                    <a:pt x="455398" y="280400"/>
                  </a:cubicBezTo>
                  <a:cubicBezTo>
                    <a:pt x="453385" y="286899"/>
                    <a:pt x="451111" y="293270"/>
                    <a:pt x="448574" y="299511"/>
                  </a:cubicBezTo>
                  <a:cubicBezTo>
                    <a:pt x="438576" y="263074"/>
                    <a:pt x="410803" y="234451"/>
                    <a:pt x="375100" y="223790"/>
                  </a:cubicBezTo>
                  <a:cubicBezTo>
                    <a:pt x="317962" y="206729"/>
                    <a:pt x="258039" y="239984"/>
                    <a:pt x="241256" y="298068"/>
                  </a:cubicBezTo>
                  <a:cubicBezTo>
                    <a:pt x="224474" y="356151"/>
                    <a:pt x="257188" y="417067"/>
                    <a:pt x="314324" y="434128"/>
                  </a:cubicBezTo>
                  <a:cubicBezTo>
                    <a:pt x="308143" y="436604"/>
                    <a:pt x="301833" y="438822"/>
                    <a:pt x="295398" y="440782"/>
                  </a:cubicBezTo>
                  <a:cubicBezTo>
                    <a:pt x="252047" y="421028"/>
                    <a:pt x="224156" y="377229"/>
                    <a:pt x="224178" y="328935"/>
                  </a:cubicBezTo>
                  <a:cubicBezTo>
                    <a:pt x="224208" y="261276"/>
                    <a:pt x="278187" y="206452"/>
                    <a:pt x="344744" y="206483"/>
                  </a:cubicBezTo>
                  <a:close/>
                  <a:moveTo>
                    <a:pt x="224397" y="174734"/>
                  </a:moveTo>
                  <a:lnTo>
                    <a:pt x="262288" y="174734"/>
                  </a:lnTo>
                  <a:lnTo>
                    <a:pt x="265447" y="192169"/>
                  </a:lnTo>
                  <a:cubicBezTo>
                    <a:pt x="265685" y="193355"/>
                    <a:pt x="266704" y="194214"/>
                    <a:pt x="267895" y="194232"/>
                  </a:cubicBezTo>
                  <a:lnTo>
                    <a:pt x="283663" y="194232"/>
                  </a:lnTo>
                  <a:cubicBezTo>
                    <a:pt x="284854" y="194214"/>
                    <a:pt x="285873" y="193355"/>
                    <a:pt x="286111" y="192169"/>
                  </a:cubicBezTo>
                  <a:lnTo>
                    <a:pt x="289295" y="174773"/>
                  </a:lnTo>
                  <a:lnTo>
                    <a:pt x="326831" y="174773"/>
                  </a:lnTo>
                  <a:cubicBezTo>
                    <a:pt x="326948" y="174773"/>
                    <a:pt x="327064" y="174775"/>
                    <a:pt x="327180" y="174779"/>
                  </a:cubicBezTo>
                  <a:cubicBezTo>
                    <a:pt x="332669" y="174979"/>
                    <a:pt x="336961" y="179664"/>
                    <a:pt x="336764" y="185244"/>
                  </a:cubicBezTo>
                  <a:lnTo>
                    <a:pt x="336460" y="193897"/>
                  </a:lnTo>
                  <a:cubicBezTo>
                    <a:pt x="297653" y="196353"/>
                    <a:pt x="261842" y="215938"/>
                    <a:pt x="238440" y="247503"/>
                  </a:cubicBezTo>
                  <a:lnTo>
                    <a:pt x="238922" y="234131"/>
                  </a:lnTo>
                  <a:cubicBezTo>
                    <a:pt x="238931" y="233899"/>
                    <a:pt x="238934" y="233667"/>
                    <a:pt x="238934" y="233434"/>
                  </a:cubicBezTo>
                  <a:cubicBezTo>
                    <a:pt x="238934" y="222837"/>
                    <a:pt x="230483" y="214246"/>
                    <a:pt x="220059" y="214246"/>
                  </a:cubicBezTo>
                  <a:lnTo>
                    <a:pt x="215505" y="214246"/>
                  </a:lnTo>
                  <a:lnTo>
                    <a:pt x="214464" y="185205"/>
                  </a:lnTo>
                  <a:cubicBezTo>
                    <a:pt x="214461" y="185087"/>
                    <a:pt x="214458" y="184969"/>
                    <a:pt x="214458" y="184851"/>
                  </a:cubicBezTo>
                  <a:cubicBezTo>
                    <a:pt x="214454" y="179267"/>
                    <a:pt x="218904" y="174738"/>
                    <a:pt x="224397" y="174734"/>
                  </a:cubicBezTo>
                  <a:close/>
                  <a:moveTo>
                    <a:pt x="9939" y="174734"/>
                  </a:moveTo>
                  <a:lnTo>
                    <a:pt x="47804" y="174734"/>
                  </a:lnTo>
                  <a:lnTo>
                    <a:pt x="51001" y="192130"/>
                  </a:lnTo>
                  <a:cubicBezTo>
                    <a:pt x="51238" y="193313"/>
                    <a:pt x="52251" y="194169"/>
                    <a:pt x="53437" y="194194"/>
                  </a:cubicBezTo>
                  <a:lnTo>
                    <a:pt x="69217" y="194194"/>
                  </a:lnTo>
                  <a:cubicBezTo>
                    <a:pt x="70408" y="194176"/>
                    <a:pt x="71427" y="193317"/>
                    <a:pt x="71666" y="192130"/>
                  </a:cubicBezTo>
                  <a:lnTo>
                    <a:pt x="74850" y="174734"/>
                  </a:lnTo>
                  <a:lnTo>
                    <a:pt x="112386" y="174734"/>
                  </a:lnTo>
                  <a:cubicBezTo>
                    <a:pt x="112523" y="174733"/>
                    <a:pt x="112661" y="174736"/>
                    <a:pt x="112798" y="174741"/>
                  </a:cubicBezTo>
                  <a:cubicBezTo>
                    <a:pt x="118287" y="174941"/>
                    <a:pt x="122578" y="179626"/>
                    <a:pt x="122382" y="185205"/>
                  </a:cubicBezTo>
                  <a:lnTo>
                    <a:pt x="121329" y="214246"/>
                  </a:lnTo>
                  <a:lnTo>
                    <a:pt x="117675" y="214246"/>
                  </a:lnTo>
                  <a:cubicBezTo>
                    <a:pt x="117395" y="214245"/>
                    <a:pt x="117115" y="214250"/>
                    <a:pt x="116834" y="214262"/>
                  </a:cubicBezTo>
                  <a:cubicBezTo>
                    <a:pt x="106432" y="214696"/>
                    <a:pt x="98347" y="223621"/>
                    <a:pt x="98774" y="234196"/>
                  </a:cubicBezTo>
                  <a:lnTo>
                    <a:pt x="101311" y="303728"/>
                  </a:lnTo>
                  <a:lnTo>
                    <a:pt x="100601" y="303728"/>
                  </a:lnTo>
                  <a:cubicBezTo>
                    <a:pt x="99280" y="303723"/>
                    <a:pt x="98177" y="304750"/>
                    <a:pt x="98064" y="306088"/>
                  </a:cubicBezTo>
                  <a:lnTo>
                    <a:pt x="91480" y="409252"/>
                  </a:lnTo>
                  <a:cubicBezTo>
                    <a:pt x="66145" y="391763"/>
                    <a:pt x="44307" y="369542"/>
                    <a:pt x="27127" y="343769"/>
                  </a:cubicBezTo>
                  <a:lnTo>
                    <a:pt x="24501" y="306011"/>
                  </a:lnTo>
                  <a:cubicBezTo>
                    <a:pt x="24383" y="304677"/>
                    <a:pt x="23281" y="303659"/>
                    <a:pt x="21964" y="303664"/>
                  </a:cubicBezTo>
                  <a:lnTo>
                    <a:pt x="21038" y="303664"/>
                  </a:lnTo>
                  <a:cubicBezTo>
                    <a:pt x="11680" y="303664"/>
                    <a:pt x="4000" y="296135"/>
                    <a:pt x="3659" y="286629"/>
                  </a:cubicBezTo>
                  <a:lnTo>
                    <a:pt x="6" y="185205"/>
                  </a:lnTo>
                  <a:cubicBezTo>
                    <a:pt x="2" y="185096"/>
                    <a:pt x="0" y="184986"/>
                    <a:pt x="0" y="184877"/>
                  </a:cubicBezTo>
                  <a:cubicBezTo>
                    <a:pt x="-11" y="179286"/>
                    <a:pt x="4439" y="174745"/>
                    <a:pt x="9939" y="174734"/>
                  </a:cubicBezTo>
                  <a:close/>
                  <a:moveTo>
                    <a:pt x="168760" y="145242"/>
                  </a:moveTo>
                  <a:cubicBezTo>
                    <a:pt x="182772" y="145242"/>
                    <a:pt x="194131" y="156789"/>
                    <a:pt x="194131" y="171033"/>
                  </a:cubicBezTo>
                  <a:cubicBezTo>
                    <a:pt x="194131" y="185277"/>
                    <a:pt x="182772" y="196824"/>
                    <a:pt x="168760" y="196824"/>
                  </a:cubicBezTo>
                  <a:cubicBezTo>
                    <a:pt x="154748" y="196824"/>
                    <a:pt x="143389" y="185277"/>
                    <a:pt x="143389" y="171033"/>
                  </a:cubicBezTo>
                  <a:cubicBezTo>
                    <a:pt x="143389" y="156789"/>
                    <a:pt x="154748" y="145242"/>
                    <a:pt x="168760" y="145242"/>
                  </a:cubicBezTo>
                  <a:close/>
                  <a:moveTo>
                    <a:pt x="59817" y="106633"/>
                  </a:moveTo>
                  <a:cubicBezTo>
                    <a:pt x="73829" y="106633"/>
                    <a:pt x="85188" y="118180"/>
                    <a:pt x="85188" y="132424"/>
                  </a:cubicBezTo>
                  <a:cubicBezTo>
                    <a:pt x="85188" y="146668"/>
                    <a:pt x="73829" y="158215"/>
                    <a:pt x="59817" y="158215"/>
                  </a:cubicBezTo>
                  <a:cubicBezTo>
                    <a:pt x="45805" y="158215"/>
                    <a:pt x="34446" y="146668"/>
                    <a:pt x="34446" y="132424"/>
                  </a:cubicBezTo>
                  <a:cubicBezTo>
                    <a:pt x="34446" y="118180"/>
                    <a:pt x="45805" y="106633"/>
                    <a:pt x="59817" y="106633"/>
                  </a:cubicBezTo>
                  <a:close/>
                  <a:moveTo>
                    <a:pt x="275786" y="104815"/>
                  </a:moveTo>
                  <a:cubicBezTo>
                    <a:pt x="289798" y="104815"/>
                    <a:pt x="301157" y="116362"/>
                    <a:pt x="301157" y="130606"/>
                  </a:cubicBezTo>
                  <a:cubicBezTo>
                    <a:pt x="301157" y="144850"/>
                    <a:pt x="289798" y="156397"/>
                    <a:pt x="275786" y="156397"/>
                  </a:cubicBezTo>
                  <a:cubicBezTo>
                    <a:pt x="261774" y="156397"/>
                    <a:pt x="250415" y="144850"/>
                    <a:pt x="250415" y="130606"/>
                  </a:cubicBezTo>
                  <a:cubicBezTo>
                    <a:pt x="250415" y="116362"/>
                    <a:pt x="261774" y="104815"/>
                    <a:pt x="275786" y="104815"/>
                  </a:cubicBezTo>
                  <a:close/>
                  <a:moveTo>
                    <a:pt x="181685" y="78082"/>
                  </a:moveTo>
                  <a:lnTo>
                    <a:pt x="219551" y="78082"/>
                  </a:lnTo>
                  <a:lnTo>
                    <a:pt x="222735" y="95478"/>
                  </a:lnTo>
                  <a:cubicBezTo>
                    <a:pt x="222974" y="96664"/>
                    <a:pt x="223992" y="97523"/>
                    <a:pt x="225183" y="97541"/>
                  </a:cubicBezTo>
                  <a:lnTo>
                    <a:pt x="240951" y="97541"/>
                  </a:lnTo>
                  <a:cubicBezTo>
                    <a:pt x="242143" y="97523"/>
                    <a:pt x="243161" y="96664"/>
                    <a:pt x="243400" y="95478"/>
                  </a:cubicBezTo>
                  <a:lnTo>
                    <a:pt x="246584" y="78082"/>
                  </a:lnTo>
                  <a:lnTo>
                    <a:pt x="284158" y="78082"/>
                  </a:lnTo>
                  <a:cubicBezTo>
                    <a:pt x="284274" y="78082"/>
                    <a:pt x="284390" y="78085"/>
                    <a:pt x="284507" y="78088"/>
                  </a:cubicBezTo>
                  <a:cubicBezTo>
                    <a:pt x="289996" y="78288"/>
                    <a:pt x="294287" y="82973"/>
                    <a:pt x="294090" y="88553"/>
                  </a:cubicBezTo>
                  <a:lnTo>
                    <a:pt x="293545" y="103886"/>
                  </a:lnTo>
                  <a:cubicBezTo>
                    <a:pt x="288305" y="100275"/>
                    <a:pt x="282117" y="98352"/>
                    <a:pt x="275785" y="98367"/>
                  </a:cubicBezTo>
                  <a:lnTo>
                    <a:pt x="275785" y="98405"/>
                  </a:lnTo>
                  <a:cubicBezTo>
                    <a:pt x="270232" y="98399"/>
                    <a:pt x="264773" y="99875"/>
                    <a:pt x="259957" y="102687"/>
                  </a:cubicBezTo>
                  <a:cubicBezTo>
                    <a:pt x="244768" y="111552"/>
                    <a:pt x="239526" y="131257"/>
                    <a:pt x="248247" y="146698"/>
                  </a:cubicBezTo>
                  <a:cubicBezTo>
                    <a:pt x="256968" y="162138"/>
                    <a:pt x="276351" y="167467"/>
                    <a:pt x="291541" y="158602"/>
                  </a:cubicBezTo>
                  <a:lnTo>
                    <a:pt x="291185" y="168325"/>
                  </a:lnTo>
                  <a:lnTo>
                    <a:pt x="284031" y="168325"/>
                  </a:lnTo>
                  <a:lnTo>
                    <a:pt x="283067" y="173599"/>
                  </a:lnTo>
                  <a:lnTo>
                    <a:pt x="280466" y="187784"/>
                  </a:lnTo>
                  <a:lnTo>
                    <a:pt x="271092" y="187784"/>
                  </a:lnTo>
                  <a:lnTo>
                    <a:pt x="268491" y="173599"/>
                  </a:lnTo>
                  <a:lnTo>
                    <a:pt x="267527" y="168325"/>
                  </a:lnTo>
                  <a:lnTo>
                    <a:pt x="224397" y="168325"/>
                  </a:lnTo>
                  <a:cubicBezTo>
                    <a:pt x="224212" y="168325"/>
                    <a:pt x="224027" y="168329"/>
                    <a:pt x="223841" y="168335"/>
                  </a:cubicBezTo>
                  <a:cubicBezTo>
                    <a:pt x="214845" y="168655"/>
                    <a:pt x="207806" y="176330"/>
                    <a:pt x="208122" y="185476"/>
                  </a:cubicBezTo>
                  <a:lnTo>
                    <a:pt x="209175" y="214530"/>
                  </a:lnTo>
                  <a:lnTo>
                    <a:pt x="209251" y="216928"/>
                  </a:lnTo>
                  <a:lnTo>
                    <a:pt x="196705" y="216928"/>
                  </a:lnTo>
                  <a:lnTo>
                    <a:pt x="177093" y="216928"/>
                  </a:lnTo>
                  <a:lnTo>
                    <a:pt x="176180" y="221944"/>
                  </a:lnTo>
                  <a:lnTo>
                    <a:pt x="173567" y="236129"/>
                  </a:lnTo>
                  <a:lnTo>
                    <a:pt x="164205" y="236129"/>
                  </a:lnTo>
                  <a:lnTo>
                    <a:pt x="161604" y="221944"/>
                  </a:lnTo>
                  <a:lnTo>
                    <a:pt x="160678" y="216928"/>
                  </a:lnTo>
                  <a:lnTo>
                    <a:pt x="141105" y="216928"/>
                  </a:lnTo>
                  <a:lnTo>
                    <a:pt x="127519" y="216928"/>
                  </a:lnTo>
                  <a:lnTo>
                    <a:pt x="127608" y="214530"/>
                  </a:lnTo>
                  <a:lnTo>
                    <a:pt x="128584" y="185540"/>
                  </a:lnTo>
                  <a:cubicBezTo>
                    <a:pt x="128592" y="185339"/>
                    <a:pt x="128596" y="185138"/>
                    <a:pt x="128596" y="184936"/>
                  </a:cubicBezTo>
                  <a:cubicBezTo>
                    <a:pt x="128596" y="175799"/>
                    <a:pt x="121310" y="168391"/>
                    <a:pt x="112322" y="168389"/>
                  </a:cubicBezTo>
                  <a:lnTo>
                    <a:pt x="69521" y="168389"/>
                  </a:lnTo>
                  <a:lnTo>
                    <a:pt x="68557" y="173664"/>
                  </a:lnTo>
                  <a:lnTo>
                    <a:pt x="65944" y="187849"/>
                  </a:lnTo>
                  <a:lnTo>
                    <a:pt x="56582" y="187849"/>
                  </a:lnTo>
                  <a:lnTo>
                    <a:pt x="54045" y="173664"/>
                  </a:lnTo>
                  <a:lnTo>
                    <a:pt x="53081" y="168389"/>
                  </a:lnTo>
                  <a:lnTo>
                    <a:pt x="46535" y="168389"/>
                  </a:lnTo>
                  <a:lnTo>
                    <a:pt x="46282" y="161684"/>
                  </a:lnTo>
                  <a:cubicBezTo>
                    <a:pt x="55594" y="166156"/>
                    <a:pt x="66463" y="165752"/>
                    <a:pt x="75430" y="160602"/>
                  </a:cubicBezTo>
                  <a:cubicBezTo>
                    <a:pt x="90678" y="151843"/>
                    <a:pt x="96055" y="132175"/>
                    <a:pt x="87438" y="116674"/>
                  </a:cubicBezTo>
                  <a:cubicBezTo>
                    <a:pt x="78822" y="101173"/>
                    <a:pt x="59476" y="95708"/>
                    <a:pt x="44227" y="104466"/>
                  </a:cubicBezTo>
                  <a:lnTo>
                    <a:pt x="43668" y="88656"/>
                  </a:lnTo>
                  <a:cubicBezTo>
                    <a:pt x="43663" y="88534"/>
                    <a:pt x="43662" y="88411"/>
                    <a:pt x="43662" y="88289"/>
                  </a:cubicBezTo>
                  <a:cubicBezTo>
                    <a:pt x="43658" y="82711"/>
                    <a:pt x="48103" y="78189"/>
                    <a:pt x="53588" y="78185"/>
                  </a:cubicBezTo>
                  <a:lnTo>
                    <a:pt x="91454" y="78185"/>
                  </a:lnTo>
                  <a:lnTo>
                    <a:pt x="94651" y="95581"/>
                  </a:lnTo>
                  <a:cubicBezTo>
                    <a:pt x="94888" y="96764"/>
                    <a:pt x="95900" y="97620"/>
                    <a:pt x="97086" y="97645"/>
                  </a:cubicBezTo>
                  <a:lnTo>
                    <a:pt x="112867" y="97645"/>
                  </a:lnTo>
                  <a:cubicBezTo>
                    <a:pt x="114058" y="97626"/>
                    <a:pt x="115077" y="96768"/>
                    <a:pt x="115315" y="95581"/>
                  </a:cubicBezTo>
                  <a:lnTo>
                    <a:pt x="118499" y="78185"/>
                  </a:lnTo>
                  <a:lnTo>
                    <a:pt x="156061" y="78185"/>
                  </a:lnTo>
                  <a:cubicBezTo>
                    <a:pt x="156178" y="78185"/>
                    <a:pt x="156293" y="78188"/>
                    <a:pt x="156410" y="78192"/>
                  </a:cubicBezTo>
                  <a:cubicBezTo>
                    <a:pt x="161899" y="78391"/>
                    <a:pt x="166190" y="83076"/>
                    <a:pt x="165993" y="88656"/>
                  </a:cubicBezTo>
                  <a:lnTo>
                    <a:pt x="164179" y="139245"/>
                  </a:lnTo>
                  <a:cubicBezTo>
                    <a:pt x="154091" y="140766"/>
                    <a:pt x="145338" y="147126"/>
                    <a:pt x="140656" y="156337"/>
                  </a:cubicBezTo>
                  <a:cubicBezTo>
                    <a:pt x="132616" y="172155"/>
                    <a:pt x="138712" y="191604"/>
                    <a:pt x="154272" y="199777"/>
                  </a:cubicBezTo>
                  <a:cubicBezTo>
                    <a:pt x="164145" y="204986"/>
                    <a:pt x="175992" y="204495"/>
                    <a:pt x="185415" y="198487"/>
                  </a:cubicBezTo>
                  <a:cubicBezTo>
                    <a:pt x="193346" y="193521"/>
                    <a:pt x="198728" y="185262"/>
                    <a:pt x="200134" y="175901"/>
                  </a:cubicBezTo>
                  <a:cubicBezTo>
                    <a:pt x="202776" y="158300"/>
                    <a:pt x="190881" y="141854"/>
                    <a:pt x="173567" y="139168"/>
                  </a:cubicBezTo>
                  <a:lnTo>
                    <a:pt x="171753" y="88553"/>
                  </a:lnTo>
                  <a:cubicBezTo>
                    <a:pt x="171749" y="88435"/>
                    <a:pt x="171746" y="88317"/>
                    <a:pt x="171746" y="88199"/>
                  </a:cubicBezTo>
                  <a:cubicBezTo>
                    <a:pt x="171742" y="82615"/>
                    <a:pt x="176193" y="78086"/>
                    <a:pt x="181685" y="78082"/>
                  </a:cubicBezTo>
                  <a:close/>
                  <a:moveTo>
                    <a:pt x="232821" y="0"/>
                  </a:moveTo>
                  <a:cubicBezTo>
                    <a:pt x="246833" y="0"/>
                    <a:pt x="258192" y="11547"/>
                    <a:pt x="258192" y="25791"/>
                  </a:cubicBezTo>
                  <a:cubicBezTo>
                    <a:pt x="258192" y="40035"/>
                    <a:pt x="246833" y="51582"/>
                    <a:pt x="232821" y="51582"/>
                  </a:cubicBezTo>
                  <a:cubicBezTo>
                    <a:pt x="218809" y="51582"/>
                    <a:pt x="207450" y="40035"/>
                    <a:pt x="207450" y="25791"/>
                  </a:cubicBezTo>
                  <a:cubicBezTo>
                    <a:pt x="207450" y="11547"/>
                    <a:pt x="218809" y="0"/>
                    <a:pt x="232821" y="0"/>
                  </a:cubicBezTo>
                  <a:close/>
                  <a:moveTo>
                    <a:pt x="104736" y="0"/>
                  </a:moveTo>
                  <a:cubicBezTo>
                    <a:pt x="118748" y="0"/>
                    <a:pt x="130107" y="11547"/>
                    <a:pt x="130107" y="25791"/>
                  </a:cubicBezTo>
                  <a:cubicBezTo>
                    <a:pt x="130107" y="40035"/>
                    <a:pt x="118748" y="51582"/>
                    <a:pt x="104736" y="51582"/>
                  </a:cubicBezTo>
                  <a:cubicBezTo>
                    <a:pt x="90724" y="51582"/>
                    <a:pt x="79365" y="40035"/>
                    <a:pt x="79365" y="25791"/>
                  </a:cubicBezTo>
                  <a:cubicBezTo>
                    <a:pt x="79365" y="11547"/>
                    <a:pt x="90724" y="0"/>
                    <a:pt x="104736" y="0"/>
                  </a:cubicBezTo>
                  <a:close/>
                </a:path>
              </a:pathLst>
            </a:custGeom>
            <a:solidFill>
              <a:srgbClr val="025EA1"/>
            </a:solidFill>
            <a:ln w="1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50"/>
            </a:p>
          </p:txBody>
        </p:sp>
      </p:grpSp>
    </p:spTree>
    <p:extLst>
      <p:ext uri="{BB962C8B-B14F-4D97-AF65-F5344CB8AC3E}">
        <p14:creationId xmlns:p14="http://schemas.microsoft.com/office/powerpoint/2010/main" val="1463563074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464092" y="1359835"/>
            <a:ext cx="7847658" cy="1728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644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3200" b="1" dirty="0">
                <a:solidFill>
                  <a:srgbClr val="003274"/>
                </a:solidFill>
              </a:rPr>
              <a:t>2-я часть: Текущие задачи и результаты региона. </a:t>
            </a:r>
            <a:endParaRPr lang="ru-RU" altLang="ru-RU" sz="1600" dirty="0">
              <a:solidFill>
                <a:srgbClr val="003274"/>
              </a:solidFill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7EB56BA8-40F9-4862-96E6-483461D9D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091" y="3807093"/>
            <a:ext cx="5348880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644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b="1" i="1" dirty="0">
                <a:solidFill>
                  <a:srgbClr val="003274"/>
                </a:solidFill>
              </a:rPr>
              <a:t>Регион разрабатывает самостоятельно</a:t>
            </a:r>
            <a:endParaRPr lang="ru-RU" altLang="ru-RU" sz="1050" i="1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459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C72F7FE5-7500-4AF1-0E9A-EE3E0FB4BF0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3391"/>
          <a:stretch/>
        </p:blipFill>
        <p:spPr>
          <a:xfrm>
            <a:off x="102343" y="1559160"/>
            <a:ext cx="5626056" cy="329785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C6EFFF2-C7AF-F989-FA83-92904536B4AF}"/>
              </a:ext>
            </a:extLst>
          </p:cNvPr>
          <p:cNvSpPr txBox="1"/>
          <p:nvPr/>
        </p:nvSpPr>
        <p:spPr bwMode="auto">
          <a:xfrm>
            <a:off x="217935" y="365860"/>
            <a:ext cx="8546008" cy="3461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49" b="1" dirty="0">
                <a:ea typeface="Times New Roman" panose="02020603050405020304" pitchFamily="18" charset="0"/>
              </a:rPr>
              <a:t>С 2017 г. </a:t>
            </a:r>
            <a:r>
              <a:rPr lang="ru-RU" sz="1649" dirty="0"/>
              <a:t>–</a:t>
            </a:r>
            <a:r>
              <a:rPr lang="ru-RU" sz="1649" b="1" dirty="0">
                <a:ea typeface="Times New Roman" panose="02020603050405020304" pitchFamily="18" charset="0"/>
              </a:rPr>
              <a:t> р</a:t>
            </a:r>
            <a:r>
              <a:rPr lang="ru-RU" sz="1649" b="1" dirty="0"/>
              <a:t>еализация проекта «Бережливый регион»</a:t>
            </a:r>
            <a:endParaRPr lang="en-US" sz="1649" b="1" dirty="0"/>
          </a:p>
        </p:txBody>
      </p:sp>
      <p:sp>
        <p:nvSpPr>
          <p:cNvPr id="10" name="Заголовок 2"/>
          <p:cNvSpPr>
            <a:spLocks noGrp="1"/>
          </p:cNvSpPr>
          <p:nvPr>
            <p:ph type="title"/>
          </p:nvPr>
        </p:nvSpPr>
        <p:spPr bwMode="auto">
          <a:xfrm>
            <a:off x="297733" y="725664"/>
            <a:ext cx="6714266" cy="477381"/>
          </a:xfrm>
        </p:spPr>
        <p:txBody>
          <a:bodyPr/>
          <a:lstStyle/>
          <a:p>
            <a:pPr defTabSz="174001">
              <a:lnSpc>
                <a:spcPct val="100000"/>
              </a:lnSpc>
              <a:defRPr/>
            </a:pPr>
            <a:r>
              <a:rPr lang="ru-RU" sz="1196" b="0" dirty="0">
                <a:solidFill>
                  <a:schemeClr val="tx1"/>
                </a:solidFill>
              </a:rPr>
              <a:t>Состояние на 31 декабря 2025 года – </a:t>
            </a:r>
            <a:r>
              <a:rPr lang="ru-RU" sz="1196" dirty="0">
                <a:solidFill>
                  <a:schemeClr val="tx1"/>
                </a:solidFill>
              </a:rPr>
              <a:t>50 регионов </a:t>
            </a:r>
            <a:r>
              <a:rPr lang="ru-RU" sz="1196" b="0" dirty="0">
                <a:solidFill>
                  <a:schemeClr val="tx1"/>
                </a:solidFill>
              </a:rPr>
              <a:t>, более </a:t>
            </a:r>
            <a:r>
              <a:rPr lang="ru-RU" sz="1196" dirty="0">
                <a:solidFill>
                  <a:schemeClr val="tx1"/>
                </a:solidFill>
              </a:rPr>
              <a:t>45 тыс. проектов </a:t>
            </a:r>
            <a:r>
              <a:rPr lang="ru-RU" sz="1196" b="0" dirty="0">
                <a:solidFill>
                  <a:schemeClr val="tx1"/>
                </a:solidFill>
              </a:rPr>
              <a:t>за 2018-2025 гг.. Росатом сопровождает 1-3 %</a:t>
            </a:r>
            <a:br>
              <a:rPr lang="ru-RU" sz="1196" b="0" dirty="0">
                <a:solidFill>
                  <a:schemeClr val="tx1"/>
                </a:solidFill>
              </a:rPr>
            </a:br>
            <a:br>
              <a:rPr lang="ru-RU" sz="1396" b="0" dirty="0">
                <a:solidFill>
                  <a:schemeClr val="tx1"/>
                </a:solidFill>
              </a:rPr>
            </a:br>
            <a:endParaRPr lang="ru-RU" dirty="0"/>
          </a:p>
        </p:txBody>
      </p:sp>
      <p:sp>
        <p:nvSpPr>
          <p:cNvPr id="19" name="Прямоугольник 29"/>
          <p:cNvSpPr/>
          <p:nvPr/>
        </p:nvSpPr>
        <p:spPr bwMode="auto">
          <a:xfrm>
            <a:off x="217934" y="1174904"/>
            <a:ext cx="3021319" cy="1015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defTabSz="342583">
              <a:defRPr/>
            </a:pPr>
            <a:r>
              <a:rPr lang="ru-RU" sz="1199" b="1" dirty="0">
                <a:latin typeface="Arial" panose="020B0604020202020204"/>
              </a:rPr>
              <a:t>Каждый регион двигается: </a:t>
            </a:r>
            <a:endParaRPr sz="1199" dirty="0">
              <a:latin typeface="Arial" panose="020B0604020202020204"/>
            </a:endParaRPr>
          </a:p>
          <a:p>
            <a:pPr marL="128113" indent="-128113" defTabSz="342583">
              <a:buFont typeface="Arial"/>
              <a:buChar char="•"/>
              <a:defRPr/>
            </a:pPr>
            <a:r>
              <a:rPr lang="ru-RU" sz="1199" dirty="0">
                <a:latin typeface="Arial" panose="020B0604020202020204"/>
              </a:rPr>
              <a:t>со своей скоростью</a:t>
            </a:r>
            <a:endParaRPr sz="1199" dirty="0">
              <a:latin typeface="Arial" panose="020B0604020202020204"/>
            </a:endParaRPr>
          </a:p>
          <a:p>
            <a:pPr marL="128113" indent="-128113" defTabSz="342583">
              <a:buFont typeface="Arial"/>
              <a:buChar char="•"/>
              <a:defRPr/>
            </a:pPr>
            <a:r>
              <a:rPr lang="ru-RU" sz="1199" dirty="0">
                <a:latin typeface="Arial" panose="020B0604020202020204"/>
              </a:rPr>
              <a:t>со своими особенностями</a:t>
            </a:r>
            <a:endParaRPr sz="1199" dirty="0">
              <a:latin typeface="Arial" panose="020B0604020202020204"/>
            </a:endParaRPr>
          </a:p>
          <a:p>
            <a:pPr marL="128113" indent="-128113" defTabSz="342583">
              <a:buFont typeface="Arial"/>
              <a:buChar char="•"/>
              <a:defRPr/>
            </a:pPr>
            <a:r>
              <a:rPr lang="ru-RU" sz="1199" dirty="0">
                <a:latin typeface="Arial" panose="020B0604020202020204"/>
              </a:rPr>
              <a:t>со своей шириной охвата</a:t>
            </a:r>
            <a:endParaRPr sz="1199" dirty="0">
              <a:latin typeface="Arial" panose="020B0604020202020204"/>
            </a:endParaRPr>
          </a:p>
          <a:p>
            <a:pPr marL="128113" indent="-128113" defTabSz="342583">
              <a:buFont typeface="Arial"/>
              <a:buChar char="•"/>
              <a:defRPr/>
            </a:pPr>
            <a:r>
              <a:rPr lang="ru-RU" sz="1199" dirty="0">
                <a:latin typeface="Arial" panose="020B0604020202020204"/>
              </a:rPr>
              <a:t>с правом на приостановку активности</a:t>
            </a:r>
            <a:endParaRPr sz="1199" dirty="0">
              <a:latin typeface="Arial" panose="020B0604020202020204"/>
            </a:endParaRPr>
          </a:p>
        </p:txBody>
      </p:sp>
      <p:sp>
        <p:nvSpPr>
          <p:cNvPr id="13" name="TextBox 12"/>
          <p:cNvSpPr txBox="1"/>
          <p:nvPr/>
        </p:nvSpPr>
        <p:spPr bwMode="auto">
          <a:xfrm>
            <a:off x="5728397" y="1261758"/>
            <a:ext cx="1709276" cy="32975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i="1" dirty="0">
                <a:solidFill>
                  <a:srgbClr val="00B050"/>
                </a:solidFill>
                <a:latin typeface="Arial" panose="020B0604020202020204"/>
                <a:cs typeface="Times New Roman"/>
              </a:rPr>
              <a:t>Камчатский край</a:t>
            </a:r>
            <a:endParaRPr lang="ru-RU" sz="824" i="1" dirty="0">
              <a:solidFill>
                <a:srgbClr val="00B050"/>
              </a:solidFill>
              <a:latin typeface="Arial" panose="020B0604020202020204"/>
            </a:endParaRP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b="1" i="1" dirty="0">
                <a:solidFill>
                  <a:srgbClr val="7030A0"/>
                </a:solidFill>
                <a:latin typeface="Arial" panose="020B0604020202020204"/>
                <a:cs typeface="Times New Roman"/>
              </a:rPr>
              <a:t>Приморский край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b="1" i="1" dirty="0">
                <a:solidFill>
                  <a:srgbClr val="7030A0"/>
                </a:solidFill>
                <a:latin typeface="Arial" panose="020B0604020202020204"/>
                <a:cs typeface="Times New Roman"/>
              </a:rPr>
              <a:t>Магаданская обл.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b="1" i="1" dirty="0">
                <a:solidFill>
                  <a:srgbClr val="7030A0"/>
                </a:solidFill>
                <a:latin typeface="Arial" panose="020B0604020202020204"/>
                <a:cs typeface="Times New Roman"/>
              </a:rPr>
              <a:t>Еврейская АО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i="1" dirty="0">
                <a:solidFill>
                  <a:srgbClr val="00B050"/>
                </a:solidFill>
                <a:latin typeface="Arial" panose="020B0604020202020204"/>
                <a:cs typeface="Times New Roman"/>
              </a:rPr>
              <a:t>г. Москва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i="1" dirty="0">
                <a:solidFill>
                  <a:srgbClr val="00B050"/>
                </a:solidFill>
                <a:latin typeface="Arial" panose="020B0604020202020204"/>
                <a:cs typeface="Times New Roman"/>
              </a:rPr>
              <a:t>Московская обл.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i="1" dirty="0">
                <a:solidFill>
                  <a:srgbClr val="00B050"/>
                </a:solidFill>
                <a:latin typeface="Arial" panose="020B0604020202020204"/>
                <a:cs typeface="Times New Roman"/>
              </a:rPr>
              <a:t>Тульская обл.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i="1" dirty="0">
                <a:solidFill>
                  <a:srgbClr val="00B050"/>
                </a:solidFill>
                <a:latin typeface="Arial" panose="020B0604020202020204"/>
                <a:cs typeface="Times New Roman"/>
              </a:rPr>
              <a:t>Новосибирская обл</a:t>
            </a:r>
            <a:r>
              <a:rPr lang="ru-RU" sz="824" dirty="0">
                <a:solidFill>
                  <a:srgbClr val="00B050"/>
                </a:solidFill>
                <a:latin typeface="Arial" panose="020B0604020202020204"/>
                <a:cs typeface="Times New Roman"/>
              </a:rPr>
              <a:t>.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b="1" i="1" dirty="0">
                <a:solidFill>
                  <a:srgbClr val="7030A0"/>
                </a:solidFill>
                <a:cs typeface="Times New Roman"/>
              </a:rPr>
              <a:t>Республика Коми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b="1" i="1" dirty="0">
                <a:solidFill>
                  <a:srgbClr val="7030A0"/>
                </a:solidFill>
                <a:latin typeface="Arial" panose="020B0604020202020204"/>
                <a:cs typeface="Times New Roman"/>
              </a:rPr>
              <a:t>Самарская обл</a:t>
            </a:r>
            <a:r>
              <a:rPr lang="ru-RU" sz="824" i="1" dirty="0">
                <a:solidFill>
                  <a:srgbClr val="00B050"/>
                </a:solidFill>
                <a:latin typeface="Arial" panose="020B0604020202020204"/>
                <a:cs typeface="Times New Roman"/>
              </a:rPr>
              <a:t>.</a:t>
            </a:r>
          </a:p>
          <a:p>
            <a:pPr marL="171292" indent="-171292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Республика Саха (Якутия)  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</a:rPr>
              <a:t>Респ. Сев. Осетия-Алания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</a:rPr>
              <a:t>Пермский край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</a:rPr>
              <a:t>Республика Башкортостан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</a:rPr>
              <a:t>Республика Дагестан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</a:rPr>
              <a:t>Мурманская обл.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</a:rPr>
              <a:t>Чукотский АО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</a:rPr>
              <a:t>Владимирская обл.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</a:rPr>
              <a:t>Рязанская обл.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Республика Адыгея</a:t>
            </a:r>
            <a:endParaRPr lang="ru-RU" sz="824" dirty="0">
              <a:latin typeface="Arial" panose="020B0604020202020204"/>
            </a:endParaRP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Нижегородская обл.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Кемеровская обл.</a:t>
            </a:r>
            <a:endParaRPr lang="ru-RU" sz="824" dirty="0">
              <a:latin typeface="Arial" panose="020B0604020202020204"/>
            </a:endParaRP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Сахалинская обл.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Липецкая обл. 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Белгородская обл.</a:t>
            </a:r>
          </a:p>
          <a:p>
            <a:pPr marL="171292" indent="-171292" defTabSz="342583">
              <a:buFont typeface="+mj-lt"/>
              <a:buAutoNum type="arabicPeriod"/>
              <a:defRPr/>
            </a:pPr>
            <a:endParaRPr lang="en-US" sz="824" dirty="0">
              <a:latin typeface="Arial" panose="020B0604020202020204"/>
            </a:endParaRPr>
          </a:p>
        </p:txBody>
      </p:sp>
      <p:sp>
        <p:nvSpPr>
          <p:cNvPr id="20" name="TextBox 19"/>
          <p:cNvSpPr txBox="1"/>
          <p:nvPr/>
        </p:nvSpPr>
        <p:spPr bwMode="auto">
          <a:xfrm>
            <a:off x="5337009" y="4618321"/>
            <a:ext cx="3323332" cy="4037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42583">
              <a:defRPr/>
            </a:pPr>
            <a:r>
              <a:rPr lang="ru-RU" sz="824" i="1" dirty="0">
                <a:solidFill>
                  <a:prstClr val="black"/>
                </a:solidFill>
                <a:latin typeface="Arial"/>
                <a:ea typeface="Arial"/>
                <a:cs typeface="Times New Roman"/>
              </a:rPr>
              <a:t>* Выделены курсивом регионы, не формализовавшие свои отношения с </a:t>
            </a:r>
            <a:r>
              <a:rPr lang="ru-RU" sz="824" i="1" dirty="0">
                <a:solidFill>
                  <a:prstClr val="black"/>
                </a:solidFill>
                <a:ea typeface="Arial"/>
                <a:cs typeface="Times New Roman"/>
              </a:rPr>
              <a:t>ГК «Росатом» </a:t>
            </a:r>
            <a:r>
              <a:rPr lang="ru-RU" sz="824" i="1" dirty="0">
                <a:solidFill>
                  <a:prstClr val="black"/>
                </a:solidFill>
                <a:latin typeface="Arial"/>
                <a:ea typeface="Arial"/>
                <a:cs typeface="Times New Roman"/>
              </a:rPr>
              <a:t> в рамках </a:t>
            </a:r>
            <a:r>
              <a:rPr lang="ru-RU" sz="1199" dirty="0">
                <a:solidFill>
                  <a:prstClr val="black"/>
                </a:solidFill>
                <a:ea typeface="Arial"/>
                <a:cs typeface="Times New Roman"/>
              </a:rPr>
              <a:t>проекта </a:t>
            </a:r>
            <a:endParaRPr lang="en-US" sz="1799" dirty="0">
              <a:solidFill>
                <a:srgbClr val="333333"/>
              </a:solidFill>
              <a:latin typeface="Arial" panose="020B0604020202020204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10CA337-000C-08D7-3D90-366B5E076513}"/>
              </a:ext>
            </a:extLst>
          </p:cNvPr>
          <p:cNvSpPr txBox="1"/>
          <p:nvPr/>
        </p:nvSpPr>
        <p:spPr>
          <a:xfrm>
            <a:off x="7453562" y="1235519"/>
            <a:ext cx="1702098" cy="32630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292" indent="-171292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Челябинская обл. 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Курганская обл. 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Курская обл. </a:t>
            </a:r>
          </a:p>
          <a:p>
            <a:pPr marL="171292" indent="-171292">
              <a:buFont typeface="+mj-lt"/>
              <a:buAutoNum type="arabicPeriod" startAt="26"/>
              <a:defRPr/>
            </a:pPr>
            <a:r>
              <a:rPr lang="ru-RU" sz="824" dirty="0">
                <a:cs typeface="Times New Roman"/>
              </a:rPr>
              <a:t>Тамбовская обл.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Краснодарский край 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Ростовская обл.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Орловская обл. 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Забайкальский край</a:t>
            </a:r>
            <a:r>
              <a:rPr lang="ru-RU" sz="824" dirty="0">
                <a:latin typeface="Arial" panose="020B0604020202020204"/>
              </a:rPr>
              <a:t> 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Ставропольский край 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г. Санкт-Петербург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Воронежская обл. 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Республика Чувашия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Ульяновская обл.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Калининградская обл.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Новгородская обл.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Омская обл.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Ивановская обл.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Тюменская обл.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Томская обл.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Республика Татарстан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Калужская обл.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Кировская обл.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Удмуртская Республика,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Амурская обл.</a:t>
            </a:r>
          </a:p>
          <a:p>
            <a:pPr marL="171292" indent="-171292" defTabSz="342583">
              <a:buFont typeface="+mj-lt"/>
              <a:buAutoNum type="arabicPeriod" startAt="26"/>
              <a:defRPr/>
            </a:pPr>
            <a:r>
              <a:rPr lang="ru-RU" sz="824" dirty="0">
                <a:latin typeface="Arial" panose="020B0604020202020204"/>
                <a:cs typeface="Times New Roman"/>
              </a:rPr>
              <a:t>ДНР </a:t>
            </a:r>
            <a:endParaRPr lang="ru-RU" sz="824" dirty="0"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5647441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7C156A-F4D8-E8E7-8D84-55C015E984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21657510-AB04-1E10-E572-D70BC49BAECB}"/>
              </a:ext>
            </a:extLst>
          </p:cNvPr>
          <p:cNvSpPr txBox="1">
            <a:spLocks/>
          </p:cNvSpPr>
          <p:nvPr/>
        </p:nvSpPr>
        <p:spPr>
          <a:xfrm>
            <a:off x="289258" y="171788"/>
            <a:ext cx="6910096" cy="329894"/>
          </a:xfrm>
          <a:prstGeom prst="rect">
            <a:avLst/>
          </a:prstGeom>
        </p:spPr>
        <p:txBody>
          <a:bodyPr lIns="0" tIns="0" rIns="0" bIns="0"/>
          <a:lstStyle>
            <a:lvl1pPr algn="l" defTabSz="91415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sz="1598" dirty="0">
                <a:solidFill>
                  <a:schemeClr val="tx1"/>
                </a:solidFill>
              </a:rPr>
              <a:t>Сложившаяся практика клубной партнерской проверки качества образцов (ППКО) по проекту «Эффективный регион»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18C17D-C1AA-308D-DE83-ED1E70FD1F7D}"/>
              </a:ext>
            </a:extLst>
          </p:cNvPr>
          <p:cNvSpPr txBox="1"/>
          <p:nvPr/>
        </p:nvSpPr>
        <p:spPr>
          <a:xfrm>
            <a:off x="206804" y="4077062"/>
            <a:ext cx="8298855" cy="899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067">
              <a:defRPr/>
            </a:pPr>
            <a:r>
              <a:rPr lang="ru-RU" sz="1049" dirty="0">
                <a:solidFill>
                  <a:prstClr val="black"/>
                </a:solidFill>
                <a:latin typeface="Arial"/>
              </a:rPr>
              <a:t>Неформальная партнерская проверка коллегами-носителями лучшего опыта в этой отрасли:</a:t>
            </a:r>
          </a:p>
          <a:p>
            <a:pPr marL="285486" indent="-285486" defTabSz="913067">
              <a:buFont typeface="Arial" panose="020B0604020202020204" pitchFamily="34" charset="0"/>
              <a:buChar char="•"/>
              <a:defRPr/>
            </a:pPr>
            <a:r>
              <a:rPr lang="ru-RU" sz="1049" b="1" dirty="0">
                <a:solidFill>
                  <a:prstClr val="black"/>
                </a:solidFill>
                <a:latin typeface="Arial"/>
              </a:rPr>
              <a:t>исключает формализм и недостоверность результатов </a:t>
            </a:r>
          </a:p>
          <a:p>
            <a:pPr marL="285486" indent="-285486" defTabSz="913067">
              <a:buFont typeface="Arial" panose="020B0604020202020204" pitchFamily="34" charset="0"/>
              <a:buChar char="•"/>
              <a:defRPr/>
            </a:pPr>
            <a:r>
              <a:rPr lang="ru-RU" sz="1049" b="1" dirty="0">
                <a:solidFill>
                  <a:prstClr val="black"/>
                </a:solidFill>
                <a:latin typeface="Arial"/>
              </a:rPr>
              <a:t>порождает предложения по улучшению процессов</a:t>
            </a:r>
          </a:p>
          <a:p>
            <a:pPr marL="285486" indent="-285486" defTabSz="913067">
              <a:buFont typeface="Arial" panose="020B0604020202020204" pitchFamily="34" charset="0"/>
              <a:buChar char="•"/>
              <a:defRPr/>
            </a:pPr>
            <a:r>
              <a:rPr lang="ru-RU" sz="1049" b="1" dirty="0">
                <a:solidFill>
                  <a:prstClr val="black"/>
                </a:solidFill>
                <a:latin typeface="Arial"/>
              </a:rPr>
              <a:t>выявляет практики для тиражирования</a:t>
            </a:r>
          </a:p>
          <a:p>
            <a:pPr marL="285486" indent="-285486" defTabSz="913067">
              <a:buFont typeface="Arial" panose="020B0604020202020204" pitchFamily="34" charset="0"/>
              <a:buChar char="•"/>
              <a:defRPr/>
            </a:pPr>
            <a:r>
              <a:rPr lang="ru-RU" sz="1049" b="1" dirty="0">
                <a:solidFill>
                  <a:prstClr val="black"/>
                </a:solidFill>
                <a:latin typeface="Arial"/>
              </a:rPr>
              <a:t>создает стимул для дальнейшего развития</a:t>
            </a:r>
            <a:endParaRPr lang="en-US" sz="1049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" name="Прямоугольник 28">
            <a:extLst>
              <a:ext uri="{FF2B5EF4-FFF2-40B4-BE49-F238E27FC236}">
                <a16:creationId xmlns:a16="http://schemas.microsoft.com/office/drawing/2014/main" id="{3176DD60-F14F-D2A7-279E-9D70F26A710B}"/>
              </a:ext>
            </a:extLst>
          </p:cNvPr>
          <p:cNvSpPr/>
          <p:nvPr/>
        </p:nvSpPr>
        <p:spPr>
          <a:xfrm>
            <a:off x="206805" y="814724"/>
            <a:ext cx="8867425" cy="73815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49" dirty="0">
                <a:solidFill>
                  <a:prstClr val="black"/>
                </a:solidFill>
                <a:cs typeface="Arial" panose="020B0604020202020204" pitchFamily="34" charset="0"/>
              </a:rPr>
              <a:t>В 2019 году введено понятие </a:t>
            </a:r>
            <a:r>
              <a:rPr lang="ru-RU" sz="1049" b="1" dirty="0">
                <a:solidFill>
                  <a:prstClr val="black"/>
                </a:solidFill>
                <a:cs typeface="Arial" panose="020B0604020202020204" pitchFamily="34" charset="0"/>
              </a:rPr>
              <a:t>образца лучшей практики в проекте «Эффективный регион» </a:t>
            </a:r>
            <a:r>
              <a:rPr lang="ru-RU" sz="1049" dirty="0">
                <a:solidFill>
                  <a:prstClr val="black"/>
                </a:solidFill>
                <a:cs typeface="Arial" panose="020B0604020202020204" pitchFamily="34" charset="0"/>
              </a:rPr>
              <a:t>на трех уровнях развития: федеральный, региональный и местный (решение Форума Лидеров ПСР с участием представителей Клуба Губернаторов). </a:t>
            </a:r>
          </a:p>
          <a:p>
            <a:r>
              <a:rPr lang="ru-RU" sz="1049" dirty="0">
                <a:solidFill>
                  <a:prstClr val="black"/>
                </a:solidFill>
                <a:cs typeface="Arial" panose="020B0604020202020204" pitchFamily="34" charset="0"/>
              </a:rPr>
              <a:t>В 2020 разработаны, согласованы с региональными проектными офисами и утверждены </a:t>
            </a:r>
            <a:r>
              <a:rPr lang="ru-RU" sz="1049" dirty="0"/>
              <a:t>Координационным комитетом Методические рекомендации ППКО</a:t>
            </a:r>
          </a:p>
        </p:txBody>
      </p:sp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A68595B6-CC1B-A98E-CDA4-F7C4B0BACFCC}"/>
              </a:ext>
            </a:extLst>
          </p:cNvPr>
          <p:cNvGraphicFramePr>
            <a:graphicFrameLocks noGrp="1"/>
          </p:cNvGraphicFramePr>
          <p:nvPr/>
        </p:nvGraphicFramePr>
        <p:xfrm>
          <a:off x="289258" y="1639402"/>
          <a:ext cx="8647938" cy="2352868"/>
        </p:xfrm>
        <a:graphic>
          <a:graphicData uri="http://schemas.openxmlformats.org/drawingml/2006/table">
            <a:tbl>
              <a:tblPr/>
              <a:tblGrid>
                <a:gridCol w="1930341">
                  <a:extLst>
                    <a:ext uri="{9D8B030D-6E8A-4147-A177-3AD203B41FA5}">
                      <a16:colId xmlns:a16="http://schemas.microsoft.com/office/drawing/2014/main" val="1682389709"/>
                    </a:ext>
                  </a:extLst>
                </a:gridCol>
                <a:gridCol w="1728140">
                  <a:extLst>
                    <a:ext uri="{9D8B030D-6E8A-4147-A177-3AD203B41FA5}">
                      <a16:colId xmlns:a16="http://schemas.microsoft.com/office/drawing/2014/main" val="4199012466"/>
                    </a:ext>
                  </a:extLst>
                </a:gridCol>
                <a:gridCol w="1903238">
                  <a:extLst>
                    <a:ext uri="{9D8B030D-6E8A-4147-A177-3AD203B41FA5}">
                      <a16:colId xmlns:a16="http://schemas.microsoft.com/office/drawing/2014/main" val="3863608140"/>
                    </a:ext>
                  </a:extLst>
                </a:gridCol>
                <a:gridCol w="1522590">
                  <a:extLst>
                    <a:ext uri="{9D8B030D-6E8A-4147-A177-3AD203B41FA5}">
                      <a16:colId xmlns:a16="http://schemas.microsoft.com/office/drawing/2014/main" val="593423312"/>
                    </a:ext>
                  </a:extLst>
                </a:gridCol>
                <a:gridCol w="1563629">
                  <a:extLst>
                    <a:ext uri="{9D8B030D-6E8A-4147-A177-3AD203B41FA5}">
                      <a16:colId xmlns:a16="http://schemas.microsoft.com/office/drawing/2014/main" val="3026585739"/>
                    </a:ext>
                  </a:extLst>
                </a:gridCol>
              </a:tblGrid>
              <a:tr h="266918">
                <a:tc>
                  <a:txBody>
                    <a:bodyPr/>
                    <a:lstStyle/>
                    <a:p>
                      <a:pPr marL="0" marR="0" lvl="0" indent="0" algn="ctr" defTabSz="9135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УРОВЕНЬ ОБРАЗЦА</a:t>
                      </a:r>
                    </a:p>
                  </a:txBody>
                  <a:tcPr marL="7613" marR="7613" marT="761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07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ФЕДЕРАЛЬНЫЙ +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ФЕДЕРАЛЬНЫЙ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РЕГИОНАЛЬНЫЙ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ЕСТНЫЙ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5014814"/>
                  </a:ext>
                </a:extLst>
              </a:tr>
              <a:tr h="2800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Уровень признания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ФОИВ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ли</a:t>
                      </a:r>
                      <a:r>
                        <a:rPr lang="ru-RU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ОЦК ФОИВ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ФОИВ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ли</a:t>
                      </a:r>
                      <a:r>
                        <a:rPr lang="ru-RU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координационный комитет Клуба Губернаторов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равительство региона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О</a:t>
                      </a:r>
                      <a:r>
                        <a:rPr lang="ru-RU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БП или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отраслевой центр компетенций региона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551574"/>
                  </a:ext>
                </a:extLst>
              </a:tr>
              <a:tr h="2800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оответствие федеральным критериям, при наличии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ерхний уровень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е ниже среднего уровня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Базовый уровень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е обязательно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2429332"/>
                  </a:ext>
                </a:extLst>
              </a:tr>
              <a:tr h="2800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Готовность к передаче опыта </a:t>
                      </a:r>
                      <a:b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</a:b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а своей площадке, период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07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е менее 3 лет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е менее года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е менее 9 месяцев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е менее 6 месяцев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0574"/>
                  </a:ext>
                </a:extLst>
              </a:tr>
              <a:tr h="2800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ремя действия результатов </a:t>
                      </a:r>
                      <a:b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</a:b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ПКО для образца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 года с промежуточным</a:t>
                      </a:r>
                      <a:r>
                        <a:rPr lang="ru-RU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подтверждением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 раз в 2 года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 года с однократным промежуточным</a:t>
                      </a:r>
                      <a:r>
                        <a:rPr lang="ru-RU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подтверждением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 года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 год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295899"/>
                  </a:ext>
                </a:extLst>
              </a:tr>
              <a:tr h="9658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Эксперты - члены комиссии</a:t>
                      </a:r>
                      <a:b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</a:br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(вся команда ППКО </a:t>
                      </a:r>
                      <a:r>
                        <a:rPr lang="ru-RU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3-7 человек</a:t>
                      </a:r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5710" marR="5710" marT="571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79375" algn="l" defTabSz="91415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spc="-15" dirty="0">
                          <a:latin typeface="+mn-lt"/>
                          <a:cs typeface="Times New Roman" panose="02020603050405020304" pitchFamily="18" charset="0"/>
                        </a:rPr>
                        <a:t>2-3 представителя из других регионов </a:t>
                      </a:r>
                    </a:p>
                    <a:p>
                      <a:pPr marL="171450" marR="0" lvl="0" indent="-79375" algn="l" defTabSz="91415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spc="-15" dirty="0">
                          <a:latin typeface="+mn-lt"/>
                          <a:cs typeface="Times New Roman" panose="02020603050405020304" pitchFamily="18" charset="0"/>
                        </a:rPr>
                        <a:t>Представитель АО «ПСР» или «Мастерская эффективности «Сенеж»»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171450" indent="-7937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редставитель ОЦК профильного ФОИВ </a:t>
                      </a:r>
                    </a:p>
                  </a:txBody>
                  <a:tcPr marL="5710" marR="5710" marT="571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79375" algn="l" defTabSz="91415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spc="-15" dirty="0">
                          <a:latin typeface="+mn-lt"/>
                          <a:cs typeface="Times New Roman" panose="02020603050405020304" pitchFamily="18" charset="0"/>
                        </a:rPr>
                        <a:t>2-3 представителя из других регионов </a:t>
                      </a:r>
                    </a:p>
                    <a:p>
                      <a:pPr marL="171450" indent="-7937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900" spc="-15" dirty="0">
                          <a:latin typeface="+mn-lt"/>
                          <a:cs typeface="Times New Roman" panose="02020603050405020304" pitchFamily="18" charset="0"/>
                        </a:rPr>
                        <a:t>Представитель АО «ПСР» или «Мастерская эффективности «Сенеж»» 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ru-RU" sz="900" spc="-15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10" marR="5710" marT="571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79375" algn="l" defTabSz="91415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редставитель организации той же отрасли / ПО БП региона</a:t>
                      </a:r>
                    </a:p>
                    <a:p>
                      <a:pPr marL="171450" indent="-7937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редставитель из той же или другой отрасли (своего региона или другого)</a:t>
                      </a:r>
                    </a:p>
                  </a:txBody>
                  <a:tcPr marL="5710" marR="5710" marT="571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7937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редставители организации той же отрасли / ПО БП региона</a:t>
                      </a:r>
                    </a:p>
                  </a:txBody>
                  <a:tcPr marL="5710" marR="5710" marT="571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4299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2756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32039" y="196937"/>
            <a:ext cx="7207730" cy="329894"/>
          </a:xfrm>
        </p:spPr>
        <p:txBody>
          <a:bodyPr/>
          <a:lstStyle/>
          <a:p>
            <a:r>
              <a:rPr lang="ru-RU" sz="1500" dirty="0">
                <a:solidFill>
                  <a:schemeClr val="bg2">
                    <a:lumMod val="10000"/>
                  </a:schemeClr>
                </a:solidFill>
              </a:rPr>
              <a:t>Образцы в разрезе социально-экономических сфер и регионов 31.12.2025</a:t>
            </a:r>
            <a:endParaRPr lang="ru-RU" sz="1500" dirty="0">
              <a:solidFill>
                <a:srgbClr val="468ABC"/>
              </a:solidFill>
            </a:endParaRP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162C7003-F249-4E71-AC08-DD9F2649B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6192427"/>
              </p:ext>
            </p:extLst>
          </p:nvPr>
        </p:nvGraphicFramePr>
        <p:xfrm>
          <a:off x="232039" y="726440"/>
          <a:ext cx="7772400" cy="4041352"/>
        </p:xfrm>
        <a:graphic>
          <a:graphicData uri="http://schemas.openxmlformats.org/drawingml/2006/table">
            <a:tbl>
              <a:tblPr bandRow="1">
                <a:tableStyleId>{8A107856-5554-42FB-B03E-39F5DBC370BA}</a:tableStyleId>
              </a:tblPr>
              <a:tblGrid>
                <a:gridCol w="536028">
                  <a:extLst>
                    <a:ext uri="{9D8B030D-6E8A-4147-A177-3AD203B41FA5}">
                      <a16:colId xmlns:a16="http://schemas.microsoft.com/office/drawing/2014/main" val="2445503481"/>
                    </a:ext>
                  </a:extLst>
                </a:gridCol>
                <a:gridCol w="2534964">
                  <a:extLst>
                    <a:ext uri="{9D8B030D-6E8A-4147-A177-3AD203B41FA5}">
                      <a16:colId xmlns:a16="http://schemas.microsoft.com/office/drawing/2014/main" val="197701775"/>
                    </a:ext>
                  </a:extLst>
                </a:gridCol>
                <a:gridCol w="1194894">
                  <a:extLst>
                    <a:ext uri="{9D8B030D-6E8A-4147-A177-3AD203B41FA5}">
                      <a16:colId xmlns:a16="http://schemas.microsoft.com/office/drawing/2014/main" val="1451382251"/>
                    </a:ext>
                  </a:extLst>
                </a:gridCol>
                <a:gridCol w="1005051">
                  <a:extLst>
                    <a:ext uri="{9D8B030D-6E8A-4147-A177-3AD203B41FA5}">
                      <a16:colId xmlns:a16="http://schemas.microsoft.com/office/drawing/2014/main" val="959015984"/>
                    </a:ext>
                  </a:extLst>
                </a:gridCol>
                <a:gridCol w="1083223">
                  <a:extLst>
                    <a:ext uri="{9D8B030D-6E8A-4147-A177-3AD203B41FA5}">
                      <a16:colId xmlns:a16="http://schemas.microsoft.com/office/drawing/2014/main" val="1269455097"/>
                    </a:ext>
                  </a:extLst>
                </a:gridCol>
                <a:gridCol w="882212">
                  <a:extLst>
                    <a:ext uri="{9D8B030D-6E8A-4147-A177-3AD203B41FA5}">
                      <a16:colId xmlns:a16="http://schemas.microsoft.com/office/drawing/2014/main" val="4277346955"/>
                    </a:ext>
                  </a:extLst>
                </a:gridCol>
                <a:gridCol w="536028">
                  <a:extLst>
                    <a:ext uri="{9D8B030D-6E8A-4147-A177-3AD203B41FA5}">
                      <a16:colId xmlns:a16="http://schemas.microsoft.com/office/drawing/2014/main" val="2656414188"/>
                    </a:ext>
                  </a:extLst>
                </a:gridCol>
              </a:tblGrid>
              <a:tr h="844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>
                          <a:effectLst/>
                        </a:rPr>
                        <a:t>№ п/п</a:t>
                      </a:r>
                      <a:endParaRPr lang="ru-RU" sz="7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>
                          <a:effectLst/>
                        </a:rPr>
                        <a:t>Регион</a:t>
                      </a:r>
                      <a:endParaRPr lang="ru-RU" sz="7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>
                          <a:effectLst/>
                        </a:rPr>
                        <a:t>Федеральный+</a:t>
                      </a:r>
                      <a:endParaRPr lang="ru-RU" sz="7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>
                          <a:effectLst/>
                        </a:rPr>
                        <a:t>Федеральный</a:t>
                      </a:r>
                      <a:endParaRPr lang="ru-RU" sz="7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>
                          <a:effectLst/>
                        </a:rPr>
                        <a:t>Региональный</a:t>
                      </a:r>
                      <a:endParaRPr lang="ru-RU" sz="7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>
                          <a:effectLst/>
                        </a:rPr>
                        <a:t>Местный</a:t>
                      </a:r>
                      <a:endParaRPr lang="ru-RU" sz="7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ru-RU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463626170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Республика Удмуртия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4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6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3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5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1719077212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Сахалин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8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40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1135242180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Санкт-Петербург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6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30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2519000401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4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Воронеж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0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3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2282242345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5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Тюмен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9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6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4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19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4033026800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6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Нижегород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9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10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1346508195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7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Белгород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6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7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5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38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3095329462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8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Краснодарский край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5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9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37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3798556239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9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Липец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5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6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9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20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1704561217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10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Новгород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5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5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7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17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597673854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1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Республика Саха-Якутия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5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4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9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2803720574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1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Кемеровская область - Кузбасс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5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10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956507553"/>
                  </a:ext>
                </a:extLst>
              </a:tr>
              <a:tr h="83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1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Челябин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4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6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3458180887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14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Ростов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4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5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1499355063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15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Орлов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7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10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975798220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16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Калининград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8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1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2328121261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17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Ставропольский край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5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10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739294672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18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Чувашская Республика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6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9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1234808034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19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Забайкальский край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7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27108940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20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Кур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2484298882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2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Киров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1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1168234893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2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Пермский край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4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8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4225439604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2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Курган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3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1468796311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24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Том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3628021424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25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Амур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3240353336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26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Калуж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3143725231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u="none" strike="noStrike">
                          <a:effectLst/>
                        </a:rPr>
                        <a:t>27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Рязанская область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4142861096"/>
                  </a:ext>
                </a:extLst>
              </a:tr>
              <a:tr h="11366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>
                          <a:effectLst/>
                        </a:rPr>
                        <a:t>ИТОГО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2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51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132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 dirty="0">
                          <a:effectLst/>
                        </a:rPr>
                        <a:t>40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248" marR="3248" marT="3248" marB="0" anchor="b"/>
                </a:tc>
                <a:extLst>
                  <a:ext uri="{0D108BD9-81ED-4DB2-BD59-A6C34878D82A}">
                    <a16:rowId xmlns:a16="http://schemas.microsoft.com/office/drawing/2014/main" val="20245284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79138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9" name="Заголовок 8">
            <a:extLst>
              <a:ext uri="{FF2B5EF4-FFF2-40B4-BE49-F238E27FC236}">
                <a16:creationId xmlns:a16="http://schemas.microsoft.com/office/drawing/2014/main" id="{41FCCCFB-A1A1-4547-B98F-23F067DFBDC8}"/>
              </a:ext>
            </a:extLst>
          </p:cNvPr>
          <p:cNvSpPr txBox="1">
            <a:spLocks/>
          </p:cNvSpPr>
          <p:nvPr/>
        </p:nvSpPr>
        <p:spPr bwMode="auto">
          <a:xfrm>
            <a:off x="679880" y="283159"/>
            <a:ext cx="6266870" cy="374631"/>
          </a:xfrm>
          <a:prstGeom prst="rect">
            <a:avLst/>
          </a:prstGeom>
          <a:solidFill>
            <a:schemeClr val="bg1"/>
          </a:solidFill>
        </p:spPr>
        <p:txBody>
          <a:bodyPr vert="horz" lIns="91355" tIns="45678" rIns="91355" bIns="4567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554">
              <a:defRPr/>
            </a:pPr>
            <a:r>
              <a:rPr lang="ru-RU" sz="1399" b="1" dirty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хват образцами социально-экономической сферы 2025</a:t>
            </a:r>
          </a:p>
        </p:txBody>
      </p:sp>
      <p:graphicFrame>
        <p:nvGraphicFramePr>
          <p:cNvPr id="28" name="Диаграмма 27">
            <a:extLst>
              <a:ext uri="{FF2B5EF4-FFF2-40B4-BE49-F238E27FC236}">
                <a16:creationId xmlns:a16="http://schemas.microsoft.com/office/drawing/2014/main" id="{A4AE8C8E-9EFE-4CF3-B7B3-0E277CE5B63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4739551"/>
              </p:ext>
            </p:extLst>
          </p:nvPr>
        </p:nvGraphicFramePr>
        <p:xfrm>
          <a:off x="292100" y="648812"/>
          <a:ext cx="8356600" cy="4499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647345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25293" y="306943"/>
            <a:ext cx="7276010" cy="290098"/>
          </a:xfrm>
        </p:spPr>
        <p:txBody>
          <a:bodyPr/>
          <a:lstStyle/>
          <a:p>
            <a:r>
              <a:rPr lang="ru-RU" sz="1575" dirty="0">
                <a:solidFill>
                  <a:schemeClr val="tx1"/>
                </a:solidFill>
                <a:latin typeface="Arial"/>
                <a:cs typeface="Arial" panose="020B0604020202020204" pitchFamily="34" charset="0"/>
              </a:rPr>
              <a:t>ЛИДЕРСТВО «ЭФФЕКТИВНЫХ ГУБЕРНАТОРОВ» В ШТАБНОЙ ВЕРТИКАЛИ НАЦПРОЕКТА «ПРОИЗВОДИТЕЛЬНОСТЬ 2.0»</a:t>
            </a:r>
            <a:endParaRPr lang="ru-RU" sz="1575" dirty="0">
              <a:solidFill>
                <a:schemeClr val="tx1"/>
              </a:solidFill>
            </a:endParaRP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44E298E6-4B33-4952-8EF8-3AFF8C18F74C}"/>
              </a:ext>
            </a:extLst>
          </p:cNvPr>
          <p:cNvSpPr txBox="1"/>
          <p:nvPr/>
        </p:nvSpPr>
        <p:spPr bwMode="auto">
          <a:xfrm>
            <a:off x="694001" y="1292669"/>
            <a:ext cx="3060955" cy="1705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hlink"/>
                </a:solidFill>
                <a:latin typeface="Arial"/>
                <a:cs typeface="Arial"/>
              </a:defRPr>
            </a:lvl2pPr>
            <a:lvl3pPr algn="l"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hlink"/>
                </a:solidFill>
                <a:latin typeface="Arial"/>
                <a:cs typeface="Arial"/>
              </a:defRPr>
            </a:lvl3pPr>
            <a:lvl4pPr algn="l"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hlink"/>
                </a:solidFill>
                <a:latin typeface="Arial"/>
                <a:cs typeface="Arial"/>
              </a:defRPr>
            </a:lvl4pPr>
            <a:lvl5pPr algn="l"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hlink"/>
                </a:solidFill>
                <a:latin typeface="Arial"/>
                <a:cs typeface="Arial"/>
              </a:defRPr>
            </a:lvl5pPr>
            <a:lvl6pPr marL="457200" algn="l"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hlink"/>
                </a:solidFill>
                <a:latin typeface="Arial"/>
                <a:cs typeface="Arial"/>
              </a:defRPr>
            </a:lvl6pPr>
            <a:lvl7pPr marL="914400" algn="l"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hlink"/>
                </a:solidFill>
                <a:latin typeface="Arial"/>
                <a:cs typeface="Arial"/>
              </a:defRPr>
            </a:lvl7pPr>
            <a:lvl8pPr marL="1371600" algn="l"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hlink"/>
                </a:solidFill>
                <a:latin typeface="Arial"/>
                <a:cs typeface="Arial"/>
              </a:defRPr>
            </a:lvl8pPr>
            <a:lvl9pPr marL="1828800" algn="l"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hlink"/>
                </a:solidFill>
                <a:latin typeface="Arial"/>
                <a:cs typeface="Arial"/>
              </a:defRPr>
            </a:lvl9pPr>
          </a:lstStyle>
          <a:p>
            <a:pPr algn="ctr" defTabSz="684533">
              <a:tabLst>
                <a:tab pos="4229599" algn="l"/>
              </a:tabLst>
              <a:defRPr/>
            </a:pPr>
            <a:endParaRPr lang="ru-RU" sz="899" b="0" dirty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7" name="Таблица 8">
            <a:extLst>
              <a:ext uri="{FF2B5EF4-FFF2-40B4-BE49-F238E27FC236}">
                <a16:creationId xmlns:a16="http://schemas.microsoft.com/office/drawing/2014/main" id="{3CD86A3A-DF57-4579-A386-E85F844BA21F}"/>
              </a:ext>
            </a:extLst>
          </p:cNvPr>
          <p:cNvGraphicFramePr>
            <a:graphicFrameLocks noGrp="1"/>
          </p:cNvGraphicFramePr>
          <p:nvPr/>
        </p:nvGraphicFramePr>
        <p:xfrm>
          <a:off x="146418" y="925493"/>
          <a:ext cx="6291182" cy="3960064"/>
        </p:xfrm>
        <a:graphic>
          <a:graphicData uri="http://schemas.openxmlformats.org/drawingml/2006/table">
            <a:tbl>
              <a:tblPr firstRow="1" bandRow="1"/>
              <a:tblGrid>
                <a:gridCol w="8906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15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66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40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02925">
                  <a:extLst>
                    <a:ext uri="{9D8B030D-6E8A-4147-A177-3AD203B41FA5}">
                      <a16:colId xmlns:a16="http://schemas.microsoft.com/office/drawing/2014/main" val="4186675380"/>
                    </a:ext>
                  </a:extLst>
                </a:gridCol>
                <a:gridCol w="1575277">
                  <a:extLst>
                    <a:ext uri="{9D8B030D-6E8A-4147-A177-3AD203B41FA5}">
                      <a16:colId xmlns:a16="http://schemas.microsoft.com/office/drawing/2014/main" val="3492131329"/>
                    </a:ext>
                  </a:extLst>
                </a:gridCol>
              </a:tblGrid>
              <a:tr h="125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9327607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мская обл.</a:t>
                      </a:r>
                    </a:p>
                    <a:p>
                      <a:pPr algn="l"/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Татарстан</a:t>
                      </a:r>
                      <a:endParaRPr lang="en-US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лужская обл.</a:t>
                      </a:r>
                    </a:p>
                    <a:p>
                      <a:pPr algn="l"/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мурская обл.</a:t>
                      </a:r>
                    </a:p>
                    <a:p>
                      <a:pPr algn="l"/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Удмуртия</a:t>
                      </a:r>
                    </a:p>
                    <a:p>
                      <a:pPr marL="0" marR="0" lvl="0" indent="0" algn="l" defTabSz="9135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мбовская область</a:t>
                      </a:r>
                    </a:p>
                  </a:txBody>
                  <a:tcPr marL="53900" marR="0" marT="0" marB="0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665396"/>
                  </a:ext>
                </a:extLst>
              </a:tr>
              <a:tr h="6571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341" marR="51341" marT="25670" marB="256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341" marR="51341" marT="25670" marB="25670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341" marR="51341" marT="25670" marB="25670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341" marR="51341" marT="25670" marB="25670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l"/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лининградская обл. Владимирская </a:t>
                      </a:r>
                      <a:r>
                        <a:rPr lang="ru-RU" sz="6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л</a:t>
                      </a:r>
                      <a:r>
                        <a:rPr lang="en-US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algn="l"/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городская</a:t>
                      </a:r>
                      <a:r>
                        <a:rPr lang="ru-RU" sz="6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л</a:t>
                      </a: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341" marR="51341" marT="25670" marB="25670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НР </a:t>
                      </a:r>
                      <a:r>
                        <a:rPr lang="ru-RU" sz="8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чный контроль Кириенко С.В.:</a:t>
                      </a:r>
                      <a:endParaRPr lang="en-US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341" marR="51341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4122"/>
                  </a:ext>
                </a:extLst>
              </a:tr>
              <a:tr h="1427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341" marR="51341" marT="25670" marB="256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341" marR="51341" marT="25670" marB="25670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341" marR="51341" marT="25670" marB="25670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Санкт-Петербург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ронежская</a:t>
                      </a:r>
                      <a:r>
                        <a:rPr lang="en-US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л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ская обл.</a:t>
                      </a:r>
                      <a:endParaRPr lang="en-US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мский край</a:t>
                      </a:r>
                    </a:p>
                  </a:txBody>
                  <a:tcPr marL="51341" marR="51341" marT="25670" marB="25670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341" marR="51341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341" marR="51341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18000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657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ганская обл.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Саха (Якутия)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дарский край</a:t>
                      </a:r>
                    </a:p>
                    <a:p>
                      <a:pPr marL="63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овская обл.</a:t>
                      </a:r>
                    </a:p>
                    <a:p>
                      <a:pPr marL="63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ловская обл.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рманская обл.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ябинская обл.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байкальский край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ропольский край</a:t>
                      </a:r>
                    </a:p>
                  </a:txBody>
                  <a:tcPr marL="20213" marR="10107" marT="25670" marB="25670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Чувашия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льяновская обл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вановская обл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юменская обл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мская обл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укотский АО</a:t>
                      </a:r>
                    </a:p>
                    <a:p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85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лгородская обл.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Дагестан</a:t>
                      </a:r>
                    </a:p>
                    <a:p>
                      <a:pPr marL="63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меровская обл.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халинская обл.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пецкая обл.</a:t>
                      </a:r>
                    </a:p>
                  </a:txBody>
                  <a:tcPr marL="20213" marR="10107" marT="25670" marB="25670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999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язанская обл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Адыгея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в. Осетия-Алания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егородская обл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ировская обл.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. Башкортостан</a:t>
                      </a:r>
                      <a:endParaRPr lang="en-US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0213" marR="10107" marT="25670" marB="2567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-20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-202</a:t>
                      </a:r>
                      <a:r>
                        <a:rPr lang="en-US" sz="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319448"/>
                  </a:ext>
                </a:extLst>
              </a:tr>
            </a:tbl>
          </a:graphicData>
        </a:graphic>
      </p:graphicFrame>
      <p:sp>
        <p:nvSpPr>
          <p:cNvPr id="28" name="Прямоугольник 9">
            <a:extLst>
              <a:ext uri="{FF2B5EF4-FFF2-40B4-BE49-F238E27FC236}">
                <a16:creationId xmlns:a16="http://schemas.microsoft.com/office/drawing/2014/main" id="{C647F696-4833-4DE1-BAFD-38E87E842BEF}"/>
              </a:ext>
            </a:extLst>
          </p:cNvPr>
          <p:cNvSpPr/>
          <p:nvPr/>
        </p:nvSpPr>
        <p:spPr bwMode="auto">
          <a:xfrm>
            <a:off x="146418" y="3889976"/>
            <a:ext cx="969314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5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98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29" name="Прямоугольник 10">
            <a:extLst>
              <a:ext uri="{FF2B5EF4-FFF2-40B4-BE49-F238E27FC236}">
                <a16:creationId xmlns:a16="http://schemas.microsoft.com/office/drawing/2014/main" id="{886249AC-F972-4F3F-AC6B-7F5A228FCB35}"/>
              </a:ext>
            </a:extLst>
          </p:cNvPr>
          <p:cNvSpPr/>
          <p:nvPr/>
        </p:nvSpPr>
        <p:spPr bwMode="auto">
          <a:xfrm>
            <a:off x="957098" y="3345281"/>
            <a:ext cx="962235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5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98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1498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0" name="Прямоугольник 11">
            <a:extLst>
              <a:ext uri="{FF2B5EF4-FFF2-40B4-BE49-F238E27FC236}">
                <a16:creationId xmlns:a16="http://schemas.microsoft.com/office/drawing/2014/main" id="{8F2D529F-FB88-456C-9CD5-CEEB8E3EE42F}"/>
              </a:ext>
            </a:extLst>
          </p:cNvPr>
          <p:cNvSpPr/>
          <p:nvPr/>
        </p:nvSpPr>
        <p:spPr bwMode="auto">
          <a:xfrm>
            <a:off x="1803599" y="2429044"/>
            <a:ext cx="1129425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5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98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1498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31" name="Прямоугольник 13">
            <a:extLst>
              <a:ext uri="{FF2B5EF4-FFF2-40B4-BE49-F238E27FC236}">
                <a16:creationId xmlns:a16="http://schemas.microsoft.com/office/drawing/2014/main" id="{658F19A6-B80F-465A-B330-46520DE9FC11}"/>
              </a:ext>
            </a:extLst>
          </p:cNvPr>
          <p:cNvSpPr/>
          <p:nvPr/>
        </p:nvSpPr>
        <p:spPr bwMode="auto">
          <a:xfrm>
            <a:off x="2705862" y="1987640"/>
            <a:ext cx="1049093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5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98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1498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32" name="Прямоугольник 14">
            <a:extLst>
              <a:ext uri="{FF2B5EF4-FFF2-40B4-BE49-F238E27FC236}">
                <a16:creationId xmlns:a16="http://schemas.microsoft.com/office/drawing/2014/main" id="{F4FA2F97-28A4-4D8D-873E-697B7D6F57FD}"/>
              </a:ext>
            </a:extLst>
          </p:cNvPr>
          <p:cNvSpPr/>
          <p:nvPr/>
        </p:nvSpPr>
        <p:spPr bwMode="auto">
          <a:xfrm>
            <a:off x="3797902" y="1271854"/>
            <a:ext cx="1049093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5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98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1498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7" name="Прямоугольник 23">
            <a:extLst>
              <a:ext uri="{FF2B5EF4-FFF2-40B4-BE49-F238E27FC236}">
                <a16:creationId xmlns:a16="http://schemas.microsoft.com/office/drawing/2014/main" id="{39E6C5EF-B3DF-4DC3-9DF5-1FED446C7EA3}"/>
              </a:ext>
            </a:extLst>
          </p:cNvPr>
          <p:cNvSpPr/>
          <p:nvPr/>
        </p:nvSpPr>
        <p:spPr bwMode="auto">
          <a:xfrm>
            <a:off x="366663" y="3753228"/>
            <a:ext cx="529312" cy="2135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42583">
              <a:defRPr/>
            </a:pPr>
            <a:r>
              <a:rPr lang="ru-RU" sz="788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лоты</a:t>
            </a:r>
            <a:endParaRPr lang="ru-RU" sz="2396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32">
            <a:extLst>
              <a:ext uri="{FF2B5EF4-FFF2-40B4-BE49-F238E27FC236}">
                <a16:creationId xmlns:a16="http://schemas.microsoft.com/office/drawing/2014/main" id="{5B186997-6D37-4FD8-A3F3-E0F704C6A6AC}"/>
              </a:ext>
            </a:extLst>
          </p:cNvPr>
          <p:cNvSpPr/>
          <p:nvPr/>
        </p:nvSpPr>
        <p:spPr bwMode="auto">
          <a:xfrm>
            <a:off x="5123404" y="759099"/>
            <a:ext cx="1049093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5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98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1498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= 40</a:t>
            </a:r>
          </a:p>
        </p:txBody>
      </p:sp>
      <p:sp>
        <p:nvSpPr>
          <p:cNvPr id="47" name="TextBox 68">
            <a:extLst>
              <a:ext uri="{FF2B5EF4-FFF2-40B4-BE49-F238E27FC236}">
                <a16:creationId xmlns:a16="http://schemas.microsoft.com/office/drawing/2014/main" id="{3B9A75AA-9AFB-4875-BD6A-13A98EC60710}"/>
              </a:ext>
            </a:extLst>
          </p:cNvPr>
          <p:cNvSpPr txBox="1"/>
          <p:nvPr/>
        </p:nvSpPr>
        <p:spPr bwMode="auto">
          <a:xfrm>
            <a:off x="6536297" y="869350"/>
            <a:ext cx="2451932" cy="27062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342583">
              <a:defRPr/>
            </a:pPr>
            <a:endParaRPr sz="1797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Прямоугольник 29">
            <a:extLst>
              <a:ext uri="{FF2B5EF4-FFF2-40B4-BE49-F238E27FC236}">
                <a16:creationId xmlns:a16="http://schemas.microsoft.com/office/drawing/2014/main" id="{4EA7EA35-EB03-4F52-9EE0-922D386266A4}"/>
              </a:ext>
            </a:extLst>
          </p:cNvPr>
          <p:cNvSpPr/>
          <p:nvPr/>
        </p:nvSpPr>
        <p:spPr bwMode="auto">
          <a:xfrm>
            <a:off x="3817636" y="3505762"/>
            <a:ext cx="2407967" cy="9225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defTabSz="342583">
              <a:defRPr/>
            </a:pPr>
            <a:r>
              <a:rPr lang="ru-RU" sz="89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ый регион двигается: </a:t>
            </a:r>
          </a:p>
          <a:p>
            <a:pPr marL="177635" indent="-177635" defTabSz="342583">
              <a:buFont typeface="Arial" panose="020B0604020202020204" pitchFamily="34" charset="0"/>
              <a:buChar char="•"/>
              <a:defRPr/>
            </a:pPr>
            <a:r>
              <a:rPr lang="ru-RU" sz="89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разной моделью управления</a:t>
            </a:r>
          </a:p>
          <a:p>
            <a:pPr marL="177635" indent="-177635" defTabSz="342583">
              <a:buFont typeface="Arial" panose="020B0604020202020204" pitchFamily="34" charset="0"/>
              <a:buChar char="•"/>
              <a:defRPr/>
            </a:pPr>
            <a:r>
              <a:rPr lang="ru-RU" sz="89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 своей скоростью и активностью</a:t>
            </a:r>
          </a:p>
          <a:p>
            <a:pPr marL="177635" indent="-177635" defTabSz="342583">
              <a:buFont typeface="Arial" panose="020B0604020202020204" pitchFamily="34" charset="0"/>
              <a:buChar char="•"/>
              <a:defRPr/>
            </a:pPr>
            <a:r>
              <a:rPr lang="ru-RU" sz="89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 своей шириной и глубиной охвата</a:t>
            </a:r>
          </a:p>
          <a:p>
            <a:pPr marL="177635" indent="-177635" defTabSz="342583">
              <a:buFont typeface="Arial" panose="020B0604020202020204" pitchFamily="34" charset="0"/>
              <a:buChar char="•"/>
              <a:defRPr/>
            </a:pPr>
            <a:r>
              <a:rPr lang="ru-RU" sz="89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опорой на разные отрасли</a:t>
            </a:r>
          </a:p>
          <a:p>
            <a:pPr marL="177635" indent="-177635" defTabSz="342583">
              <a:buFont typeface="Arial" panose="020B0604020202020204" pitchFamily="34" charset="0"/>
              <a:buChar char="•"/>
              <a:defRPr/>
            </a:pPr>
            <a:r>
              <a:rPr lang="ru-RU" sz="89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особенностями менталитета</a:t>
            </a:r>
          </a:p>
        </p:txBody>
      </p:sp>
      <p:sp>
        <p:nvSpPr>
          <p:cNvPr id="4" name="Прямоугольник 15">
            <a:extLst>
              <a:ext uri="{FF2B5EF4-FFF2-40B4-BE49-F238E27FC236}">
                <a16:creationId xmlns:a16="http://schemas.microsoft.com/office/drawing/2014/main" id="{387C184B-28BD-08C7-CB7F-940A4EBFA15E}"/>
              </a:ext>
            </a:extLst>
          </p:cNvPr>
          <p:cNvSpPr/>
          <p:nvPr/>
        </p:nvSpPr>
        <p:spPr bwMode="auto">
          <a:xfrm>
            <a:off x="103470" y="1844597"/>
            <a:ext cx="1012262" cy="8169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342583">
              <a:lnSpc>
                <a:spcPct val="114000"/>
              </a:lnSpc>
              <a:defRPr/>
            </a:pPr>
            <a:r>
              <a:rPr lang="ru-RU" sz="698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14 фев 2017 г. </a:t>
            </a:r>
            <a:r>
              <a:rPr lang="ru-RU" sz="698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 </a:t>
            </a:r>
            <a:br>
              <a:rPr lang="ru-RU" sz="698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698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Наб. совет </a:t>
            </a:r>
            <a:br>
              <a:rPr lang="ru-RU" sz="698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698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ГК «Росатом»</a:t>
            </a:r>
          </a:p>
          <a:p>
            <a:pPr defTabSz="342583">
              <a:lnSpc>
                <a:spcPct val="114000"/>
              </a:lnSpc>
              <a:defRPr/>
            </a:pPr>
            <a:r>
              <a:rPr lang="ru-RU" sz="698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принял решение </a:t>
            </a:r>
            <a:br>
              <a:rPr lang="ru-RU" sz="698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698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о работе ПСР </a:t>
            </a:r>
            <a:br>
              <a:rPr lang="ru-RU" sz="698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698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по заказу ФОИВ</a:t>
            </a:r>
          </a:p>
        </p:txBody>
      </p:sp>
      <p:sp>
        <p:nvSpPr>
          <p:cNvPr id="5" name="Равнобедренный треугольник 16">
            <a:extLst>
              <a:ext uri="{FF2B5EF4-FFF2-40B4-BE49-F238E27FC236}">
                <a16:creationId xmlns:a16="http://schemas.microsoft.com/office/drawing/2014/main" id="{F7FC33B6-6DC4-9997-902F-B86C1B3EF97A}"/>
              </a:ext>
            </a:extLst>
          </p:cNvPr>
          <p:cNvSpPr/>
          <p:nvPr/>
        </p:nvSpPr>
        <p:spPr bwMode="auto">
          <a:xfrm rot="10800000">
            <a:off x="170340" y="2648881"/>
            <a:ext cx="99243" cy="226661"/>
          </a:xfrm>
          <a:prstGeom prst="triangle">
            <a:avLst/>
          </a:prstGeom>
          <a:solidFill>
            <a:srgbClr val="1F43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583">
              <a:defRPr/>
            </a:pPr>
            <a:endParaRPr lang="ru-RU" sz="1797">
              <a:solidFill>
                <a:prstClr val="white"/>
              </a:solidFill>
              <a:latin typeface="Arial"/>
            </a:endParaRPr>
          </a:p>
        </p:txBody>
      </p:sp>
      <p:pic>
        <p:nvPicPr>
          <p:cNvPr id="6" name="Рисунок 17">
            <a:extLst>
              <a:ext uri="{FF2B5EF4-FFF2-40B4-BE49-F238E27FC236}">
                <a16:creationId xmlns:a16="http://schemas.microsoft.com/office/drawing/2014/main" id="{D601A2E1-7952-FF88-5D07-BBF83FA7FEB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36272" y="1212659"/>
            <a:ext cx="803886" cy="1006049"/>
          </a:xfrm>
          <a:prstGeom prst="rect">
            <a:avLst/>
          </a:prstGeom>
          <a:ln w="12700">
            <a:solidFill>
              <a:schemeClr val="bg2">
                <a:lumMod val="25000"/>
              </a:schemeClr>
            </a:solidFill>
          </a:ln>
        </p:spPr>
      </p:pic>
      <p:sp>
        <p:nvSpPr>
          <p:cNvPr id="9" name="Равнобедренный треугольник 18">
            <a:extLst>
              <a:ext uri="{FF2B5EF4-FFF2-40B4-BE49-F238E27FC236}">
                <a16:creationId xmlns:a16="http://schemas.microsoft.com/office/drawing/2014/main" id="{EE4998AA-7B36-CF6B-8B80-CCE265279561}"/>
              </a:ext>
            </a:extLst>
          </p:cNvPr>
          <p:cNvSpPr/>
          <p:nvPr/>
        </p:nvSpPr>
        <p:spPr bwMode="auto">
          <a:xfrm rot="10617712">
            <a:off x="1073816" y="2638743"/>
            <a:ext cx="99243" cy="226661"/>
          </a:xfrm>
          <a:prstGeom prst="triangle">
            <a:avLst/>
          </a:prstGeom>
          <a:solidFill>
            <a:srgbClr val="1F43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583">
              <a:defRPr/>
            </a:pPr>
            <a:endParaRPr lang="ru-RU" sz="1797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Прямоугольник 19">
            <a:extLst>
              <a:ext uri="{FF2B5EF4-FFF2-40B4-BE49-F238E27FC236}">
                <a16:creationId xmlns:a16="http://schemas.microsoft.com/office/drawing/2014/main" id="{0ECD065D-5297-00D9-F0B7-83D8D8488283}"/>
              </a:ext>
            </a:extLst>
          </p:cNvPr>
          <p:cNvSpPr/>
          <p:nvPr/>
        </p:nvSpPr>
        <p:spPr bwMode="auto">
          <a:xfrm>
            <a:off x="989433" y="2231187"/>
            <a:ext cx="1041328" cy="414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583">
              <a:defRPr/>
            </a:pPr>
            <a:r>
              <a:rPr lang="ru-RU" sz="698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6 дек 2017 г. </a:t>
            </a:r>
            <a:r>
              <a:rPr lang="ru-RU" sz="698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–</a:t>
            </a:r>
          </a:p>
          <a:p>
            <a:pPr defTabSz="342583">
              <a:defRPr/>
            </a:pPr>
            <a:r>
              <a:rPr lang="ru-RU" sz="698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Письмо Г. Никитина Президенту </a:t>
            </a:r>
            <a:endParaRPr lang="ru-RU" sz="698" dirty="0">
              <a:solidFill>
                <a:prstClr val="black">
                  <a:lumMod val="95000"/>
                  <a:lumOff val="5000"/>
                </a:prstClr>
              </a:solidFill>
              <a:latin typeface="Arial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94C9DD7-688B-F09C-ACC6-626241B63294}"/>
              </a:ext>
            </a:extLst>
          </p:cNvPr>
          <p:cNvSpPr/>
          <p:nvPr/>
        </p:nvSpPr>
        <p:spPr bwMode="auto">
          <a:xfrm>
            <a:off x="6401089" y="1088161"/>
            <a:ext cx="2723839" cy="10610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6777">
              <a:defRPr/>
            </a:pPr>
            <a:r>
              <a:rPr lang="ru-RU" sz="1399" b="1" dirty="0">
                <a:solidFill>
                  <a:srgbClr val="000000"/>
                </a:solidFill>
                <a:latin typeface="Arial"/>
              </a:rPr>
              <a:t>Более 4</a:t>
            </a:r>
            <a:r>
              <a:rPr lang="en-US" sz="1399" b="1" dirty="0">
                <a:solidFill>
                  <a:srgbClr val="000000"/>
                </a:solidFill>
                <a:latin typeface="Arial"/>
              </a:rPr>
              <a:t>5</a:t>
            </a:r>
            <a:r>
              <a:rPr lang="ru-RU" sz="1399" b="1" dirty="0">
                <a:solidFill>
                  <a:srgbClr val="000000"/>
                </a:solidFill>
                <a:latin typeface="Arial"/>
              </a:rPr>
              <a:t>000 </a:t>
            </a:r>
            <a:r>
              <a:rPr lang="ru-RU" sz="1049" b="1" dirty="0">
                <a:solidFill>
                  <a:srgbClr val="000000"/>
                </a:solidFill>
                <a:latin typeface="Arial"/>
              </a:rPr>
              <a:t>проектов </a:t>
            </a:r>
            <a:br>
              <a:rPr lang="ru-RU" sz="1049" b="1" dirty="0">
                <a:solidFill>
                  <a:srgbClr val="000000"/>
                </a:solidFill>
                <a:latin typeface="Arial"/>
              </a:rPr>
            </a:br>
            <a:r>
              <a:rPr lang="ru-RU" sz="1049" b="1" dirty="0">
                <a:solidFill>
                  <a:srgbClr val="000000"/>
                </a:solidFill>
                <a:latin typeface="Arial"/>
              </a:rPr>
              <a:t>в разных сферах</a:t>
            </a:r>
            <a:endParaRPr lang="en-US" sz="1049" b="1" dirty="0">
              <a:solidFill>
                <a:srgbClr val="000000"/>
              </a:solidFill>
              <a:latin typeface="Arial"/>
            </a:endParaRPr>
          </a:p>
          <a:p>
            <a:pPr algn="ctr" defTabSz="456777">
              <a:defRPr/>
            </a:pPr>
            <a:endParaRPr lang="ru-RU" sz="699" b="1" dirty="0">
              <a:solidFill>
                <a:srgbClr val="E7E6E6">
                  <a:lumMod val="10000"/>
                </a:srgbClr>
              </a:solidFill>
              <a:latin typeface="Arial"/>
            </a:endParaRPr>
          </a:p>
          <a:p>
            <a:pPr algn="ctr" defTabSz="456777">
              <a:defRPr/>
            </a:pPr>
            <a:r>
              <a:rPr lang="ru-RU" sz="1049" b="1" dirty="0">
                <a:solidFill>
                  <a:srgbClr val="E7E6E6">
                    <a:lumMod val="10000"/>
                  </a:srgbClr>
                </a:solidFill>
                <a:latin typeface="Arial"/>
              </a:rPr>
              <a:t>ГК «Росатом» принимает непосредственное участие </a:t>
            </a:r>
            <a:br>
              <a:rPr lang="ru-RU" sz="1049" b="1" dirty="0">
                <a:solidFill>
                  <a:srgbClr val="E7E6E6">
                    <a:lumMod val="10000"/>
                  </a:srgbClr>
                </a:solidFill>
                <a:latin typeface="Arial"/>
              </a:rPr>
            </a:br>
            <a:r>
              <a:rPr lang="ru-RU" sz="1049" b="1" dirty="0">
                <a:solidFill>
                  <a:srgbClr val="E7E6E6">
                    <a:lumMod val="10000"/>
                  </a:srgbClr>
                </a:solidFill>
                <a:latin typeface="Arial"/>
              </a:rPr>
              <a:t>в менее</a:t>
            </a:r>
            <a:r>
              <a:rPr lang="en-US" sz="1049" b="1" dirty="0">
                <a:solidFill>
                  <a:srgbClr val="E7E6E6">
                    <a:lumMod val="10000"/>
                  </a:srgbClr>
                </a:solidFill>
                <a:latin typeface="Arial"/>
              </a:rPr>
              <a:t> 1 </a:t>
            </a:r>
            <a:r>
              <a:rPr lang="ru-RU" sz="1049" b="1" dirty="0">
                <a:solidFill>
                  <a:srgbClr val="E7E6E6">
                    <a:lumMod val="10000"/>
                  </a:srgbClr>
                </a:solidFill>
                <a:latin typeface="Arial"/>
              </a:rPr>
              <a:t>% проектов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EE8DC862-08C4-FB28-643F-1F9D97BC7937}"/>
              </a:ext>
            </a:extLst>
          </p:cNvPr>
          <p:cNvSpPr txBox="1">
            <a:spLocks/>
          </p:cNvSpPr>
          <p:nvPr/>
        </p:nvSpPr>
        <p:spPr>
          <a:xfrm>
            <a:off x="4894813" y="1966789"/>
            <a:ext cx="1506275" cy="322812"/>
          </a:xfrm>
          <a:prstGeom prst="rect">
            <a:avLst/>
          </a:prstGeom>
        </p:spPr>
        <p:txBody>
          <a:bodyPr lIns="0" tIns="0" rIns="0" bIns="0"/>
          <a:lstStyle>
            <a:lvl1pPr algn="l" defTabSz="91415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 defTabSz="913310">
              <a:defRPr/>
            </a:pPr>
            <a:r>
              <a:rPr lang="ru-RU" sz="899" dirty="0">
                <a:solidFill>
                  <a:srgbClr val="5B9BD5">
                    <a:lumMod val="50000"/>
                  </a:srgbClr>
                </a:solidFill>
              </a:rPr>
              <a:t>«Надо сделать все, чтобы не допустить формализма при масштабном тиражировании пилотных проектов как в ДНР, </a:t>
            </a:r>
            <a:br>
              <a:rPr lang="ru-RU" sz="899" dirty="0">
                <a:solidFill>
                  <a:srgbClr val="5B9BD5">
                    <a:lumMod val="50000"/>
                  </a:srgbClr>
                </a:solidFill>
              </a:rPr>
            </a:br>
            <a:r>
              <a:rPr lang="ru-RU" sz="899" dirty="0">
                <a:solidFill>
                  <a:srgbClr val="5B9BD5">
                    <a:lumMod val="50000"/>
                  </a:srgbClr>
                </a:solidFill>
              </a:rPr>
              <a:t>так и по всей стране»,  </a:t>
            </a:r>
            <a:endParaRPr lang="en-US" sz="899" b="0" dirty="0">
              <a:solidFill>
                <a:srgbClr val="5B9BD5">
                  <a:lumMod val="50000"/>
                </a:srgb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BC7504-5E69-D8E2-12BD-ACDD1697833F}"/>
              </a:ext>
            </a:extLst>
          </p:cNvPr>
          <p:cNvSpPr txBox="1"/>
          <p:nvPr/>
        </p:nvSpPr>
        <p:spPr>
          <a:xfrm>
            <a:off x="6646049" y="3597240"/>
            <a:ext cx="2328114" cy="830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3067">
              <a:defRPr/>
            </a:pPr>
            <a:r>
              <a:rPr lang="ru-RU" sz="1199" b="1" dirty="0">
                <a:solidFill>
                  <a:srgbClr val="5B9BD5">
                    <a:lumMod val="50000"/>
                  </a:srgbClr>
                </a:solidFill>
                <a:latin typeface="Arial"/>
              </a:rPr>
              <a:t>Нам есть от чего оттолкнуться в реализации фед. проекта «Производительность 2.0»!</a:t>
            </a:r>
            <a:endParaRPr lang="en-US" sz="1998" b="1" dirty="0">
              <a:solidFill>
                <a:srgbClr val="5B9BD5">
                  <a:lumMod val="50000"/>
                </a:srgbClr>
              </a:solidFill>
              <a:latin typeface="Arial"/>
            </a:endParaRPr>
          </a:p>
        </p:txBody>
      </p:sp>
      <p:sp>
        <p:nvSpPr>
          <p:cNvPr id="16" name="Прямоугольник 1">
            <a:extLst>
              <a:ext uri="{FF2B5EF4-FFF2-40B4-BE49-F238E27FC236}">
                <a16:creationId xmlns:a16="http://schemas.microsoft.com/office/drawing/2014/main" id="{24BFE247-A9D1-ECB8-12B4-899F8B2ABF68}"/>
              </a:ext>
            </a:extLst>
          </p:cNvPr>
          <p:cNvSpPr/>
          <p:nvPr/>
        </p:nvSpPr>
        <p:spPr bwMode="auto">
          <a:xfrm>
            <a:off x="6580396" y="2391299"/>
            <a:ext cx="2363735" cy="10610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6777">
              <a:defRPr/>
            </a:pPr>
            <a:r>
              <a:rPr lang="ru-RU" sz="1399" b="1" dirty="0">
                <a:solidFill>
                  <a:srgbClr val="000000"/>
                </a:solidFill>
                <a:latin typeface="Arial"/>
              </a:rPr>
              <a:t>Более </a:t>
            </a:r>
            <a:r>
              <a:rPr lang="en-US" sz="1399" b="1" dirty="0">
                <a:solidFill>
                  <a:srgbClr val="000000"/>
                </a:solidFill>
                <a:latin typeface="Arial"/>
              </a:rPr>
              <a:t>20</a:t>
            </a:r>
            <a:r>
              <a:rPr lang="ru-RU" sz="1399" b="1" dirty="0">
                <a:solidFill>
                  <a:srgbClr val="000000"/>
                </a:solidFill>
                <a:latin typeface="Arial"/>
              </a:rPr>
              <a:t>0</a:t>
            </a:r>
            <a:br>
              <a:rPr lang="ru-RU" sz="1049" b="1" dirty="0">
                <a:solidFill>
                  <a:srgbClr val="000000"/>
                </a:solidFill>
                <a:latin typeface="Arial"/>
              </a:rPr>
            </a:br>
            <a:r>
              <a:rPr lang="ru-RU" sz="1049" b="1" dirty="0">
                <a:solidFill>
                  <a:srgbClr val="000000"/>
                </a:solidFill>
                <a:latin typeface="Arial"/>
              </a:rPr>
              <a:t>организаций-образцов </a:t>
            </a:r>
            <a:br>
              <a:rPr lang="ru-RU" sz="1049" b="1" dirty="0">
                <a:solidFill>
                  <a:srgbClr val="000000"/>
                </a:solidFill>
                <a:latin typeface="Arial"/>
              </a:rPr>
            </a:br>
            <a:r>
              <a:rPr lang="ru-RU" sz="1049" b="1" dirty="0">
                <a:solidFill>
                  <a:srgbClr val="000000"/>
                </a:solidFill>
                <a:latin typeface="Arial"/>
              </a:rPr>
              <a:t>в государственном и муниципальном управлении </a:t>
            </a:r>
            <a:br>
              <a:rPr lang="ru-RU" sz="1049" b="1" dirty="0">
                <a:solidFill>
                  <a:srgbClr val="000000"/>
                </a:solidFill>
                <a:latin typeface="Arial"/>
              </a:rPr>
            </a:br>
            <a:r>
              <a:rPr lang="ru-RU" sz="1049" b="1" dirty="0">
                <a:solidFill>
                  <a:srgbClr val="000000"/>
                </a:solidFill>
                <a:latin typeface="Arial"/>
              </a:rPr>
              <a:t>и социальной сфере</a:t>
            </a:r>
            <a:endParaRPr lang="en-US" sz="1049" b="1" dirty="0">
              <a:solidFill>
                <a:srgbClr val="000000"/>
              </a:solidFill>
              <a:latin typeface="Arial"/>
            </a:endParaRPr>
          </a:p>
          <a:p>
            <a:pPr algn="ctr" defTabSz="456777">
              <a:defRPr/>
            </a:pPr>
            <a:endParaRPr lang="ru-RU" sz="699" b="1" dirty="0">
              <a:solidFill>
                <a:srgbClr val="E7E6E6">
                  <a:lumMod val="1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97429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 bwMode="auto">
          <a:xfrm>
            <a:off x="461610" y="233991"/>
            <a:ext cx="6641005" cy="329894"/>
          </a:xfrm>
        </p:spPr>
        <p:txBody>
          <a:bodyPr/>
          <a:lstStyle/>
          <a:p>
            <a:pPr>
              <a:defRPr/>
            </a:pPr>
            <a:r>
              <a:rPr lang="ru-RU" sz="1598" dirty="0"/>
              <a:t>Новое горизонтальное взаимодействие в стране </a:t>
            </a:r>
            <a:br>
              <a:rPr lang="ru-RU" sz="1598" dirty="0"/>
            </a:br>
            <a:r>
              <a:rPr lang="ru-RU" sz="1598" dirty="0"/>
              <a:t>на уровне губернаторов субъектов</a:t>
            </a:r>
            <a:endParaRPr dirty="0"/>
          </a:p>
        </p:txBody>
      </p:sp>
      <p:sp>
        <p:nvSpPr>
          <p:cNvPr id="5" name="Прямоугольник 50"/>
          <p:cNvSpPr/>
          <p:nvPr/>
        </p:nvSpPr>
        <p:spPr bwMode="auto">
          <a:xfrm>
            <a:off x="6087601" y="1936920"/>
            <a:ext cx="2335745" cy="553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554">
              <a:defRPr/>
            </a:pPr>
            <a:r>
              <a:rPr lang="ru-RU" sz="999" b="1" kern="0">
                <a:solidFill>
                  <a:prstClr val="black"/>
                </a:solidFill>
                <a:latin typeface="Arial"/>
                <a:cs typeface="Arial"/>
              </a:rPr>
              <a:t>Первое собрание Координационного совета Клуба </a:t>
            </a:r>
            <a:br>
              <a:rPr lang="ru-RU" sz="999" kern="0">
                <a:solidFill>
                  <a:prstClr val="black"/>
                </a:solidFill>
                <a:latin typeface="Arial"/>
                <a:cs typeface="Arial"/>
              </a:rPr>
            </a:br>
            <a:r>
              <a:rPr lang="ru-RU" sz="999" kern="0">
                <a:solidFill>
                  <a:prstClr val="black"/>
                </a:solidFill>
                <a:latin typeface="Arial"/>
                <a:cs typeface="Arial"/>
              </a:rPr>
              <a:t>23 марта 2021 г.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6" name="Рисунок 4"/>
          <p:cNvPicPr>
            <a:picLocks noChangeAspect="1"/>
          </p:cNvPicPr>
          <p:nvPr/>
        </p:nvPicPr>
        <p:blipFill>
          <a:blip r:embed="rId3"/>
          <a:srcRect l="10315" t="16335" r="16578" b="12879"/>
          <a:stretch/>
        </p:blipFill>
        <p:spPr bwMode="auto">
          <a:xfrm>
            <a:off x="6378058" y="807129"/>
            <a:ext cx="1799123" cy="1160868"/>
          </a:xfrm>
          <a:prstGeom prst="rect">
            <a:avLst/>
          </a:prstGeom>
        </p:spPr>
      </p:pic>
      <p:sp>
        <p:nvSpPr>
          <p:cNvPr id="7" name="Прямоугольник 110"/>
          <p:cNvSpPr/>
          <p:nvPr/>
        </p:nvSpPr>
        <p:spPr bwMode="auto">
          <a:xfrm>
            <a:off x="1767634" y="4194303"/>
            <a:ext cx="3456524" cy="951579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554">
              <a:defRPr/>
            </a:pPr>
            <a:endParaRPr lang="ru-RU" sz="1099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" name="Прямоугольник 111"/>
          <p:cNvSpPr/>
          <p:nvPr/>
        </p:nvSpPr>
        <p:spPr bwMode="auto">
          <a:xfrm>
            <a:off x="1767634" y="2756389"/>
            <a:ext cx="3458702" cy="663372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554">
              <a:defRPr/>
            </a:pPr>
            <a:endParaRPr lang="ru-RU" sz="1099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Прямоугольник 112"/>
          <p:cNvSpPr/>
          <p:nvPr/>
        </p:nvSpPr>
        <p:spPr bwMode="auto">
          <a:xfrm>
            <a:off x="5287628" y="4201751"/>
            <a:ext cx="3579477" cy="944132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554">
              <a:defRPr/>
            </a:pPr>
            <a:endParaRPr lang="ru-RU" sz="1099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0" name="Прямоугольник 113"/>
          <p:cNvSpPr/>
          <p:nvPr/>
        </p:nvSpPr>
        <p:spPr bwMode="auto">
          <a:xfrm>
            <a:off x="1769812" y="3452051"/>
            <a:ext cx="3456524" cy="696359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554">
              <a:defRPr/>
            </a:pPr>
            <a:endParaRPr lang="ru-RU" sz="1099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Прямоугольник 114"/>
          <p:cNvSpPr/>
          <p:nvPr/>
        </p:nvSpPr>
        <p:spPr bwMode="auto">
          <a:xfrm>
            <a:off x="111653" y="3448090"/>
            <a:ext cx="1603077" cy="704289"/>
          </a:xfrm>
          <a:prstGeom prst="rect">
            <a:avLst/>
          </a:prstGeom>
          <a:solidFill>
            <a:srgbClr val="3E87B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554">
              <a:defRPr/>
            </a:pPr>
            <a:endParaRPr lang="ru-RU" sz="1099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2" name="Прямоугольник 115"/>
          <p:cNvSpPr/>
          <p:nvPr/>
        </p:nvSpPr>
        <p:spPr bwMode="auto">
          <a:xfrm>
            <a:off x="111653" y="4202102"/>
            <a:ext cx="1603077" cy="943779"/>
          </a:xfrm>
          <a:prstGeom prst="rect">
            <a:avLst/>
          </a:prstGeom>
          <a:solidFill>
            <a:srgbClr val="3E87B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554">
              <a:defRPr/>
            </a:pPr>
            <a:endParaRPr lang="ru-RU" sz="1099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" name="Прямоугольник 116"/>
          <p:cNvSpPr/>
          <p:nvPr/>
        </p:nvSpPr>
        <p:spPr bwMode="auto">
          <a:xfrm>
            <a:off x="117079" y="2751401"/>
            <a:ext cx="1597651" cy="655245"/>
          </a:xfrm>
          <a:prstGeom prst="rect">
            <a:avLst/>
          </a:prstGeom>
          <a:solidFill>
            <a:srgbClr val="3E87B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554">
              <a:defRPr/>
            </a:pPr>
            <a:endParaRPr lang="ru-RU" sz="1099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" name="Прямоугольник 117"/>
          <p:cNvSpPr/>
          <p:nvPr/>
        </p:nvSpPr>
        <p:spPr bwMode="auto">
          <a:xfrm>
            <a:off x="117147" y="2774595"/>
            <a:ext cx="1339279" cy="599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554">
              <a:defRPr/>
            </a:pPr>
            <a:r>
              <a:rPr lang="ru-RU" sz="1099" b="1" kern="0">
                <a:solidFill>
                  <a:srgbClr val="FFFFFF"/>
                </a:solidFill>
                <a:latin typeface="Arial"/>
                <a:cs typeface="Arial"/>
              </a:rPr>
              <a:t>Совместная работа </a:t>
            </a:r>
            <a:br>
              <a:rPr lang="ru-RU" sz="1099" b="1" ker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ru-RU" sz="1099" b="1" kern="0">
                <a:solidFill>
                  <a:srgbClr val="FFFFFF"/>
                </a:solidFill>
                <a:latin typeface="Arial"/>
                <a:cs typeface="Arial"/>
              </a:rPr>
              <a:t>на площадке</a:t>
            </a:r>
            <a:endParaRPr lang="ru-RU" sz="1099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Прямоугольник 118"/>
          <p:cNvSpPr/>
          <p:nvPr/>
        </p:nvSpPr>
        <p:spPr bwMode="auto">
          <a:xfrm>
            <a:off x="111654" y="3470464"/>
            <a:ext cx="1603078" cy="599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554">
              <a:defRPr/>
            </a:pPr>
            <a:r>
              <a:rPr lang="ru-RU" sz="1099" b="1" kern="0">
                <a:solidFill>
                  <a:srgbClr val="FFFFFF"/>
                </a:solidFill>
                <a:latin typeface="Arial"/>
                <a:cs typeface="Arial"/>
              </a:rPr>
              <a:t>Совместная работа </a:t>
            </a:r>
            <a:br>
              <a:rPr lang="ru-RU" sz="1099" b="1" ker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ru-RU" sz="1099" b="1" kern="0">
                <a:solidFill>
                  <a:srgbClr val="FFFFFF"/>
                </a:solidFill>
                <a:latin typeface="Arial"/>
                <a:cs typeface="Arial"/>
              </a:rPr>
              <a:t>по созданию 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  <a:p>
            <a:pPr defTabSz="913554">
              <a:defRPr/>
            </a:pPr>
            <a:r>
              <a:rPr lang="ru-RU" sz="1099" b="1" kern="0">
                <a:solidFill>
                  <a:srgbClr val="FFFFFF"/>
                </a:solidFill>
                <a:latin typeface="Arial"/>
                <a:cs typeface="Arial"/>
              </a:rPr>
              <a:t>образцов 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Прямоугольник 119"/>
          <p:cNvSpPr/>
          <p:nvPr/>
        </p:nvSpPr>
        <p:spPr bwMode="auto">
          <a:xfrm>
            <a:off x="111652" y="4188885"/>
            <a:ext cx="1832087" cy="599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554">
              <a:tabLst>
                <a:tab pos="742240" algn="l"/>
              </a:tabLst>
              <a:defRPr/>
            </a:pPr>
            <a:r>
              <a:rPr lang="ru-RU" sz="1099" b="1" kern="0">
                <a:solidFill>
                  <a:srgbClr val="FFFFFF"/>
                </a:solidFill>
                <a:latin typeface="Arial"/>
                <a:ea typeface="Times New Roman"/>
                <a:cs typeface="Times New Roman"/>
              </a:rPr>
              <a:t>Горизонтальное межрегиональное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  <a:p>
            <a:pPr defTabSz="913554">
              <a:tabLst>
                <a:tab pos="742240" algn="l"/>
              </a:tabLst>
              <a:defRPr/>
            </a:pPr>
            <a:r>
              <a:rPr lang="ru-RU" sz="1099" b="1" kern="0">
                <a:solidFill>
                  <a:srgbClr val="FFFFFF"/>
                </a:solidFill>
                <a:latin typeface="Arial"/>
                <a:ea typeface="Times New Roman"/>
                <a:cs typeface="Times New Roman"/>
              </a:rPr>
              <a:t>взаимодействие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Прямоугольник 120"/>
          <p:cNvSpPr/>
          <p:nvPr/>
        </p:nvSpPr>
        <p:spPr bwMode="auto">
          <a:xfrm>
            <a:off x="1767634" y="4148410"/>
            <a:ext cx="3384854" cy="10083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554">
              <a:lnSpc>
                <a:spcPct val="110000"/>
              </a:lnSpc>
              <a:defRPr/>
            </a:pPr>
            <a:r>
              <a:rPr lang="ru-RU" sz="1099" kern="0">
                <a:solidFill>
                  <a:srgbClr val="414142"/>
                </a:solidFill>
                <a:latin typeface="Arial"/>
                <a:cs typeface="Arial"/>
              </a:rPr>
              <a:t>Регион обязуется: 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  <a:p>
            <a:pPr marL="91990" indent="-91990" defTabSz="913554">
              <a:lnSpc>
                <a:spcPct val="110000"/>
              </a:lnSpc>
              <a:buFont typeface="Arial"/>
              <a:buChar char="•"/>
              <a:defRPr/>
            </a:pPr>
            <a:r>
              <a:rPr lang="ru-RU" sz="1099" b="1" kern="0">
                <a:solidFill>
                  <a:srgbClr val="414142"/>
                </a:solidFill>
                <a:latin typeface="Arial"/>
                <a:cs typeface="Arial"/>
              </a:rPr>
              <a:t>демонстрировать образцы членам Клуба, 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  <a:p>
            <a:pPr marL="91990" indent="-91990" defTabSz="913554">
              <a:lnSpc>
                <a:spcPct val="110000"/>
              </a:lnSpc>
              <a:buFont typeface="Arial"/>
              <a:buChar char="•"/>
              <a:defRPr/>
            </a:pPr>
            <a:r>
              <a:rPr lang="ru-RU" sz="1099" b="1" kern="0">
                <a:solidFill>
                  <a:srgbClr val="414142"/>
                </a:solidFill>
                <a:latin typeface="Arial"/>
                <a:cs typeface="Arial"/>
              </a:rPr>
              <a:t>делиться методическими материалами</a:t>
            </a:r>
            <a:r>
              <a:rPr lang="ru-RU" sz="1099" kern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  <a:p>
            <a:pPr marL="91990" indent="-91990" defTabSz="913554">
              <a:lnSpc>
                <a:spcPct val="110000"/>
              </a:lnSpc>
              <a:buFont typeface="Arial"/>
              <a:buChar char="•"/>
              <a:defRPr/>
            </a:pPr>
            <a:r>
              <a:rPr lang="ru-RU" sz="1099" kern="0">
                <a:solidFill>
                  <a:srgbClr val="414142"/>
                </a:solidFill>
                <a:latin typeface="Arial"/>
                <a:cs typeface="Arial"/>
              </a:rPr>
              <a:t>направлять своих лидеров </a:t>
            </a:r>
            <a:r>
              <a:rPr lang="ru-RU" sz="1099" b="1" kern="0">
                <a:solidFill>
                  <a:srgbClr val="414142"/>
                </a:solidFill>
                <a:latin typeface="Arial"/>
                <a:cs typeface="Arial"/>
              </a:rPr>
              <a:t>в регионы-партнеры. 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Прямоугольник 121"/>
          <p:cNvSpPr/>
          <p:nvPr/>
        </p:nvSpPr>
        <p:spPr bwMode="auto">
          <a:xfrm>
            <a:off x="1828926" y="2770714"/>
            <a:ext cx="3458702" cy="636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561" indent="-185561" defTabSz="913554">
              <a:lnSpc>
                <a:spcPct val="110000"/>
              </a:lnSpc>
              <a:buFont typeface="Arial"/>
              <a:buChar char="•"/>
              <a:defRPr/>
            </a:pPr>
            <a:r>
              <a:rPr lang="ru-RU" sz="1099" kern="0">
                <a:solidFill>
                  <a:srgbClr val="414142"/>
                </a:solidFill>
                <a:latin typeface="Arial"/>
                <a:cs typeface="Arial"/>
              </a:rPr>
              <a:t>создает </a:t>
            </a:r>
            <a:r>
              <a:rPr lang="ru-RU" sz="1099" b="1" kern="0">
                <a:solidFill>
                  <a:srgbClr val="414142"/>
                </a:solidFill>
                <a:latin typeface="Arial"/>
                <a:cs typeface="Arial"/>
              </a:rPr>
              <a:t>проектный офис</a:t>
            </a:r>
            <a:r>
              <a:rPr lang="ru-RU" sz="1099" kern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  <a:p>
            <a:pPr marL="185561" indent="-185561" defTabSz="913554">
              <a:lnSpc>
                <a:spcPct val="110000"/>
              </a:lnSpc>
              <a:buFont typeface="Arial"/>
              <a:buChar char="•"/>
              <a:defRPr/>
            </a:pPr>
            <a:r>
              <a:rPr lang="ru-RU" sz="1099" kern="0">
                <a:solidFill>
                  <a:srgbClr val="414142"/>
                </a:solidFill>
                <a:latin typeface="Arial"/>
                <a:cs typeface="Arial"/>
              </a:rPr>
              <a:t>создает</a:t>
            </a:r>
            <a:r>
              <a:rPr lang="ru-RU" sz="1099" b="1" kern="0">
                <a:solidFill>
                  <a:srgbClr val="414142"/>
                </a:solidFill>
                <a:latin typeface="Arial"/>
                <a:cs typeface="Arial"/>
              </a:rPr>
              <a:t> отраслевые центры компетенций </a:t>
            </a:r>
            <a:br>
              <a:rPr lang="ru-RU" sz="1099" b="1" kern="0">
                <a:solidFill>
                  <a:srgbClr val="414142"/>
                </a:solidFill>
                <a:latin typeface="Arial"/>
                <a:cs typeface="Arial"/>
              </a:rPr>
            </a:br>
            <a:r>
              <a:rPr lang="ru-RU" sz="1099" kern="0">
                <a:solidFill>
                  <a:srgbClr val="414142"/>
                </a:solidFill>
                <a:latin typeface="Arial"/>
                <a:cs typeface="Arial"/>
              </a:rPr>
              <a:t>в министерствах региона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Прямоугольник 122"/>
          <p:cNvSpPr/>
          <p:nvPr/>
        </p:nvSpPr>
        <p:spPr bwMode="auto">
          <a:xfrm>
            <a:off x="5287628" y="2756818"/>
            <a:ext cx="3585690" cy="662943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554">
              <a:defRPr/>
            </a:pPr>
            <a:endParaRPr lang="ru-RU" sz="1099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" name="Прямоугольник 123"/>
          <p:cNvSpPr/>
          <p:nvPr/>
        </p:nvSpPr>
        <p:spPr bwMode="auto">
          <a:xfrm>
            <a:off x="5321302" y="2751370"/>
            <a:ext cx="3670988" cy="636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561" indent="-185561" defTabSz="913554">
              <a:lnSpc>
                <a:spcPct val="110000"/>
              </a:lnSpc>
              <a:buFont typeface="Arial"/>
              <a:buChar char="•"/>
              <a:defRPr/>
            </a:pPr>
            <a:r>
              <a:rPr lang="ru-RU" sz="1099" kern="0" dirty="0">
                <a:solidFill>
                  <a:srgbClr val="00B050"/>
                </a:solidFill>
                <a:latin typeface="Arial"/>
                <a:cs typeface="Arial"/>
              </a:rPr>
              <a:t>Организовывает</a:t>
            </a:r>
            <a:r>
              <a:rPr lang="ru-RU" sz="1099" b="1" kern="0" dirty="0">
                <a:solidFill>
                  <a:srgbClr val="00B050"/>
                </a:solidFill>
                <a:latin typeface="Arial"/>
                <a:cs typeface="Arial"/>
              </a:rPr>
              <a:t> обучение на своих заводах и образцах</a:t>
            </a:r>
            <a:endParaRPr lang="ru-RU" sz="1099" kern="0" dirty="0">
              <a:solidFill>
                <a:srgbClr val="00B050"/>
              </a:solidFill>
              <a:latin typeface="Arial"/>
              <a:cs typeface="Arial"/>
            </a:endParaRPr>
          </a:p>
          <a:p>
            <a:pPr marL="185561" indent="-185561" defTabSz="913554">
              <a:lnSpc>
                <a:spcPct val="110000"/>
              </a:lnSpc>
              <a:buFont typeface="Arial"/>
              <a:buChar char="•"/>
              <a:defRPr/>
            </a:pPr>
            <a:r>
              <a:rPr lang="ru-RU" sz="1099" b="1" kern="0" dirty="0">
                <a:solidFill>
                  <a:srgbClr val="00B050"/>
                </a:solidFill>
                <a:latin typeface="Arial"/>
                <a:cs typeface="Arial"/>
              </a:rPr>
              <a:t>Сопровождает старт </a:t>
            </a:r>
            <a:r>
              <a:rPr lang="ru-RU" sz="1099" kern="0" dirty="0">
                <a:solidFill>
                  <a:srgbClr val="00B050"/>
                </a:solidFill>
                <a:latin typeface="Arial"/>
                <a:cs typeface="Arial"/>
              </a:rPr>
              <a:t>в регионах</a:t>
            </a:r>
            <a:endParaRPr sz="1799" kern="0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21" name="Прямоугольник 124"/>
          <p:cNvSpPr/>
          <p:nvPr/>
        </p:nvSpPr>
        <p:spPr bwMode="auto">
          <a:xfrm>
            <a:off x="5281414" y="3456019"/>
            <a:ext cx="3585690" cy="696359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554">
              <a:defRPr/>
            </a:pPr>
            <a:endParaRPr lang="ru-RU" sz="1099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2" name="Прямоугольник 125"/>
          <p:cNvSpPr/>
          <p:nvPr/>
        </p:nvSpPr>
        <p:spPr bwMode="auto">
          <a:xfrm>
            <a:off x="5321302" y="3474975"/>
            <a:ext cx="3418790" cy="636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561" indent="-185561" defTabSz="913554">
              <a:lnSpc>
                <a:spcPct val="110000"/>
              </a:lnSpc>
              <a:buFont typeface="Arial"/>
              <a:buChar char="•"/>
              <a:defRPr/>
            </a:pPr>
            <a:r>
              <a:rPr lang="ru-RU" sz="1099" b="1" kern="0" dirty="0">
                <a:solidFill>
                  <a:srgbClr val="00B050"/>
                </a:solidFill>
                <a:latin typeface="Arial"/>
                <a:cs typeface="Arial"/>
              </a:rPr>
              <a:t>Формирование критериев образцов</a:t>
            </a:r>
            <a:r>
              <a:rPr lang="ru-RU" sz="1099" kern="0" dirty="0">
                <a:solidFill>
                  <a:srgbClr val="00B050"/>
                </a:solidFill>
                <a:latin typeface="Arial"/>
                <a:cs typeface="Arial"/>
              </a:rPr>
              <a:t>, </a:t>
            </a:r>
            <a:endParaRPr sz="1799" kern="0" dirty="0">
              <a:solidFill>
                <a:srgbClr val="00B050"/>
              </a:solidFill>
              <a:latin typeface="Arial"/>
              <a:cs typeface="Arial"/>
            </a:endParaRPr>
          </a:p>
          <a:p>
            <a:pPr marL="185561" indent="-185561" defTabSz="913554">
              <a:lnSpc>
                <a:spcPct val="110000"/>
              </a:lnSpc>
              <a:buFont typeface="Arial"/>
              <a:buChar char="•"/>
              <a:defRPr/>
            </a:pPr>
            <a:r>
              <a:rPr lang="ru-RU" sz="1099" b="1" kern="0" dirty="0">
                <a:solidFill>
                  <a:srgbClr val="00B050"/>
                </a:solidFill>
                <a:latin typeface="Arial"/>
                <a:cs typeface="Arial"/>
              </a:rPr>
              <a:t>Развивающие партнерские проверки</a:t>
            </a:r>
            <a:r>
              <a:rPr lang="ru-RU" sz="1099" kern="0" dirty="0">
                <a:solidFill>
                  <a:srgbClr val="00B050"/>
                </a:solidFill>
                <a:latin typeface="Arial"/>
                <a:cs typeface="Arial"/>
              </a:rPr>
              <a:t>, </a:t>
            </a:r>
            <a:endParaRPr sz="1799" kern="0" dirty="0">
              <a:solidFill>
                <a:srgbClr val="00B050"/>
              </a:solidFill>
              <a:latin typeface="Arial"/>
              <a:cs typeface="Arial"/>
            </a:endParaRPr>
          </a:p>
          <a:p>
            <a:pPr marL="185561" indent="-185561" defTabSz="913554">
              <a:lnSpc>
                <a:spcPct val="110000"/>
              </a:lnSpc>
              <a:buFont typeface="Arial"/>
              <a:buChar char="•"/>
              <a:defRPr/>
            </a:pPr>
            <a:r>
              <a:rPr lang="ru-RU" sz="1099" b="1" kern="0" dirty="0">
                <a:solidFill>
                  <a:srgbClr val="00B050"/>
                </a:solidFill>
                <a:latin typeface="Arial"/>
                <a:cs typeface="Arial"/>
              </a:rPr>
              <a:t>Рейтинг образцов</a:t>
            </a:r>
            <a:endParaRPr sz="1799" kern="0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23" name="Прямоугольник 126"/>
          <p:cNvSpPr/>
          <p:nvPr/>
        </p:nvSpPr>
        <p:spPr bwMode="auto">
          <a:xfrm>
            <a:off x="1765456" y="2482060"/>
            <a:ext cx="3458702" cy="2614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554">
              <a:defRPr/>
            </a:pPr>
            <a:r>
              <a:rPr lang="ru-RU" sz="1099" b="1" kern="0">
                <a:solidFill>
                  <a:srgbClr val="414142"/>
                </a:solidFill>
                <a:latin typeface="Arial"/>
                <a:cs typeface="Arial"/>
              </a:rPr>
              <a:t>Регион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4" name="Прямоугольник 127"/>
          <p:cNvSpPr/>
          <p:nvPr/>
        </p:nvSpPr>
        <p:spPr bwMode="auto">
          <a:xfrm>
            <a:off x="5321301" y="2474657"/>
            <a:ext cx="3545803" cy="2614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554">
              <a:defRPr/>
            </a:pPr>
            <a:r>
              <a:rPr lang="ru-RU" sz="1099" b="1" kern="0">
                <a:solidFill>
                  <a:srgbClr val="414142"/>
                </a:solidFill>
                <a:latin typeface="Arial"/>
                <a:cs typeface="Arial"/>
              </a:rPr>
              <a:t>Росатом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5" name="Прямоугольник 128"/>
          <p:cNvSpPr/>
          <p:nvPr/>
        </p:nvSpPr>
        <p:spPr bwMode="auto">
          <a:xfrm>
            <a:off x="1770161" y="3470466"/>
            <a:ext cx="2136161" cy="4501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554">
              <a:lnSpc>
                <a:spcPct val="110000"/>
              </a:lnSpc>
              <a:buClr>
                <a:srgbClr val="FFFFFF"/>
              </a:buClr>
              <a:defRPr/>
            </a:pPr>
            <a:r>
              <a:rPr lang="ru-RU" sz="1099" kern="0">
                <a:solidFill>
                  <a:srgbClr val="414142"/>
                </a:solidFill>
                <a:latin typeface="Arial"/>
                <a:cs typeface="Arial"/>
              </a:rPr>
              <a:t>Губернатор – </a:t>
            </a:r>
            <a:r>
              <a:rPr lang="ru-RU" sz="1099" b="1" kern="0">
                <a:solidFill>
                  <a:srgbClr val="414142"/>
                </a:solidFill>
                <a:latin typeface="Arial"/>
                <a:cs typeface="Arial"/>
              </a:rPr>
              <a:t>Заказчик на образцы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6" name="Прямоугольник 131"/>
          <p:cNvSpPr/>
          <p:nvPr/>
        </p:nvSpPr>
        <p:spPr bwMode="auto">
          <a:xfrm>
            <a:off x="5335783" y="4210596"/>
            <a:ext cx="3337694" cy="636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561" indent="-185561" defTabSz="913554">
              <a:lnSpc>
                <a:spcPct val="110000"/>
              </a:lnSpc>
              <a:buFont typeface="Arial"/>
              <a:buChar char="•"/>
              <a:defRPr/>
            </a:pPr>
            <a:r>
              <a:rPr lang="ru-RU" sz="1099" b="1" kern="0" dirty="0">
                <a:solidFill>
                  <a:srgbClr val="00B050"/>
                </a:solidFill>
                <a:latin typeface="Arial"/>
                <a:cs typeface="Arial"/>
              </a:rPr>
              <a:t>Система горизонтального взаимодействия внутри каждой отрасли</a:t>
            </a:r>
            <a:r>
              <a:rPr lang="ru-RU" sz="1099" kern="0" dirty="0">
                <a:solidFill>
                  <a:srgbClr val="00B050"/>
                </a:solidFill>
                <a:latin typeface="Arial"/>
                <a:cs typeface="Arial"/>
              </a:rPr>
              <a:t>, </a:t>
            </a:r>
            <a:endParaRPr sz="1799" kern="0" dirty="0">
              <a:solidFill>
                <a:srgbClr val="00B050"/>
              </a:solidFill>
              <a:latin typeface="Arial"/>
              <a:cs typeface="Arial"/>
            </a:endParaRPr>
          </a:p>
          <a:p>
            <a:pPr marL="185561" indent="-185561" defTabSz="913554">
              <a:lnSpc>
                <a:spcPct val="110000"/>
              </a:lnSpc>
              <a:buFont typeface="Arial"/>
              <a:buChar char="•"/>
              <a:defRPr/>
            </a:pPr>
            <a:r>
              <a:rPr lang="ru-RU" sz="1099" b="1" kern="0" dirty="0">
                <a:solidFill>
                  <a:srgbClr val="00B050"/>
                </a:solidFill>
                <a:latin typeface="Arial"/>
                <a:cs typeface="Arial"/>
              </a:rPr>
              <a:t>Методическая поддержка</a:t>
            </a:r>
            <a:endParaRPr lang="ru-RU" sz="1099" kern="0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pic>
        <p:nvPicPr>
          <p:cNvPr id="27" name="Рисунок 132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536393" y="807129"/>
            <a:ext cx="2167244" cy="1160868"/>
          </a:xfrm>
          <a:prstGeom prst="rect">
            <a:avLst/>
          </a:prstGeom>
        </p:spPr>
      </p:pic>
      <p:sp>
        <p:nvSpPr>
          <p:cNvPr id="28" name="Прямоугольник 133"/>
          <p:cNvSpPr/>
          <p:nvPr/>
        </p:nvSpPr>
        <p:spPr bwMode="auto">
          <a:xfrm>
            <a:off x="3503793" y="1958462"/>
            <a:ext cx="2232442" cy="553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554">
              <a:defRPr/>
            </a:pPr>
            <a:r>
              <a:rPr lang="ru-RU" sz="999" b="1" kern="0">
                <a:solidFill>
                  <a:srgbClr val="414142"/>
                </a:solidFill>
                <a:latin typeface="Arial"/>
                <a:cs typeface="Arial"/>
              </a:rPr>
              <a:t>Первое заседание Клуба под руководством С.В. Кириенко 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  <a:p>
            <a:pPr algn="ctr" defTabSz="913554">
              <a:defRPr/>
            </a:pPr>
            <a:r>
              <a:rPr lang="ru-RU" sz="999" kern="0">
                <a:solidFill>
                  <a:srgbClr val="414142"/>
                </a:solidFill>
                <a:latin typeface="Arial"/>
                <a:cs typeface="Arial"/>
              </a:rPr>
              <a:t>26 декабря 2019 г.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29" name="Рисунок 13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16550" y="807129"/>
            <a:ext cx="1999773" cy="1188443"/>
          </a:xfrm>
          <a:prstGeom prst="rect">
            <a:avLst/>
          </a:prstGeom>
        </p:spPr>
      </p:pic>
      <p:sp>
        <p:nvSpPr>
          <p:cNvPr id="30" name="Прямоугольник 135"/>
          <p:cNvSpPr/>
          <p:nvPr/>
        </p:nvSpPr>
        <p:spPr bwMode="auto">
          <a:xfrm>
            <a:off x="461610" y="1984532"/>
            <a:ext cx="2709651" cy="553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554">
              <a:defRPr/>
            </a:pPr>
            <a:r>
              <a:rPr lang="ru-RU" sz="999" b="1" kern="0">
                <a:solidFill>
                  <a:srgbClr val="414142"/>
                </a:solidFill>
                <a:latin typeface="Arial"/>
                <a:cs typeface="Arial"/>
              </a:rPr>
              <a:t>Рождение концепции Клуба на форуме «Производительность 360» 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  <a:p>
            <a:pPr algn="ctr" defTabSz="913554">
              <a:defRPr/>
            </a:pPr>
            <a:r>
              <a:rPr lang="ru-RU" sz="999" kern="0">
                <a:solidFill>
                  <a:srgbClr val="414142"/>
                </a:solidFill>
                <a:latin typeface="Arial"/>
                <a:cs typeface="Arial"/>
              </a:rPr>
              <a:t>3 июля 2019 г.</a:t>
            </a:r>
            <a:endParaRPr sz="1799" kern="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884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rdo6KhKkmuN74L0TSfK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wC2JxH70KhivHznelK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wC2JxH70KhivHznelK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ZGBDbgu02_sYB0hrVm_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o2ULsLlUKAJJPJYBoM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YDjR9GfEmgXqW86Xvu.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NAKqgbJUKYiIJtJF19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O3NaRKlkqC_uB4XNfM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ZGBDbgu02_sYB0hrVm_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o2ULsLlUKAJJPJYBoM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YDjR9GfEmgXqW86Xvu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ddV1iIE25x4gbPnhQ1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NAKqgbJUKYiIJtJF19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O3NaRKlkqC_uB4XNfM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CgT4sjfEK.2BRtQsWm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m0jTyHJkilcWOU9QuQ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OhkZUeE0ugKIxTXZrQ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OhkZUeE0ugKIxTXZrQ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ZGBDbgu02_sYB0hrVm_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o2ULsLlUKAJJPJYBoM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YDjR9GfEmgXqW86Xvu.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NAKqgbJUKYiIJtJF19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ZGBDbgu02_sYB0hrVm_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O3NaRKlkqC_uB4XNfM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r1nB0TfEWVqIZ.DcDT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Sfo5C1mUCLhI9vBCyx5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Qq.8oqV06EmFw8wAejn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wC2JxH70KhivHznelKC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rdo6KhKkmuN74L0TSf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CgT4sjfEK.2BRtQsWmH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m0jTyHJkilcWOU9QuQX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OhkZUeE0ugKIxTXZrQg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Qq.8oqV06EmFw8wAej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o2ULsLlUKAJJPJYBoMc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wC2JxH70KhivHznelKC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OhkZUeE0ugKIxTXZrQ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YDjR9GfEmgXqW86Xvu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NAKqgbJUKYiIJtJF19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O3NaRKlkqC_uB4XNfM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Sfo5C1mUCLhI9vBCyx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Qq.8oqV06EmFw8wAejnA"/>
</p:tagLst>
</file>

<file path=ppt/theme/theme1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10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6BE6B458-93C6-814D-A81B-47849E6A55A1}"/>
    </a:ext>
  </a:extLst>
</a:theme>
</file>

<file path=ppt/theme/theme3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4.xml><?xml version="1.0" encoding="utf-8"?>
<a:theme xmlns:a="http://schemas.openxmlformats.org/drawingml/2006/main" name="Текст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5.xml><?xml version="1.0" encoding="utf-8"?>
<a:theme xmlns:a="http://schemas.openxmlformats.org/drawingml/2006/main" name="Диаграммы">
  <a:themeElements>
    <a:clrScheme name="тема для слайдов с диаграммами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6.xml><?xml version="1.0" encoding="utf-8"?>
<a:theme xmlns:a="http://schemas.openxmlformats.org/drawingml/2006/main" name="Текст диаграмма">
  <a:themeElements>
    <a:clrScheme name="тема для слайдов текст-диаграмма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EBA444"/>
      </a:accent1>
      <a:accent2>
        <a:srgbClr val="F06942"/>
      </a:accent2>
      <a:accent3>
        <a:srgbClr val="AD5483"/>
      </a:accent3>
      <a:accent4>
        <a:srgbClr val="456EA9"/>
      </a:accent4>
      <a:accent5>
        <a:srgbClr val="68B0E0"/>
      </a:accent5>
      <a:accent6>
        <a:srgbClr val="259789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7.xml><?xml version="1.0" encoding="utf-8"?>
<a:theme xmlns:a="http://schemas.openxmlformats.org/drawingml/2006/main" name="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8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x9_white_template</Template>
  <TotalTime>3028</TotalTime>
  <Words>3378</Words>
  <Application>Microsoft Office PowerPoint</Application>
  <PresentationFormat>Произвольный</PresentationFormat>
  <Paragraphs>724</Paragraphs>
  <Slides>30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0</vt:i4>
      </vt:variant>
      <vt:variant>
        <vt:lpstr>Заголовки слайдов</vt:lpstr>
      </vt:variant>
      <vt:variant>
        <vt:i4>30</vt:i4>
      </vt:variant>
    </vt:vector>
  </HeadingPairs>
  <TitlesOfParts>
    <vt:vector size="48" baseType="lpstr">
      <vt:lpstr>Arial</vt:lpstr>
      <vt:lpstr>Calibri</vt:lpstr>
      <vt:lpstr>Century Gothic</vt:lpstr>
      <vt:lpstr>Franklin Gothic Demi</vt:lpstr>
      <vt:lpstr>Tahoma</vt:lpstr>
      <vt:lpstr>Tahoma </vt:lpstr>
      <vt:lpstr>Times New Roman</vt:lpstr>
      <vt:lpstr>Verdana</vt:lpstr>
      <vt:lpstr>Титульный слайд</vt:lpstr>
      <vt:lpstr>Перебивочный слайд</vt:lpstr>
      <vt:lpstr>Текст картинка</vt:lpstr>
      <vt:lpstr>Текст</vt:lpstr>
      <vt:lpstr>Диаграммы</vt:lpstr>
      <vt:lpstr>Текст диаграмма</vt:lpstr>
      <vt:lpstr>Заключительный слайд</vt:lpstr>
      <vt:lpstr>b-default</vt:lpstr>
      <vt:lpstr>1_b-default</vt:lpstr>
      <vt:lpstr>2_b-default</vt:lpstr>
      <vt:lpstr>Презентация PowerPoint</vt:lpstr>
      <vt:lpstr>Суть созидательного труда на принципах бережливого производства</vt:lpstr>
      <vt:lpstr>Проект «Бережливый/Эффективный регион» </vt:lpstr>
      <vt:lpstr>Состояние на 31 декабря 2025 года – 50 регионов , более 45 тыс. проектов за 2018-2025 гг.. Росатом сопровождает 1-3 %  </vt:lpstr>
      <vt:lpstr>Презентация PowerPoint</vt:lpstr>
      <vt:lpstr>Образцы в разрезе социально-экономических сфер и регионов 31.12.2025</vt:lpstr>
      <vt:lpstr>Презентация PowerPoint</vt:lpstr>
      <vt:lpstr>ЛИДЕРСТВО «ЭФФЕКТИВНЫХ ГУБЕРНАТОРОВ» В ШТАБНОЙ ВЕРТИКАЛИ НАЦПРОЕКТА «ПРОИЗВОДИТЕЛЬНОСТЬ 2.0»</vt:lpstr>
      <vt:lpstr>Новое горизонтальное взаимодействие в стране  на уровне губернаторов субъектов</vt:lpstr>
      <vt:lpstr>Презентация PowerPoint</vt:lpstr>
      <vt:lpstr>Развитие всероссийского Центра Компетенций по бережливым технологиям в сфере государственного и муниципального управления в Мастерской Эффективности</vt:lpstr>
      <vt:lpstr>Развитие всероссийского Центра Компетенций по бережливым технологиям в сфере государственного и муниципального управления в Мастерской Эффективности </vt:lpstr>
      <vt:lpstr>Эффективный регион 2025. Переход от «бережливого самоуправления» к системному развитию</vt:lpstr>
      <vt:lpstr>Презентация PowerPoint</vt:lpstr>
      <vt:lpstr>Действующие клубные сообщества</vt:lpstr>
      <vt:lpstr>Презентация PowerPoint</vt:lpstr>
      <vt:lpstr>Презентация PowerPoint</vt:lpstr>
      <vt:lpstr>Презентация PowerPoint</vt:lpstr>
      <vt:lpstr>Презентация PowerPoint</vt:lpstr>
      <vt:lpstr>Личный стандарт Губернатора</vt:lpstr>
      <vt:lpstr>1-й год развития проекта «Эффективный регион»</vt:lpstr>
      <vt:lpstr>2-й год развития проекта «Эффективный регион»</vt:lpstr>
      <vt:lpstr>3-й год развития проекта «Эффективный регион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Хомякова</dc:creator>
  <cp:lastModifiedBy>Konstantin Grabelnikov</cp:lastModifiedBy>
  <cp:revision>203</cp:revision>
  <dcterms:created xsi:type="dcterms:W3CDTF">2019-09-24T12:37:05Z</dcterms:created>
  <dcterms:modified xsi:type="dcterms:W3CDTF">2026-01-16T12:40:31Z</dcterms:modified>
</cp:coreProperties>
</file>